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8.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9.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0.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0" r:id="rId4"/>
    <p:sldMasterId id="2147483726" r:id="rId5"/>
    <p:sldMasterId id="2147483739" r:id="rId6"/>
    <p:sldMasterId id="2147483775" r:id="rId7"/>
    <p:sldMasterId id="2147483790" r:id="rId8"/>
    <p:sldMasterId id="2147483831" r:id="rId9"/>
    <p:sldMasterId id="2147483852" r:id="rId10"/>
    <p:sldMasterId id="2147483910" r:id="rId11"/>
    <p:sldMasterId id="2147483925" r:id="rId12"/>
  </p:sldMasterIdLst>
  <p:notesMasterIdLst>
    <p:notesMasterId r:id="rId58"/>
  </p:notesMasterIdLst>
  <p:sldIdLst>
    <p:sldId id="256" r:id="rId13"/>
    <p:sldId id="268" r:id="rId14"/>
    <p:sldId id="270" r:id="rId15"/>
    <p:sldId id="345" r:id="rId16"/>
    <p:sldId id="346" r:id="rId17"/>
    <p:sldId id="344" r:id="rId18"/>
    <p:sldId id="307" r:id="rId19"/>
    <p:sldId id="333" r:id="rId20"/>
    <p:sldId id="354" r:id="rId21"/>
    <p:sldId id="355" r:id="rId22"/>
    <p:sldId id="325" r:id="rId23"/>
    <p:sldId id="300" r:id="rId24"/>
    <p:sldId id="359" r:id="rId25"/>
    <p:sldId id="295" r:id="rId26"/>
    <p:sldId id="357" r:id="rId27"/>
    <p:sldId id="272" r:id="rId28"/>
    <p:sldId id="257" r:id="rId29"/>
    <p:sldId id="273" r:id="rId30"/>
    <p:sldId id="274" r:id="rId31"/>
    <p:sldId id="275" r:id="rId32"/>
    <p:sldId id="276" r:id="rId33"/>
    <p:sldId id="277" r:id="rId34"/>
    <p:sldId id="278" r:id="rId35"/>
    <p:sldId id="263" r:id="rId36"/>
    <p:sldId id="279" r:id="rId37"/>
    <p:sldId id="280" r:id="rId38"/>
    <p:sldId id="281" r:id="rId39"/>
    <p:sldId id="282" r:id="rId40"/>
    <p:sldId id="283" r:id="rId41"/>
    <p:sldId id="474" r:id="rId42"/>
    <p:sldId id="11849" r:id="rId43"/>
    <p:sldId id="562" r:id="rId44"/>
    <p:sldId id="285" r:id="rId45"/>
    <p:sldId id="2090650947" r:id="rId46"/>
    <p:sldId id="2090650948" r:id="rId47"/>
    <p:sldId id="475" r:id="rId48"/>
    <p:sldId id="2090650949" r:id="rId49"/>
    <p:sldId id="309" r:id="rId50"/>
    <p:sldId id="306" r:id="rId51"/>
    <p:sldId id="2090650950" r:id="rId52"/>
    <p:sldId id="308" r:id="rId53"/>
    <p:sldId id="310" r:id="rId54"/>
    <p:sldId id="313" r:id="rId55"/>
    <p:sldId id="312" r:id="rId56"/>
    <p:sldId id="271" r:id="rId57"/>
  </p:sldIdLst>
  <p:sldSz cx="12192000" cy="6858000"/>
  <p:notesSz cx="6858000" cy="9144000"/>
  <p:defaultTextStyle>
    <a:defPPr>
      <a:defRPr lang="nl-NL"/>
    </a:defPPr>
    <a:lvl1pPr algn="l" rtl="0" eaLnBrk="0" fontAlgn="base" hangingPunct="0">
      <a:spcBef>
        <a:spcPct val="0"/>
      </a:spcBef>
      <a:spcAft>
        <a:spcPct val="0"/>
      </a:spcAft>
      <a:defRPr kern="1200">
        <a:solidFill>
          <a:schemeClr val="tx1"/>
        </a:solidFill>
        <a:latin typeface="Gill Sans MT" panose="020B0502020104020203" pitchFamily="34" charset="0"/>
        <a:ea typeface="+mn-ea"/>
        <a:cs typeface="+mn-cs"/>
      </a:defRPr>
    </a:lvl1pPr>
    <a:lvl2pPr marL="457200" algn="l" rtl="0" eaLnBrk="0" fontAlgn="base" hangingPunct="0">
      <a:spcBef>
        <a:spcPct val="0"/>
      </a:spcBef>
      <a:spcAft>
        <a:spcPct val="0"/>
      </a:spcAft>
      <a:defRPr kern="1200">
        <a:solidFill>
          <a:schemeClr val="tx1"/>
        </a:solidFill>
        <a:latin typeface="Gill Sans MT" panose="020B0502020104020203" pitchFamily="34" charset="0"/>
        <a:ea typeface="+mn-ea"/>
        <a:cs typeface="+mn-cs"/>
      </a:defRPr>
    </a:lvl2pPr>
    <a:lvl3pPr marL="914400" algn="l" rtl="0" eaLnBrk="0" fontAlgn="base" hangingPunct="0">
      <a:spcBef>
        <a:spcPct val="0"/>
      </a:spcBef>
      <a:spcAft>
        <a:spcPct val="0"/>
      </a:spcAft>
      <a:defRPr kern="1200">
        <a:solidFill>
          <a:schemeClr val="tx1"/>
        </a:solidFill>
        <a:latin typeface="Gill Sans MT" panose="020B0502020104020203" pitchFamily="34" charset="0"/>
        <a:ea typeface="+mn-ea"/>
        <a:cs typeface="+mn-cs"/>
      </a:defRPr>
    </a:lvl3pPr>
    <a:lvl4pPr marL="1371600" algn="l" rtl="0" eaLnBrk="0" fontAlgn="base" hangingPunct="0">
      <a:spcBef>
        <a:spcPct val="0"/>
      </a:spcBef>
      <a:spcAft>
        <a:spcPct val="0"/>
      </a:spcAft>
      <a:defRPr kern="1200">
        <a:solidFill>
          <a:schemeClr val="tx1"/>
        </a:solidFill>
        <a:latin typeface="Gill Sans MT" panose="020B0502020104020203" pitchFamily="34" charset="0"/>
        <a:ea typeface="+mn-ea"/>
        <a:cs typeface="+mn-cs"/>
      </a:defRPr>
    </a:lvl4pPr>
    <a:lvl5pPr marL="1828800" algn="l" rtl="0" eaLnBrk="0" fontAlgn="base" hangingPunct="0">
      <a:spcBef>
        <a:spcPct val="0"/>
      </a:spcBef>
      <a:spcAft>
        <a:spcPct val="0"/>
      </a:spcAft>
      <a:defRPr kern="1200">
        <a:solidFill>
          <a:schemeClr val="tx1"/>
        </a:solidFill>
        <a:latin typeface="Gill Sans MT" panose="020B0502020104020203" pitchFamily="34" charset="0"/>
        <a:ea typeface="+mn-ea"/>
        <a:cs typeface="+mn-cs"/>
      </a:defRPr>
    </a:lvl5pPr>
    <a:lvl6pPr marL="2286000" algn="l" defTabSz="914400" rtl="0" eaLnBrk="1" latinLnBrk="0" hangingPunct="1">
      <a:defRPr kern="1200">
        <a:solidFill>
          <a:schemeClr val="tx1"/>
        </a:solidFill>
        <a:latin typeface="Gill Sans MT" panose="020B0502020104020203" pitchFamily="34" charset="0"/>
        <a:ea typeface="+mn-ea"/>
        <a:cs typeface="+mn-cs"/>
      </a:defRPr>
    </a:lvl6pPr>
    <a:lvl7pPr marL="2743200" algn="l" defTabSz="914400" rtl="0" eaLnBrk="1" latinLnBrk="0" hangingPunct="1">
      <a:defRPr kern="1200">
        <a:solidFill>
          <a:schemeClr val="tx1"/>
        </a:solidFill>
        <a:latin typeface="Gill Sans MT" panose="020B0502020104020203" pitchFamily="34" charset="0"/>
        <a:ea typeface="+mn-ea"/>
        <a:cs typeface="+mn-cs"/>
      </a:defRPr>
    </a:lvl7pPr>
    <a:lvl8pPr marL="3200400" algn="l" defTabSz="914400" rtl="0" eaLnBrk="1" latinLnBrk="0" hangingPunct="1">
      <a:defRPr kern="1200">
        <a:solidFill>
          <a:schemeClr val="tx1"/>
        </a:solidFill>
        <a:latin typeface="Gill Sans MT" panose="020B0502020104020203" pitchFamily="34" charset="0"/>
        <a:ea typeface="+mn-ea"/>
        <a:cs typeface="+mn-cs"/>
      </a:defRPr>
    </a:lvl8pPr>
    <a:lvl9pPr marL="3657600" algn="l" defTabSz="914400" rtl="0" eaLnBrk="1" latinLnBrk="0" hangingPunct="1">
      <a:defRPr kern="1200">
        <a:solidFill>
          <a:schemeClr val="tx1"/>
        </a:solidFill>
        <a:latin typeface="Gill Sans MT" panose="020B0502020104020203"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529" userDrawn="1">
          <p15:clr>
            <a:srgbClr val="A4A3A4"/>
          </p15:clr>
        </p15:guide>
        <p15:guide id="4" pos="7151" userDrawn="1">
          <p15:clr>
            <a:srgbClr val="A4A3A4"/>
          </p15:clr>
        </p15:guide>
        <p15:guide id="5" orient="horz" pos="436" userDrawn="1">
          <p15:clr>
            <a:srgbClr val="A4A3A4"/>
          </p15:clr>
        </p15:guide>
        <p15:guide id="6" orient="horz" pos="38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947B95-A368-4FDA-AFF5-EFF4DA175DB4}" v="7" dt="2022-09-26T12:59:14.2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8" autoAdjust="0"/>
    <p:restoredTop sz="62045" autoAdjust="0"/>
  </p:normalViewPr>
  <p:slideViewPr>
    <p:cSldViewPr snapToGrid="0" showGuides="1">
      <p:cViewPr varScale="1">
        <p:scale>
          <a:sx n="67" d="100"/>
          <a:sy n="67" d="100"/>
        </p:scale>
        <p:origin x="1986" y="66"/>
      </p:cViewPr>
      <p:guideLst>
        <p:guide orient="horz" pos="2160"/>
        <p:guide pos="3840"/>
        <p:guide pos="529"/>
        <p:guide pos="7151"/>
        <p:guide orient="horz" pos="436"/>
        <p:guide orient="horz" pos="3884"/>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microsoft.com/office/2016/11/relationships/changesInfo" Target="changesInfos/changesInfo1.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9.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notesMaster" Target="notesMasters/notesMaster1.xml"/><Relationship Id="rId5" Type="http://schemas.openxmlformats.org/officeDocument/2006/relationships/slideMaster" Target="slideMasters/slideMaster3.xml"/><Relationship Id="rId61" Type="http://schemas.openxmlformats.org/officeDocument/2006/relationships/theme" Target="theme/theme1.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microsoft.com/office/2015/10/relationships/revisionInfo" Target="revisionInfo.xml"/><Relationship Id="rId8" Type="http://schemas.openxmlformats.org/officeDocument/2006/relationships/slideMaster" Target="slideMasters/slideMaster6.xml"/><Relationship Id="rId51" Type="http://schemas.openxmlformats.org/officeDocument/2006/relationships/slide" Target="slides/slide39.xml"/><Relationship Id="rId3" Type="http://schemas.openxmlformats.org/officeDocument/2006/relationships/slideMaster" Target="slideMasters/slideMaster1.xml"/><Relationship Id="rId12" Type="http://schemas.openxmlformats.org/officeDocument/2006/relationships/slideMaster" Target="slideMasters/slideMaster10.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8.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Master" Target="slideMasters/slideMaster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b Doorduin" userId="78e5cfe8-70b4-45f3-a671-f6672e6e2e2d" providerId="ADAL" clId="{5147BD3A-8FD1-41B0-9A30-78AB279B1F8F}"/>
    <pc:docChg chg="undo custSel addSld delSld modSld sldOrd delMainMaster">
      <pc:chgData name="Job Doorduin" userId="78e5cfe8-70b4-45f3-a671-f6672e6e2e2d" providerId="ADAL" clId="{5147BD3A-8FD1-41B0-9A30-78AB279B1F8F}" dt="2022-09-26T08:28:38.886" v="690" actId="20577"/>
      <pc:docMkLst>
        <pc:docMk/>
      </pc:docMkLst>
      <pc:sldChg chg="modSp mod modNotesTx">
        <pc:chgData name="Job Doorduin" userId="78e5cfe8-70b4-45f3-a671-f6672e6e2e2d" providerId="ADAL" clId="{5147BD3A-8FD1-41B0-9A30-78AB279B1F8F}" dt="2022-09-26T08:28:15.380" v="619" actId="20577"/>
        <pc:sldMkLst>
          <pc:docMk/>
          <pc:sldMk cId="0" sldId="256"/>
        </pc:sldMkLst>
        <pc:spChg chg="mod">
          <ac:chgData name="Job Doorduin" userId="78e5cfe8-70b4-45f3-a671-f6672e6e2e2d" providerId="ADAL" clId="{5147BD3A-8FD1-41B0-9A30-78AB279B1F8F}" dt="2022-09-19T07:16:54.174" v="54" actId="20577"/>
          <ac:spMkLst>
            <pc:docMk/>
            <pc:sldMk cId="0" sldId="256"/>
            <ac:spMk id="22530" creationId="{CC28B12B-1517-456D-9857-B43A076E6613}"/>
          </ac:spMkLst>
        </pc:spChg>
      </pc:sldChg>
      <pc:sldChg chg="add">
        <pc:chgData name="Job Doorduin" userId="78e5cfe8-70b4-45f3-a671-f6672e6e2e2d" providerId="ADAL" clId="{5147BD3A-8FD1-41B0-9A30-78AB279B1F8F}" dt="2022-09-19T07:36:33.368" v="515"/>
        <pc:sldMkLst>
          <pc:docMk/>
          <pc:sldMk cId="113662533" sldId="257"/>
        </pc:sldMkLst>
      </pc:sldChg>
      <pc:sldChg chg="add">
        <pc:chgData name="Job Doorduin" userId="78e5cfe8-70b4-45f3-a671-f6672e6e2e2d" providerId="ADAL" clId="{5147BD3A-8FD1-41B0-9A30-78AB279B1F8F}" dt="2022-09-19T07:36:33.368" v="515"/>
        <pc:sldMkLst>
          <pc:docMk/>
          <pc:sldMk cId="1523145537" sldId="263"/>
        </pc:sldMkLst>
      </pc:sldChg>
      <pc:sldChg chg="addSp delSp modSp new mod modNotesTx">
        <pc:chgData name="Job Doorduin" userId="78e5cfe8-70b4-45f3-a671-f6672e6e2e2d" providerId="ADAL" clId="{5147BD3A-8FD1-41B0-9A30-78AB279B1F8F}" dt="2022-09-26T08:28:21.627" v="638" actId="20577"/>
        <pc:sldMkLst>
          <pc:docMk/>
          <pc:sldMk cId="2100467685" sldId="268"/>
        </pc:sldMkLst>
        <pc:spChg chg="mod">
          <ac:chgData name="Job Doorduin" userId="78e5cfe8-70b4-45f3-a671-f6672e6e2e2d" providerId="ADAL" clId="{5147BD3A-8FD1-41B0-9A30-78AB279B1F8F}" dt="2022-09-26T08:28:05.445" v="597" actId="6549"/>
          <ac:spMkLst>
            <pc:docMk/>
            <pc:sldMk cId="2100467685" sldId="268"/>
            <ac:spMk id="2" creationId="{91AEF927-3A23-D9D5-2D8F-DEFCC644C9B8}"/>
          </ac:spMkLst>
        </pc:spChg>
        <pc:spChg chg="del mod">
          <ac:chgData name="Job Doorduin" userId="78e5cfe8-70b4-45f3-a671-f6672e6e2e2d" providerId="ADAL" clId="{5147BD3A-8FD1-41B0-9A30-78AB279B1F8F}" dt="2022-09-26T08:22:04.991" v="581" actId="26606"/>
          <ac:spMkLst>
            <pc:docMk/>
            <pc:sldMk cId="2100467685" sldId="268"/>
            <ac:spMk id="3" creationId="{769836FB-A3CC-26D8-8F1E-FD9078953245}"/>
          </ac:spMkLst>
        </pc:spChg>
        <pc:graphicFrameChg chg="add mod">
          <ac:chgData name="Job Doorduin" userId="78e5cfe8-70b4-45f3-a671-f6672e6e2e2d" providerId="ADAL" clId="{5147BD3A-8FD1-41B0-9A30-78AB279B1F8F}" dt="2022-09-26T08:27:58.680" v="596" actId="12100"/>
          <ac:graphicFrameMkLst>
            <pc:docMk/>
            <pc:sldMk cId="2100467685" sldId="268"/>
            <ac:graphicFrameMk id="5" creationId="{6334F0C0-2AEE-12C0-23BB-8073DEC91665}"/>
          </ac:graphicFrameMkLst>
        </pc:graphicFrameChg>
      </pc:sldChg>
      <pc:sldChg chg="new">
        <pc:chgData name="Job Doorduin" userId="78e5cfe8-70b4-45f3-a671-f6672e6e2e2d" providerId="ADAL" clId="{5147BD3A-8FD1-41B0-9A30-78AB279B1F8F}" dt="2022-09-19T07:20:02.108" v="249" actId="680"/>
        <pc:sldMkLst>
          <pc:docMk/>
          <pc:sldMk cId="3883873087" sldId="269"/>
        </pc:sldMkLst>
      </pc:sldChg>
      <pc:sldChg chg="addSp delSp modSp new mod modClrScheme chgLayout modNotesTx">
        <pc:chgData name="Job Doorduin" userId="78e5cfe8-70b4-45f3-a671-f6672e6e2e2d" providerId="ADAL" clId="{5147BD3A-8FD1-41B0-9A30-78AB279B1F8F}" dt="2022-09-26T08:28:38.886" v="690" actId="20577"/>
        <pc:sldMkLst>
          <pc:docMk/>
          <pc:sldMk cId="1697198988" sldId="270"/>
        </pc:sldMkLst>
        <pc:spChg chg="del mod">
          <ac:chgData name="Job Doorduin" userId="78e5cfe8-70b4-45f3-a671-f6672e6e2e2d" providerId="ADAL" clId="{5147BD3A-8FD1-41B0-9A30-78AB279B1F8F}" dt="2022-09-26T08:26:46.758" v="587" actId="26606"/>
          <ac:spMkLst>
            <pc:docMk/>
            <pc:sldMk cId="1697198988" sldId="270"/>
            <ac:spMk id="2" creationId="{66FA0F8E-F13D-4582-FF26-071FF72B1177}"/>
          </ac:spMkLst>
        </pc:spChg>
        <pc:spChg chg="del">
          <ac:chgData name="Job Doorduin" userId="78e5cfe8-70b4-45f3-a671-f6672e6e2e2d" providerId="ADAL" clId="{5147BD3A-8FD1-41B0-9A30-78AB279B1F8F}" dt="2022-09-26T08:26:46.758" v="587" actId="26606"/>
          <ac:spMkLst>
            <pc:docMk/>
            <pc:sldMk cId="1697198988" sldId="270"/>
            <ac:spMk id="3" creationId="{673CBDEE-BA57-60AD-35BB-58841F93A6F4}"/>
          </ac:spMkLst>
        </pc:spChg>
        <pc:picChg chg="add mod">
          <ac:chgData name="Job Doorduin" userId="78e5cfe8-70b4-45f3-a671-f6672e6e2e2d" providerId="ADAL" clId="{5147BD3A-8FD1-41B0-9A30-78AB279B1F8F}" dt="2022-09-26T08:27:14.214" v="594" actId="1076"/>
          <ac:picMkLst>
            <pc:docMk/>
            <pc:sldMk cId="1697198988" sldId="270"/>
            <ac:picMk id="2050" creationId="{4CB45D12-43EF-57DF-E923-38047F9FC0C5}"/>
          </ac:picMkLst>
        </pc:picChg>
      </pc:sldChg>
      <pc:sldChg chg="addSp delSp modSp new mod ord modClrScheme chgLayout">
        <pc:chgData name="Job Doorduin" userId="78e5cfe8-70b4-45f3-a671-f6672e6e2e2d" providerId="ADAL" clId="{5147BD3A-8FD1-41B0-9A30-78AB279B1F8F}" dt="2022-09-26T08:21:46.458" v="580" actId="1076"/>
        <pc:sldMkLst>
          <pc:docMk/>
          <pc:sldMk cId="60650045" sldId="271"/>
        </pc:sldMkLst>
        <pc:spChg chg="del">
          <ac:chgData name="Job Doorduin" userId="78e5cfe8-70b4-45f3-a671-f6672e6e2e2d" providerId="ADAL" clId="{5147BD3A-8FD1-41B0-9A30-78AB279B1F8F}" dt="2022-09-26T08:21:18.484" v="574" actId="478"/>
          <ac:spMkLst>
            <pc:docMk/>
            <pc:sldMk cId="60650045" sldId="271"/>
            <ac:spMk id="2" creationId="{CE721127-EA1E-2413-80E7-424B05B8E086}"/>
          </ac:spMkLst>
        </pc:spChg>
        <pc:spChg chg="mod">
          <ac:chgData name="Job Doorduin" userId="78e5cfe8-70b4-45f3-a671-f6672e6e2e2d" providerId="ADAL" clId="{5147BD3A-8FD1-41B0-9A30-78AB279B1F8F}" dt="2022-09-26T08:21:46.458" v="580" actId="1076"/>
          <ac:spMkLst>
            <pc:docMk/>
            <pc:sldMk cId="60650045" sldId="271"/>
            <ac:spMk id="3" creationId="{E6A6EDF2-DBA8-7A9F-528B-18B34B676A61}"/>
          </ac:spMkLst>
        </pc:spChg>
        <pc:picChg chg="add mod">
          <ac:chgData name="Job Doorduin" userId="78e5cfe8-70b4-45f3-a671-f6672e6e2e2d" providerId="ADAL" clId="{5147BD3A-8FD1-41B0-9A30-78AB279B1F8F}" dt="2022-09-26T08:21:29.335" v="576" actId="26606"/>
          <ac:picMkLst>
            <pc:docMk/>
            <pc:sldMk cId="60650045" sldId="271"/>
            <ac:picMk id="1026" creationId="{89921336-A2FD-9861-1299-4DFABAA4B405}"/>
          </ac:picMkLst>
        </pc:picChg>
      </pc:sldChg>
      <pc:sldChg chg="add">
        <pc:chgData name="Job Doorduin" userId="78e5cfe8-70b4-45f3-a671-f6672e6e2e2d" providerId="ADAL" clId="{5147BD3A-8FD1-41B0-9A30-78AB279B1F8F}" dt="2022-09-19T07:36:33.368" v="515"/>
        <pc:sldMkLst>
          <pc:docMk/>
          <pc:sldMk cId="251624710" sldId="272"/>
        </pc:sldMkLst>
      </pc:sldChg>
      <pc:sldChg chg="add">
        <pc:chgData name="Job Doorduin" userId="78e5cfe8-70b4-45f3-a671-f6672e6e2e2d" providerId="ADAL" clId="{5147BD3A-8FD1-41B0-9A30-78AB279B1F8F}" dt="2022-09-19T07:36:33.368" v="515"/>
        <pc:sldMkLst>
          <pc:docMk/>
          <pc:sldMk cId="29831851" sldId="273"/>
        </pc:sldMkLst>
      </pc:sldChg>
      <pc:sldChg chg="add">
        <pc:chgData name="Job Doorduin" userId="78e5cfe8-70b4-45f3-a671-f6672e6e2e2d" providerId="ADAL" clId="{5147BD3A-8FD1-41B0-9A30-78AB279B1F8F}" dt="2022-09-19T07:36:33.368" v="515"/>
        <pc:sldMkLst>
          <pc:docMk/>
          <pc:sldMk cId="3293451657" sldId="274"/>
        </pc:sldMkLst>
      </pc:sldChg>
      <pc:sldChg chg="add">
        <pc:chgData name="Job Doorduin" userId="78e5cfe8-70b4-45f3-a671-f6672e6e2e2d" providerId="ADAL" clId="{5147BD3A-8FD1-41B0-9A30-78AB279B1F8F}" dt="2022-09-19T07:36:33.368" v="515"/>
        <pc:sldMkLst>
          <pc:docMk/>
          <pc:sldMk cId="2175617989" sldId="275"/>
        </pc:sldMkLst>
      </pc:sldChg>
      <pc:sldChg chg="add">
        <pc:chgData name="Job Doorduin" userId="78e5cfe8-70b4-45f3-a671-f6672e6e2e2d" providerId="ADAL" clId="{5147BD3A-8FD1-41B0-9A30-78AB279B1F8F}" dt="2022-09-19T07:36:33.368" v="515"/>
        <pc:sldMkLst>
          <pc:docMk/>
          <pc:sldMk cId="3725973390" sldId="276"/>
        </pc:sldMkLst>
      </pc:sldChg>
      <pc:sldChg chg="add">
        <pc:chgData name="Job Doorduin" userId="78e5cfe8-70b4-45f3-a671-f6672e6e2e2d" providerId="ADAL" clId="{5147BD3A-8FD1-41B0-9A30-78AB279B1F8F}" dt="2022-09-19T07:36:33.368" v="515"/>
        <pc:sldMkLst>
          <pc:docMk/>
          <pc:sldMk cId="1892960597" sldId="277"/>
        </pc:sldMkLst>
      </pc:sldChg>
      <pc:sldChg chg="add">
        <pc:chgData name="Job Doorduin" userId="78e5cfe8-70b4-45f3-a671-f6672e6e2e2d" providerId="ADAL" clId="{5147BD3A-8FD1-41B0-9A30-78AB279B1F8F}" dt="2022-09-19T07:36:33.368" v="515"/>
        <pc:sldMkLst>
          <pc:docMk/>
          <pc:sldMk cId="2307250358" sldId="278"/>
        </pc:sldMkLst>
      </pc:sldChg>
      <pc:sldChg chg="add">
        <pc:chgData name="Job Doorduin" userId="78e5cfe8-70b4-45f3-a671-f6672e6e2e2d" providerId="ADAL" clId="{5147BD3A-8FD1-41B0-9A30-78AB279B1F8F}" dt="2022-09-19T07:36:33.368" v="515"/>
        <pc:sldMkLst>
          <pc:docMk/>
          <pc:sldMk cId="3299206799" sldId="279"/>
        </pc:sldMkLst>
      </pc:sldChg>
      <pc:sldChg chg="add">
        <pc:chgData name="Job Doorduin" userId="78e5cfe8-70b4-45f3-a671-f6672e6e2e2d" providerId="ADAL" clId="{5147BD3A-8FD1-41B0-9A30-78AB279B1F8F}" dt="2022-09-19T07:36:33.368" v="515"/>
        <pc:sldMkLst>
          <pc:docMk/>
          <pc:sldMk cId="912048061" sldId="280"/>
        </pc:sldMkLst>
      </pc:sldChg>
      <pc:sldChg chg="add">
        <pc:chgData name="Job Doorduin" userId="78e5cfe8-70b4-45f3-a671-f6672e6e2e2d" providerId="ADAL" clId="{5147BD3A-8FD1-41B0-9A30-78AB279B1F8F}" dt="2022-09-19T07:36:33.368" v="515"/>
        <pc:sldMkLst>
          <pc:docMk/>
          <pc:sldMk cId="3144799376" sldId="281"/>
        </pc:sldMkLst>
      </pc:sldChg>
      <pc:sldChg chg="add">
        <pc:chgData name="Job Doorduin" userId="78e5cfe8-70b4-45f3-a671-f6672e6e2e2d" providerId="ADAL" clId="{5147BD3A-8FD1-41B0-9A30-78AB279B1F8F}" dt="2022-09-19T07:36:33.368" v="515"/>
        <pc:sldMkLst>
          <pc:docMk/>
          <pc:sldMk cId="4277800345" sldId="282"/>
        </pc:sldMkLst>
      </pc:sldChg>
      <pc:sldChg chg="add">
        <pc:chgData name="Job Doorduin" userId="78e5cfe8-70b4-45f3-a671-f6672e6e2e2d" providerId="ADAL" clId="{5147BD3A-8FD1-41B0-9A30-78AB279B1F8F}" dt="2022-09-19T07:36:33.368" v="515"/>
        <pc:sldMkLst>
          <pc:docMk/>
          <pc:sldMk cId="3683508" sldId="283"/>
        </pc:sldMkLst>
      </pc:sldChg>
      <pc:sldChg chg="new">
        <pc:chgData name="Job Doorduin" userId="78e5cfe8-70b4-45f3-a671-f6672e6e2e2d" providerId="ADAL" clId="{5147BD3A-8FD1-41B0-9A30-78AB279B1F8F}" dt="2022-09-19T07:36:52.564" v="516" actId="680"/>
        <pc:sldMkLst>
          <pc:docMk/>
          <pc:sldMk cId="898336580" sldId="284"/>
        </pc:sldMkLst>
      </pc:sldChg>
      <pc:sldChg chg="modSp add del mod">
        <pc:chgData name="Job Doorduin" userId="78e5cfe8-70b4-45f3-a671-f6672e6e2e2d" providerId="ADAL" clId="{5147BD3A-8FD1-41B0-9A30-78AB279B1F8F}" dt="2022-09-26T07:59:44.822" v="522" actId="2696"/>
        <pc:sldMkLst>
          <pc:docMk/>
          <pc:sldMk cId="122837201" sldId="295"/>
        </pc:sldMkLst>
        <pc:spChg chg="mod">
          <ac:chgData name="Job Doorduin" userId="78e5cfe8-70b4-45f3-a671-f6672e6e2e2d" providerId="ADAL" clId="{5147BD3A-8FD1-41B0-9A30-78AB279B1F8F}" dt="2022-09-19T07:37:37.001" v="521"/>
          <ac:spMkLst>
            <pc:docMk/>
            <pc:sldMk cId="122837201" sldId="295"/>
            <ac:spMk id="2" creationId="{00000000-0000-0000-0000-000000000000}"/>
          </ac:spMkLst>
        </pc:spChg>
      </pc:sldChg>
      <pc:sldChg chg="modNotesTx">
        <pc:chgData name="Job Doorduin" userId="78e5cfe8-70b4-45f3-a671-f6672e6e2e2d" providerId="ADAL" clId="{5147BD3A-8FD1-41B0-9A30-78AB279B1F8F}" dt="2022-09-26T08:13:52.334" v="540"/>
        <pc:sldMkLst>
          <pc:docMk/>
          <pc:sldMk cId="2297130673" sldId="295"/>
        </pc:sldMkLst>
      </pc:sldChg>
      <pc:sldChg chg="modSp add del mod">
        <pc:chgData name="Job Doorduin" userId="78e5cfe8-70b4-45f3-a671-f6672e6e2e2d" providerId="ADAL" clId="{5147BD3A-8FD1-41B0-9A30-78AB279B1F8F}" dt="2022-09-26T07:59:56.206" v="527"/>
        <pc:sldMkLst>
          <pc:docMk/>
          <pc:sldMk cId="3449659401" sldId="295"/>
        </pc:sldMkLst>
        <pc:spChg chg="mod">
          <ac:chgData name="Job Doorduin" userId="78e5cfe8-70b4-45f3-a671-f6672e6e2e2d" providerId="ADAL" clId="{5147BD3A-8FD1-41B0-9A30-78AB279B1F8F}" dt="2022-09-26T07:59:56.206" v="527"/>
          <ac:spMkLst>
            <pc:docMk/>
            <pc:sldMk cId="3449659401" sldId="295"/>
            <ac:spMk id="2" creationId="{00000000-0000-0000-0000-000000000000}"/>
          </ac:spMkLst>
        </pc:spChg>
      </pc:sldChg>
      <pc:sldChg chg="add del">
        <pc:chgData name="Job Doorduin" userId="78e5cfe8-70b4-45f3-a671-f6672e6e2e2d" providerId="ADAL" clId="{5147BD3A-8FD1-41B0-9A30-78AB279B1F8F}" dt="2022-09-26T07:59:56.206" v="527"/>
        <pc:sldMkLst>
          <pc:docMk/>
          <pc:sldMk cId="18488043" sldId="300"/>
        </pc:sldMkLst>
      </pc:sldChg>
      <pc:sldChg chg="add del">
        <pc:chgData name="Job Doorduin" userId="78e5cfe8-70b4-45f3-a671-f6672e6e2e2d" providerId="ADAL" clId="{5147BD3A-8FD1-41B0-9A30-78AB279B1F8F}" dt="2022-09-26T07:59:44.822" v="522" actId="2696"/>
        <pc:sldMkLst>
          <pc:docMk/>
          <pc:sldMk cId="3457651808" sldId="300"/>
        </pc:sldMkLst>
      </pc:sldChg>
      <pc:sldChg chg="modSp add del mod">
        <pc:chgData name="Job Doorduin" userId="78e5cfe8-70b4-45f3-a671-f6672e6e2e2d" providerId="ADAL" clId="{5147BD3A-8FD1-41B0-9A30-78AB279B1F8F}" dt="2022-09-26T08:11:04.984" v="539"/>
        <pc:sldMkLst>
          <pc:docMk/>
          <pc:sldMk cId="1303111856" sldId="306"/>
        </pc:sldMkLst>
        <pc:spChg chg="mod">
          <ac:chgData name="Job Doorduin" userId="78e5cfe8-70b4-45f3-a671-f6672e6e2e2d" providerId="ADAL" clId="{5147BD3A-8FD1-41B0-9A30-78AB279B1F8F}" dt="2022-09-26T08:09:05.999" v="536" actId="1076"/>
          <ac:spMkLst>
            <pc:docMk/>
            <pc:sldMk cId="1303111856" sldId="306"/>
            <ac:spMk id="3" creationId="{C7BEE4E9-7CF0-2946-A84B-23D4F103D691}"/>
          </ac:spMkLst>
        </pc:spChg>
      </pc:sldChg>
      <pc:sldChg chg="add del">
        <pc:chgData name="Job Doorduin" userId="78e5cfe8-70b4-45f3-a671-f6672e6e2e2d" providerId="ADAL" clId="{5147BD3A-8FD1-41B0-9A30-78AB279B1F8F}" dt="2022-09-26T07:59:56.206" v="527"/>
        <pc:sldMkLst>
          <pc:docMk/>
          <pc:sldMk cId="426088897" sldId="307"/>
        </pc:sldMkLst>
      </pc:sldChg>
      <pc:sldChg chg="add del">
        <pc:chgData name="Job Doorduin" userId="78e5cfe8-70b4-45f3-a671-f6672e6e2e2d" providerId="ADAL" clId="{5147BD3A-8FD1-41B0-9A30-78AB279B1F8F}" dt="2022-09-26T07:59:44.822" v="522" actId="2696"/>
        <pc:sldMkLst>
          <pc:docMk/>
          <pc:sldMk cId="4222442111" sldId="307"/>
        </pc:sldMkLst>
      </pc:sldChg>
      <pc:sldChg chg="add del">
        <pc:chgData name="Job Doorduin" userId="78e5cfe8-70b4-45f3-a671-f6672e6e2e2d" providerId="ADAL" clId="{5147BD3A-8FD1-41B0-9A30-78AB279B1F8F}" dt="2022-09-26T08:11:04.984" v="539"/>
        <pc:sldMkLst>
          <pc:docMk/>
          <pc:sldMk cId="175569468" sldId="308"/>
        </pc:sldMkLst>
      </pc:sldChg>
      <pc:sldChg chg="add del">
        <pc:chgData name="Job Doorduin" userId="78e5cfe8-70b4-45f3-a671-f6672e6e2e2d" providerId="ADAL" clId="{5147BD3A-8FD1-41B0-9A30-78AB279B1F8F}" dt="2022-09-26T08:11:04.984" v="539"/>
        <pc:sldMkLst>
          <pc:docMk/>
          <pc:sldMk cId="568525380" sldId="309"/>
        </pc:sldMkLst>
      </pc:sldChg>
      <pc:sldChg chg="add del">
        <pc:chgData name="Job Doorduin" userId="78e5cfe8-70b4-45f3-a671-f6672e6e2e2d" providerId="ADAL" clId="{5147BD3A-8FD1-41B0-9A30-78AB279B1F8F}" dt="2022-09-26T08:11:04.984" v="539"/>
        <pc:sldMkLst>
          <pc:docMk/>
          <pc:sldMk cId="1630799144" sldId="310"/>
        </pc:sldMkLst>
      </pc:sldChg>
      <pc:sldChg chg="add del">
        <pc:chgData name="Job Doorduin" userId="78e5cfe8-70b4-45f3-a671-f6672e6e2e2d" providerId="ADAL" clId="{5147BD3A-8FD1-41B0-9A30-78AB279B1F8F}" dt="2022-09-26T08:19:07.270" v="541" actId="47"/>
        <pc:sldMkLst>
          <pc:docMk/>
          <pc:sldMk cId="3076621497" sldId="311"/>
        </pc:sldMkLst>
      </pc:sldChg>
      <pc:sldChg chg="add del">
        <pc:chgData name="Job Doorduin" userId="78e5cfe8-70b4-45f3-a671-f6672e6e2e2d" providerId="ADAL" clId="{5147BD3A-8FD1-41B0-9A30-78AB279B1F8F}" dt="2022-09-26T08:11:04.984" v="539"/>
        <pc:sldMkLst>
          <pc:docMk/>
          <pc:sldMk cId="2969755908" sldId="312"/>
        </pc:sldMkLst>
      </pc:sldChg>
      <pc:sldChg chg="add del">
        <pc:chgData name="Job Doorduin" userId="78e5cfe8-70b4-45f3-a671-f6672e6e2e2d" providerId="ADAL" clId="{5147BD3A-8FD1-41B0-9A30-78AB279B1F8F}" dt="2022-09-26T08:11:04.984" v="539"/>
        <pc:sldMkLst>
          <pc:docMk/>
          <pc:sldMk cId="3967460191" sldId="313"/>
        </pc:sldMkLst>
      </pc:sldChg>
      <pc:sldChg chg="add del modTransition">
        <pc:chgData name="Job Doorduin" userId="78e5cfe8-70b4-45f3-a671-f6672e6e2e2d" providerId="ADAL" clId="{5147BD3A-8FD1-41B0-9A30-78AB279B1F8F}" dt="2022-09-26T07:59:44.822" v="522" actId="2696"/>
        <pc:sldMkLst>
          <pc:docMk/>
          <pc:sldMk cId="862755832" sldId="325"/>
        </pc:sldMkLst>
      </pc:sldChg>
      <pc:sldChg chg="add del modTransition">
        <pc:chgData name="Job Doorduin" userId="78e5cfe8-70b4-45f3-a671-f6672e6e2e2d" providerId="ADAL" clId="{5147BD3A-8FD1-41B0-9A30-78AB279B1F8F}" dt="2022-09-26T07:59:56.206" v="527"/>
        <pc:sldMkLst>
          <pc:docMk/>
          <pc:sldMk cId="1755406800" sldId="325"/>
        </pc:sldMkLst>
      </pc:sldChg>
      <pc:sldChg chg="add del modTransition">
        <pc:chgData name="Job Doorduin" userId="78e5cfe8-70b4-45f3-a671-f6672e6e2e2d" providerId="ADAL" clId="{5147BD3A-8FD1-41B0-9A30-78AB279B1F8F}" dt="2022-09-26T07:59:56.206" v="527"/>
        <pc:sldMkLst>
          <pc:docMk/>
          <pc:sldMk cId="801332253" sldId="333"/>
        </pc:sldMkLst>
      </pc:sldChg>
      <pc:sldChg chg="add del modTransition">
        <pc:chgData name="Job Doorduin" userId="78e5cfe8-70b4-45f3-a671-f6672e6e2e2d" providerId="ADAL" clId="{5147BD3A-8FD1-41B0-9A30-78AB279B1F8F}" dt="2022-09-26T07:59:44.822" v="522" actId="2696"/>
        <pc:sldMkLst>
          <pc:docMk/>
          <pc:sldMk cId="1170575114" sldId="333"/>
        </pc:sldMkLst>
      </pc:sldChg>
      <pc:sldChg chg="add del modTransition">
        <pc:chgData name="Job Doorduin" userId="78e5cfe8-70b4-45f3-a671-f6672e6e2e2d" providerId="ADAL" clId="{5147BD3A-8FD1-41B0-9A30-78AB279B1F8F}" dt="2022-09-26T07:59:44.822" v="522" actId="2696"/>
        <pc:sldMkLst>
          <pc:docMk/>
          <pc:sldMk cId="343425221" sldId="344"/>
        </pc:sldMkLst>
      </pc:sldChg>
      <pc:sldChg chg="add del modTransition">
        <pc:chgData name="Job Doorduin" userId="78e5cfe8-70b4-45f3-a671-f6672e6e2e2d" providerId="ADAL" clId="{5147BD3A-8FD1-41B0-9A30-78AB279B1F8F}" dt="2022-09-26T07:59:56.206" v="527"/>
        <pc:sldMkLst>
          <pc:docMk/>
          <pc:sldMk cId="3956613286" sldId="344"/>
        </pc:sldMkLst>
      </pc:sldChg>
      <pc:sldChg chg="add del">
        <pc:chgData name="Job Doorduin" userId="78e5cfe8-70b4-45f3-a671-f6672e6e2e2d" providerId="ADAL" clId="{5147BD3A-8FD1-41B0-9A30-78AB279B1F8F}" dt="2022-09-26T07:59:56.206" v="527"/>
        <pc:sldMkLst>
          <pc:docMk/>
          <pc:sldMk cId="577512350" sldId="345"/>
        </pc:sldMkLst>
      </pc:sldChg>
      <pc:sldChg chg="add del">
        <pc:chgData name="Job Doorduin" userId="78e5cfe8-70b4-45f3-a671-f6672e6e2e2d" providerId="ADAL" clId="{5147BD3A-8FD1-41B0-9A30-78AB279B1F8F}" dt="2022-09-26T07:59:44.822" v="522" actId="2696"/>
        <pc:sldMkLst>
          <pc:docMk/>
          <pc:sldMk cId="1171022131" sldId="345"/>
        </pc:sldMkLst>
      </pc:sldChg>
      <pc:sldChg chg="add del modTransition">
        <pc:chgData name="Job Doorduin" userId="78e5cfe8-70b4-45f3-a671-f6672e6e2e2d" providerId="ADAL" clId="{5147BD3A-8FD1-41B0-9A30-78AB279B1F8F}" dt="2022-09-26T07:59:56.206" v="527"/>
        <pc:sldMkLst>
          <pc:docMk/>
          <pc:sldMk cId="2138317290" sldId="346"/>
        </pc:sldMkLst>
      </pc:sldChg>
      <pc:sldChg chg="add del modTransition">
        <pc:chgData name="Job Doorduin" userId="78e5cfe8-70b4-45f3-a671-f6672e6e2e2d" providerId="ADAL" clId="{5147BD3A-8FD1-41B0-9A30-78AB279B1F8F}" dt="2022-09-26T07:59:44.822" v="522" actId="2696"/>
        <pc:sldMkLst>
          <pc:docMk/>
          <pc:sldMk cId="3012460030" sldId="346"/>
        </pc:sldMkLst>
      </pc:sldChg>
      <pc:sldChg chg="add del">
        <pc:chgData name="Job Doorduin" userId="78e5cfe8-70b4-45f3-a671-f6672e6e2e2d" providerId="ADAL" clId="{5147BD3A-8FD1-41B0-9A30-78AB279B1F8F}" dt="2022-09-26T07:59:56.206" v="527"/>
        <pc:sldMkLst>
          <pc:docMk/>
          <pc:sldMk cId="1421810402" sldId="354"/>
        </pc:sldMkLst>
      </pc:sldChg>
      <pc:sldChg chg="add del">
        <pc:chgData name="Job Doorduin" userId="78e5cfe8-70b4-45f3-a671-f6672e6e2e2d" providerId="ADAL" clId="{5147BD3A-8FD1-41B0-9A30-78AB279B1F8F}" dt="2022-09-26T07:59:44.822" v="522" actId="2696"/>
        <pc:sldMkLst>
          <pc:docMk/>
          <pc:sldMk cId="3317556826" sldId="354"/>
        </pc:sldMkLst>
      </pc:sldChg>
      <pc:sldChg chg="add del modTransition">
        <pc:chgData name="Job Doorduin" userId="78e5cfe8-70b4-45f3-a671-f6672e6e2e2d" providerId="ADAL" clId="{5147BD3A-8FD1-41B0-9A30-78AB279B1F8F}" dt="2022-09-26T07:59:44.822" v="522" actId="2696"/>
        <pc:sldMkLst>
          <pc:docMk/>
          <pc:sldMk cId="2018783925" sldId="355"/>
        </pc:sldMkLst>
      </pc:sldChg>
      <pc:sldChg chg="add del modTransition">
        <pc:chgData name="Job Doorduin" userId="78e5cfe8-70b4-45f3-a671-f6672e6e2e2d" providerId="ADAL" clId="{5147BD3A-8FD1-41B0-9A30-78AB279B1F8F}" dt="2022-09-26T07:59:56.206" v="527"/>
        <pc:sldMkLst>
          <pc:docMk/>
          <pc:sldMk cId="2949565814" sldId="355"/>
        </pc:sldMkLst>
      </pc:sldChg>
      <pc:sldChg chg="addSp delSp add del setBg delDesignElem">
        <pc:chgData name="Job Doorduin" userId="78e5cfe8-70b4-45f3-a671-f6672e6e2e2d" providerId="ADAL" clId="{5147BD3A-8FD1-41B0-9A30-78AB279B1F8F}" dt="2022-09-26T07:59:44.822" v="522" actId="2696"/>
        <pc:sldMkLst>
          <pc:docMk/>
          <pc:sldMk cId="1539785886" sldId="357"/>
        </pc:sldMkLst>
        <pc:spChg chg="add del">
          <ac:chgData name="Job Doorduin" userId="78e5cfe8-70b4-45f3-a671-f6672e6e2e2d" providerId="ADAL" clId="{5147BD3A-8FD1-41B0-9A30-78AB279B1F8F}" dt="2022-09-19T07:37:37.001" v="521"/>
          <ac:spMkLst>
            <pc:docMk/>
            <pc:sldMk cId="1539785886" sldId="357"/>
            <ac:spMk id="1040" creationId="{02D44074-0B69-4F0C-A7B3-5645CE40D8E3}"/>
          </ac:spMkLst>
        </pc:spChg>
      </pc:sldChg>
      <pc:sldChg chg="addSp delSp add del setBg delDesignElem">
        <pc:chgData name="Job Doorduin" userId="78e5cfe8-70b4-45f3-a671-f6672e6e2e2d" providerId="ADAL" clId="{5147BD3A-8FD1-41B0-9A30-78AB279B1F8F}" dt="2022-09-26T07:59:56.206" v="527"/>
        <pc:sldMkLst>
          <pc:docMk/>
          <pc:sldMk cId="3844636605" sldId="357"/>
        </pc:sldMkLst>
        <pc:spChg chg="add del">
          <ac:chgData name="Job Doorduin" userId="78e5cfe8-70b4-45f3-a671-f6672e6e2e2d" providerId="ADAL" clId="{5147BD3A-8FD1-41B0-9A30-78AB279B1F8F}" dt="2022-09-26T07:59:56.206" v="527"/>
          <ac:spMkLst>
            <pc:docMk/>
            <pc:sldMk cId="3844636605" sldId="357"/>
            <ac:spMk id="1040" creationId="{02D44074-0B69-4F0C-A7B3-5645CE40D8E3}"/>
          </ac:spMkLst>
        </pc:spChg>
      </pc:sldChg>
      <pc:sldChg chg="add del">
        <pc:chgData name="Job Doorduin" userId="78e5cfe8-70b4-45f3-a671-f6672e6e2e2d" providerId="ADAL" clId="{5147BD3A-8FD1-41B0-9A30-78AB279B1F8F}" dt="2022-09-26T07:59:56.206" v="527"/>
        <pc:sldMkLst>
          <pc:docMk/>
          <pc:sldMk cId="987356212" sldId="359"/>
        </pc:sldMkLst>
      </pc:sldChg>
      <pc:sldChg chg="add del">
        <pc:chgData name="Job Doorduin" userId="78e5cfe8-70b4-45f3-a671-f6672e6e2e2d" providerId="ADAL" clId="{5147BD3A-8FD1-41B0-9A30-78AB279B1F8F}" dt="2022-09-26T07:59:44.822" v="522" actId="2696"/>
        <pc:sldMkLst>
          <pc:docMk/>
          <pc:sldMk cId="3430052767" sldId="359"/>
        </pc:sldMkLst>
      </pc:sldChg>
      <pc:sldChg chg="add del">
        <pc:chgData name="Job Doorduin" userId="78e5cfe8-70b4-45f3-a671-f6672e6e2e2d" providerId="ADAL" clId="{5147BD3A-8FD1-41B0-9A30-78AB279B1F8F}" dt="2022-09-26T08:09:06.472" v="537"/>
        <pc:sldMkLst>
          <pc:docMk/>
          <pc:sldMk cId="510420669" sldId="360"/>
        </pc:sldMkLst>
      </pc:sldChg>
      <pc:sldChg chg="add del">
        <pc:chgData name="Job Doorduin" userId="78e5cfe8-70b4-45f3-a671-f6672e6e2e2d" providerId="ADAL" clId="{5147BD3A-8FD1-41B0-9A30-78AB279B1F8F}" dt="2022-09-26T08:09:06.472" v="537"/>
        <pc:sldMkLst>
          <pc:docMk/>
          <pc:sldMk cId="3897575995" sldId="361"/>
        </pc:sldMkLst>
      </pc:sldChg>
      <pc:sldChg chg="add del">
        <pc:chgData name="Job Doorduin" userId="78e5cfe8-70b4-45f3-a671-f6672e6e2e2d" providerId="ADAL" clId="{5147BD3A-8FD1-41B0-9A30-78AB279B1F8F}" dt="2022-09-26T08:11:04.984" v="539"/>
        <pc:sldMkLst>
          <pc:docMk/>
          <pc:sldMk cId="510420669" sldId="2090650949"/>
        </pc:sldMkLst>
      </pc:sldChg>
      <pc:sldChg chg="add del">
        <pc:chgData name="Job Doorduin" userId="78e5cfe8-70b4-45f3-a671-f6672e6e2e2d" providerId="ADAL" clId="{5147BD3A-8FD1-41B0-9A30-78AB279B1F8F}" dt="2022-09-26T08:11:04.984" v="539"/>
        <pc:sldMkLst>
          <pc:docMk/>
          <pc:sldMk cId="3897575995" sldId="2090650950"/>
        </pc:sldMkLst>
      </pc:sldChg>
      <pc:sldMasterChg chg="del delSldLayout">
        <pc:chgData name="Job Doorduin" userId="78e5cfe8-70b4-45f3-a671-f6672e6e2e2d" providerId="ADAL" clId="{5147BD3A-8FD1-41B0-9A30-78AB279B1F8F}" dt="2022-09-26T07:59:44.822" v="522" actId="2696"/>
        <pc:sldMasterMkLst>
          <pc:docMk/>
          <pc:sldMasterMk cId="1988379331" sldId="2147483726"/>
        </pc:sldMasterMkLst>
        <pc:sldLayoutChg chg="del">
          <pc:chgData name="Job Doorduin" userId="78e5cfe8-70b4-45f3-a671-f6672e6e2e2d" providerId="ADAL" clId="{5147BD3A-8FD1-41B0-9A30-78AB279B1F8F}" dt="2022-09-26T07:59:44.822" v="522" actId="2696"/>
          <pc:sldLayoutMkLst>
            <pc:docMk/>
            <pc:sldMasterMk cId="1988379331" sldId="2147483726"/>
            <pc:sldLayoutMk cId="531735989" sldId="2147483727"/>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3840217255" sldId="2147483728"/>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2426564920" sldId="2147483729"/>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1736563637" sldId="2147483730"/>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4137232710" sldId="2147483731"/>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3539742186" sldId="2147483732"/>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722988032" sldId="2147483733"/>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3611119914" sldId="2147483734"/>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2698067995" sldId="2147483735"/>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1452958372" sldId="2147483736"/>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4142742143" sldId="2147483737"/>
          </pc:sldLayoutMkLst>
        </pc:sldLayoutChg>
        <pc:sldLayoutChg chg="del">
          <pc:chgData name="Job Doorduin" userId="78e5cfe8-70b4-45f3-a671-f6672e6e2e2d" providerId="ADAL" clId="{5147BD3A-8FD1-41B0-9A30-78AB279B1F8F}" dt="2022-09-26T07:59:44.822" v="522" actId="2696"/>
          <pc:sldLayoutMkLst>
            <pc:docMk/>
            <pc:sldMasterMk cId="1988379331" sldId="2147483726"/>
            <pc:sldLayoutMk cId="2384980191" sldId="2147483738"/>
          </pc:sldLayoutMkLst>
        </pc:sldLayoutChg>
      </pc:sldMasterChg>
    </pc:docChg>
  </pc:docChgLst>
  <pc:docChgLst>
    <pc:chgData name="Job Doorduin" userId="78e5cfe8-70b4-45f3-a671-f6672e6e2e2d" providerId="ADAL" clId="{08F3EEA0-5DEA-45E1-ADCA-F6F87D0E6C4C}"/>
    <pc:docChg chg="undo custSel modSld">
      <pc:chgData name="Job Doorduin" userId="78e5cfe8-70b4-45f3-a671-f6672e6e2e2d" providerId="ADAL" clId="{08F3EEA0-5DEA-45E1-ADCA-F6F87D0E6C4C}" dt="2021-10-27T09:28:43.415" v="66" actId="20577"/>
      <pc:docMkLst>
        <pc:docMk/>
      </pc:docMkLst>
      <pc:sldChg chg="modSp mod">
        <pc:chgData name="Job Doorduin" userId="78e5cfe8-70b4-45f3-a671-f6672e6e2e2d" providerId="ADAL" clId="{08F3EEA0-5DEA-45E1-ADCA-F6F87D0E6C4C}" dt="2021-10-27T09:28:43.415" v="66" actId="20577"/>
        <pc:sldMkLst>
          <pc:docMk/>
          <pc:sldMk cId="0" sldId="256"/>
        </pc:sldMkLst>
        <pc:spChg chg="mod">
          <ac:chgData name="Job Doorduin" userId="78e5cfe8-70b4-45f3-a671-f6672e6e2e2d" providerId="ADAL" clId="{08F3EEA0-5DEA-45E1-ADCA-F6F87D0E6C4C}" dt="2021-10-27T09:28:43.415" v="66" actId="20577"/>
          <ac:spMkLst>
            <pc:docMk/>
            <pc:sldMk cId="0" sldId="256"/>
            <ac:spMk id="22530" creationId="{CC28B12B-1517-456D-9857-B43A076E6613}"/>
          </ac:spMkLst>
        </pc:spChg>
      </pc:sldChg>
    </pc:docChg>
  </pc:docChgLst>
  <pc:docChgLst>
    <pc:chgData name="Job Doorduin" userId="78e5cfe8-70b4-45f3-a671-f6672e6e2e2d" providerId="ADAL" clId="{1FB04553-2488-4F26-9F53-0888BA726877}"/>
    <pc:docChg chg="custSel addSld modSld">
      <pc:chgData name="Job Doorduin" userId="78e5cfe8-70b4-45f3-a671-f6672e6e2e2d" providerId="ADAL" clId="{1FB04553-2488-4F26-9F53-0888BA726877}" dt="2022-01-27T10:02:14.053" v="95" actId="20577"/>
      <pc:docMkLst>
        <pc:docMk/>
      </pc:docMkLst>
      <pc:sldChg chg="modSp mod">
        <pc:chgData name="Job Doorduin" userId="78e5cfe8-70b4-45f3-a671-f6672e6e2e2d" providerId="ADAL" clId="{1FB04553-2488-4F26-9F53-0888BA726877}" dt="2022-01-27T09:59:45.084" v="70" actId="20577"/>
        <pc:sldMkLst>
          <pc:docMk/>
          <pc:sldMk cId="0" sldId="256"/>
        </pc:sldMkLst>
        <pc:spChg chg="mod">
          <ac:chgData name="Job Doorduin" userId="78e5cfe8-70b4-45f3-a671-f6672e6e2e2d" providerId="ADAL" clId="{1FB04553-2488-4F26-9F53-0888BA726877}" dt="2022-01-27T09:59:45.084" v="70" actId="20577"/>
          <ac:spMkLst>
            <pc:docMk/>
            <pc:sldMk cId="0" sldId="256"/>
            <ac:spMk id="22530" creationId="{CC28B12B-1517-456D-9857-B43A076E6613}"/>
          </ac:spMkLst>
        </pc:spChg>
      </pc:sldChg>
      <pc:sldChg chg="modSp mod">
        <pc:chgData name="Job Doorduin" userId="78e5cfe8-70b4-45f3-a671-f6672e6e2e2d" providerId="ADAL" clId="{1FB04553-2488-4F26-9F53-0888BA726877}" dt="2022-01-27T10:02:14.053" v="95" actId="20577"/>
        <pc:sldMkLst>
          <pc:docMk/>
          <pc:sldMk cId="1523145537" sldId="263"/>
        </pc:sldMkLst>
        <pc:spChg chg="mod">
          <ac:chgData name="Job Doorduin" userId="78e5cfe8-70b4-45f3-a671-f6672e6e2e2d" providerId="ADAL" clId="{1FB04553-2488-4F26-9F53-0888BA726877}" dt="2022-01-27T10:00:23.620" v="80" actId="20577"/>
          <ac:spMkLst>
            <pc:docMk/>
            <pc:sldMk cId="1523145537" sldId="263"/>
            <ac:spMk id="23554" creationId="{DC0D4269-0171-4452-B687-989D1CC8E2EF}"/>
          </ac:spMkLst>
        </pc:spChg>
        <pc:spChg chg="mod">
          <ac:chgData name="Job Doorduin" userId="78e5cfe8-70b4-45f3-a671-f6672e6e2e2d" providerId="ADAL" clId="{1FB04553-2488-4F26-9F53-0888BA726877}" dt="2022-01-27T10:02:14.053" v="95" actId="20577"/>
          <ac:spMkLst>
            <pc:docMk/>
            <pc:sldMk cId="1523145537" sldId="263"/>
            <ac:spMk id="23555" creationId="{3318B35F-2DCD-4A6B-A4B6-854A2E2FF1C3}"/>
          </ac:spMkLst>
        </pc:spChg>
      </pc:sldChg>
      <pc:sldChg chg="add">
        <pc:chgData name="Job Doorduin" userId="78e5cfe8-70b4-45f3-a671-f6672e6e2e2d" providerId="ADAL" clId="{1FB04553-2488-4F26-9F53-0888BA726877}" dt="2022-01-27T10:00:08.529" v="71"/>
        <pc:sldMkLst>
          <pc:docMk/>
          <pc:sldMk cId="0" sldId="267"/>
        </pc:sldMkLst>
      </pc:sldChg>
    </pc:docChg>
  </pc:docChgLst>
  <pc:docChgLst>
    <pc:chgData name="Job Doorduin" userId="78e5cfe8-70b4-45f3-a671-f6672e6e2e2d" providerId="ADAL" clId="{96947B95-A368-4FDA-AFF5-EFF4DA175DB4}"/>
    <pc:docChg chg="custSel addSld delSld modSld">
      <pc:chgData name="Job Doorduin" userId="78e5cfe8-70b4-45f3-a671-f6672e6e2e2d" providerId="ADAL" clId="{96947B95-A368-4FDA-AFF5-EFF4DA175DB4}" dt="2022-09-28T07:25:35.489" v="62" actId="14100"/>
      <pc:docMkLst>
        <pc:docMk/>
      </pc:docMkLst>
      <pc:sldChg chg="del">
        <pc:chgData name="Job Doorduin" userId="78e5cfe8-70b4-45f3-a671-f6672e6e2e2d" providerId="ADAL" clId="{96947B95-A368-4FDA-AFF5-EFF4DA175DB4}" dt="2022-09-26T08:53:29.740" v="51" actId="47"/>
        <pc:sldMkLst>
          <pc:docMk/>
          <pc:sldMk cId="0" sldId="258"/>
        </pc:sldMkLst>
      </pc:sldChg>
      <pc:sldChg chg="del">
        <pc:chgData name="Job Doorduin" userId="78e5cfe8-70b4-45f3-a671-f6672e6e2e2d" providerId="ADAL" clId="{96947B95-A368-4FDA-AFF5-EFF4DA175DB4}" dt="2022-09-26T08:53:30.729" v="52" actId="47"/>
        <pc:sldMkLst>
          <pc:docMk/>
          <pc:sldMk cId="0" sldId="259"/>
        </pc:sldMkLst>
      </pc:sldChg>
      <pc:sldChg chg="del">
        <pc:chgData name="Job Doorduin" userId="78e5cfe8-70b4-45f3-a671-f6672e6e2e2d" providerId="ADAL" clId="{96947B95-A368-4FDA-AFF5-EFF4DA175DB4}" dt="2022-09-26T08:53:32.081" v="53" actId="47"/>
        <pc:sldMkLst>
          <pc:docMk/>
          <pc:sldMk cId="0" sldId="260"/>
        </pc:sldMkLst>
      </pc:sldChg>
      <pc:sldChg chg="del">
        <pc:chgData name="Job Doorduin" userId="78e5cfe8-70b4-45f3-a671-f6672e6e2e2d" providerId="ADAL" clId="{96947B95-A368-4FDA-AFF5-EFF4DA175DB4}" dt="2022-09-26T08:53:33.227" v="54" actId="47"/>
        <pc:sldMkLst>
          <pc:docMk/>
          <pc:sldMk cId="0" sldId="261"/>
        </pc:sldMkLst>
      </pc:sldChg>
      <pc:sldChg chg="del">
        <pc:chgData name="Job Doorduin" userId="78e5cfe8-70b4-45f3-a671-f6672e6e2e2d" providerId="ADAL" clId="{96947B95-A368-4FDA-AFF5-EFF4DA175DB4}" dt="2022-09-26T08:53:34.918" v="55" actId="47"/>
        <pc:sldMkLst>
          <pc:docMk/>
          <pc:sldMk cId="0" sldId="262"/>
        </pc:sldMkLst>
      </pc:sldChg>
      <pc:sldChg chg="del">
        <pc:chgData name="Job Doorduin" userId="78e5cfe8-70b4-45f3-a671-f6672e6e2e2d" providerId="ADAL" clId="{96947B95-A368-4FDA-AFF5-EFF4DA175DB4}" dt="2022-09-26T08:53:36.177" v="56" actId="47"/>
        <pc:sldMkLst>
          <pc:docMk/>
          <pc:sldMk cId="0" sldId="264"/>
        </pc:sldMkLst>
      </pc:sldChg>
      <pc:sldChg chg="del">
        <pc:chgData name="Job Doorduin" userId="78e5cfe8-70b4-45f3-a671-f6672e6e2e2d" providerId="ADAL" clId="{96947B95-A368-4FDA-AFF5-EFF4DA175DB4}" dt="2022-09-26T08:53:28.838" v="50" actId="47"/>
        <pc:sldMkLst>
          <pc:docMk/>
          <pc:sldMk cId="0" sldId="265"/>
        </pc:sldMkLst>
      </pc:sldChg>
      <pc:sldChg chg="del">
        <pc:chgData name="Job Doorduin" userId="78e5cfe8-70b4-45f3-a671-f6672e6e2e2d" providerId="ADAL" clId="{96947B95-A368-4FDA-AFF5-EFF4DA175DB4}" dt="2022-09-26T08:53:27.956" v="49" actId="47"/>
        <pc:sldMkLst>
          <pc:docMk/>
          <pc:sldMk cId="839502497" sldId="266"/>
        </pc:sldMkLst>
      </pc:sldChg>
      <pc:sldChg chg="del">
        <pc:chgData name="Job Doorduin" userId="78e5cfe8-70b4-45f3-a671-f6672e6e2e2d" providerId="ADAL" clId="{96947B95-A368-4FDA-AFF5-EFF4DA175DB4}" dt="2022-09-26T08:53:26.421" v="48" actId="47"/>
        <pc:sldMkLst>
          <pc:docMk/>
          <pc:sldMk cId="0" sldId="267"/>
        </pc:sldMkLst>
      </pc:sldChg>
      <pc:sldChg chg="del">
        <pc:chgData name="Job Doorduin" userId="78e5cfe8-70b4-45f3-a671-f6672e6e2e2d" providerId="ADAL" clId="{96947B95-A368-4FDA-AFF5-EFF4DA175DB4}" dt="2022-09-26T08:53:25.129" v="47" actId="47"/>
        <pc:sldMkLst>
          <pc:docMk/>
          <pc:sldMk cId="3883873087" sldId="269"/>
        </pc:sldMkLst>
      </pc:sldChg>
      <pc:sldChg chg="addSp delSp modSp mod">
        <pc:chgData name="Job Doorduin" userId="78e5cfe8-70b4-45f3-a671-f6672e6e2e2d" providerId="ADAL" clId="{96947B95-A368-4FDA-AFF5-EFF4DA175DB4}" dt="2022-09-26T08:52:59.424" v="42" actId="1076"/>
        <pc:sldMkLst>
          <pc:docMk/>
          <pc:sldMk cId="1697198988" sldId="270"/>
        </pc:sldMkLst>
        <pc:spChg chg="add mod">
          <ac:chgData name="Job Doorduin" userId="78e5cfe8-70b4-45f3-a671-f6672e6e2e2d" providerId="ADAL" clId="{96947B95-A368-4FDA-AFF5-EFF4DA175DB4}" dt="2022-09-26T08:52:54.726" v="41" actId="20577"/>
          <ac:spMkLst>
            <pc:docMk/>
            <pc:sldMk cId="1697198988" sldId="270"/>
            <ac:spMk id="2" creationId="{CEE2C66F-9C3B-97C5-1388-814D34C1BE1F}"/>
          </ac:spMkLst>
        </pc:spChg>
        <pc:spChg chg="add mod ord">
          <ac:chgData name="Job Doorduin" userId="78e5cfe8-70b4-45f3-a671-f6672e6e2e2d" providerId="ADAL" clId="{96947B95-A368-4FDA-AFF5-EFF4DA175DB4}" dt="2022-09-26T08:52:44.203" v="38" actId="14100"/>
          <ac:spMkLst>
            <pc:docMk/>
            <pc:sldMk cId="1697198988" sldId="270"/>
            <ac:spMk id="5" creationId="{1F22558B-AD3B-984B-CCC8-EE3D6447EDE9}"/>
          </ac:spMkLst>
        </pc:spChg>
        <pc:picChg chg="add mod">
          <ac:chgData name="Job Doorduin" userId="78e5cfe8-70b4-45f3-a671-f6672e6e2e2d" providerId="ADAL" clId="{96947B95-A368-4FDA-AFF5-EFF4DA175DB4}" dt="2022-09-26T08:52:59.424" v="42" actId="1076"/>
          <ac:picMkLst>
            <pc:docMk/>
            <pc:sldMk cId="1697198988" sldId="270"/>
            <ac:picMk id="4" creationId="{68DAB084-B07B-5E58-1F4C-0D00810472D7}"/>
          </ac:picMkLst>
        </pc:picChg>
        <pc:picChg chg="del">
          <ac:chgData name="Job Doorduin" userId="78e5cfe8-70b4-45f3-a671-f6672e6e2e2d" providerId="ADAL" clId="{96947B95-A368-4FDA-AFF5-EFF4DA175DB4}" dt="2022-09-26T08:50:22.820" v="0" actId="478"/>
          <ac:picMkLst>
            <pc:docMk/>
            <pc:sldMk cId="1697198988" sldId="270"/>
            <ac:picMk id="2050" creationId="{4CB45D12-43EF-57DF-E923-38047F9FC0C5}"/>
          </ac:picMkLst>
        </pc:picChg>
      </pc:sldChg>
      <pc:sldChg chg="modSp mod">
        <pc:chgData name="Job Doorduin" userId="78e5cfe8-70b4-45f3-a671-f6672e6e2e2d" providerId="ADAL" clId="{96947B95-A368-4FDA-AFF5-EFF4DA175DB4}" dt="2022-09-28T07:25:35.489" v="62" actId="14100"/>
        <pc:sldMkLst>
          <pc:docMk/>
          <pc:sldMk cId="60650045" sldId="271"/>
        </pc:sldMkLst>
        <pc:spChg chg="mod">
          <ac:chgData name="Job Doorduin" userId="78e5cfe8-70b4-45f3-a671-f6672e6e2e2d" providerId="ADAL" clId="{96947B95-A368-4FDA-AFF5-EFF4DA175DB4}" dt="2022-09-26T08:53:19.388" v="45" actId="1076"/>
          <ac:spMkLst>
            <pc:docMk/>
            <pc:sldMk cId="60650045" sldId="271"/>
            <ac:spMk id="3" creationId="{E6A6EDF2-DBA8-7A9F-528B-18B34B676A61}"/>
          </ac:spMkLst>
        </pc:spChg>
        <pc:picChg chg="mod">
          <ac:chgData name="Job Doorduin" userId="78e5cfe8-70b4-45f3-a671-f6672e6e2e2d" providerId="ADAL" clId="{96947B95-A368-4FDA-AFF5-EFF4DA175DB4}" dt="2022-09-28T07:25:35.489" v="62" actId="14100"/>
          <ac:picMkLst>
            <pc:docMk/>
            <pc:sldMk cId="60650045" sldId="271"/>
            <ac:picMk id="1026" creationId="{89921336-A2FD-9861-1299-4DFABAA4B405}"/>
          </ac:picMkLst>
        </pc:picChg>
      </pc:sldChg>
      <pc:sldChg chg="del">
        <pc:chgData name="Job Doorduin" userId="78e5cfe8-70b4-45f3-a671-f6672e6e2e2d" providerId="ADAL" clId="{96947B95-A368-4FDA-AFF5-EFF4DA175DB4}" dt="2022-09-26T08:53:23.983" v="46" actId="47"/>
        <pc:sldMkLst>
          <pc:docMk/>
          <pc:sldMk cId="898336580" sldId="284"/>
        </pc:sldMkLst>
      </pc:sldChg>
      <pc:sldChg chg="del">
        <pc:chgData name="Job Doorduin" userId="78e5cfe8-70b4-45f3-a671-f6672e6e2e2d" providerId="ADAL" clId="{96947B95-A368-4FDA-AFF5-EFF4DA175DB4}" dt="2022-09-26T12:59:10.543" v="60"/>
        <pc:sldMkLst>
          <pc:docMk/>
          <pc:sldMk cId="1974209334" sldId="285"/>
        </pc:sldMkLst>
      </pc:sldChg>
      <pc:sldChg chg="modSp add del">
        <pc:chgData name="Job Doorduin" userId="78e5cfe8-70b4-45f3-a671-f6672e6e2e2d" providerId="ADAL" clId="{96947B95-A368-4FDA-AFF5-EFF4DA175DB4}" dt="2022-09-26T12:59:01.082" v="59"/>
        <pc:sldMkLst>
          <pc:docMk/>
          <pc:sldMk cId="3124302287" sldId="285"/>
        </pc:sldMkLst>
        <pc:spChg chg="mod">
          <ac:chgData name="Job Doorduin" userId="78e5cfe8-70b4-45f3-a671-f6672e6e2e2d" providerId="ADAL" clId="{96947B95-A368-4FDA-AFF5-EFF4DA175DB4}" dt="2022-09-26T12:58:56.721" v="58"/>
          <ac:spMkLst>
            <pc:docMk/>
            <pc:sldMk cId="3124302287" sldId="285"/>
            <ac:spMk id="3" creationId="{00000000-0000-0000-0000-000000000000}"/>
          </ac:spMkLst>
        </pc:spChg>
        <pc:spChg chg="mod">
          <ac:chgData name="Job Doorduin" userId="78e5cfe8-70b4-45f3-a671-f6672e6e2e2d" providerId="ADAL" clId="{96947B95-A368-4FDA-AFF5-EFF4DA175DB4}" dt="2022-09-26T12:58:56.721" v="58"/>
          <ac:spMkLst>
            <pc:docMk/>
            <pc:sldMk cId="3124302287" sldId="285"/>
            <ac:spMk id="5" creationId="{00000000-0000-0000-0000-000000000000}"/>
          </ac:spMkLst>
        </pc:spChg>
        <pc:spChg chg="mod">
          <ac:chgData name="Job Doorduin" userId="78e5cfe8-70b4-45f3-a671-f6672e6e2e2d" providerId="ADAL" clId="{96947B95-A368-4FDA-AFF5-EFF4DA175DB4}" dt="2022-09-26T12:58:56.721" v="58"/>
          <ac:spMkLst>
            <pc:docMk/>
            <pc:sldMk cId="3124302287" sldId="285"/>
            <ac:spMk id="6" creationId="{00000000-0000-0000-0000-000000000000}"/>
          </ac:spMkLst>
        </pc:spChg>
      </pc:sldChg>
      <pc:sldChg chg="del">
        <pc:chgData name="Job Doorduin" userId="78e5cfe8-70b4-45f3-a671-f6672e6e2e2d" providerId="ADAL" clId="{96947B95-A368-4FDA-AFF5-EFF4DA175DB4}" dt="2022-09-26T12:58:42.880" v="57" actId="2696"/>
        <pc:sldMkLst>
          <pc:docMk/>
          <pc:sldMk cId="3608752301" sldId="285"/>
        </pc:sldMkLst>
      </pc:sldChg>
      <pc:sldChg chg="add del">
        <pc:chgData name="Job Doorduin" userId="78e5cfe8-70b4-45f3-a671-f6672e6e2e2d" providerId="ADAL" clId="{96947B95-A368-4FDA-AFF5-EFF4DA175DB4}" dt="2022-09-26T12:59:01.082" v="59"/>
        <pc:sldMkLst>
          <pc:docMk/>
          <pc:sldMk cId="255283924" sldId="474"/>
        </pc:sldMkLst>
      </pc:sldChg>
      <pc:sldChg chg="del">
        <pc:chgData name="Job Doorduin" userId="78e5cfe8-70b4-45f3-a671-f6672e6e2e2d" providerId="ADAL" clId="{96947B95-A368-4FDA-AFF5-EFF4DA175DB4}" dt="2022-09-26T12:58:42.880" v="57" actId="2696"/>
        <pc:sldMkLst>
          <pc:docMk/>
          <pc:sldMk cId="867186881" sldId="474"/>
        </pc:sldMkLst>
      </pc:sldChg>
      <pc:sldChg chg="del">
        <pc:chgData name="Job Doorduin" userId="78e5cfe8-70b4-45f3-a671-f6672e6e2e2d" providerId="ADAL" clId="{96947B95-A368-4FDA-AFF5-EFF4DA175DB4}" dt="2022-09-26T12:59:10.543" v="60"/>
        <pc:sldMkLst>
          <pc:docMk/>
          <pc:sldMk cId="2978963865" sldId="474"/>
        </pc:sldMkLst>
      </pc:sldChg>
      <pc:sldChg chg="del">
        <pc:chgData name="Job Doorduin" userId="78e5cfe8-70b4-45f3-a671-f6672e6e2e2d" providerId="ADAL" clId="{96947B95-A368-4FDA-AFF5-EFF4DA175DB4}" dt="2022-09-26T12:59:10.543" v="60"/>
        <pc:sldMkLst>
          <pc:docMk/>
          <pc:sldMk cId="234013571" sldId="475"/>
        </pc:sldMkLst>
      </pc:sldChg>
      <pc:sldChg chg="add del">
        <pc:chgData name="Job Doorduin" userId="78e5cfe8-70b4-45f3-a671-f6672e6e2e2d" providerId="ADAL" clId="{96947B95-A368-4FDA-AFF5-EFF4DA175DB4}" dt="2022-09-26T12:59:01.082" v="59"/>
        <pc:sldMkLst>
          <pc:docMk/>
          <pc:sldMk cId="1586857621" sldId="475"/>
        </pc:sldMkLst>
      </pc:sldChg>
      <pc:sldChg chg="del">
        <pc:chgData name="Job Doorduin" userId="78e5cfe8-70b4-45f3-a671-f6672e6e2e2d" providerId="ADAL" clId="{96947B95-A368-4FDA-AFF5-EFF4DA175DB4}" dt="2022-09-26T12:58:42.880" v="57" actId="2696"/>
        <pc:sldMkLst>
          <pc:docMk/>
          <pc:sldMk cId="3819052560" sldId="475"/>
        </pc:sldMkLst>
      </pc:sldChg>
      <pc:sldChg chg="del">
        <pc:chgData name="Job Doorduin" userId="78e5cfe8-70b4-45f3-a671-f6672e6e2e2d" providerId="ADAL" clId="{96947B95-A368-4FDA-AFF5-EFF4DA175DB4}" dt="2022-09-26T12:58:42.880" v="57" actId="2696"/>
        <pc:sldMkLst>
          <pc:docMk/>
          <pc:sldMk cId="392174042" sldId="562"/>
        </pc:sldMkLst>
      </pc:sldChg>
      <pc:sldChg chg="del">
        <pc:chgData name="Job Doorduin" userId="78e5cfe8-70b4-45f3-a671-f6672e6e2e2d" providerId="ADAL" clId="{96947B95-A368-4FDA-AFF5-EFF4DA175DB4}" dt="2022-09-26T12:59:10.543" v="60"/>
        <pc:sldMkLst>
          <pc:docMk/>
          <pc:sldMk cId="1033882197" sldId="562"/>
        </pc:sldMkLst>
      </pc:sldChg>
      <pc:sldChg chg="add del">
        <pc:chgData name="Job Doorduin" userId="78e5cfe8-70b4-45f3-a671-f6672e6e2e2d" providerId="ADAL" clId="{96947B95-A368-4FDA-AFF5-EFF4DA175DB4}" dt="2022-09-26T12:59:01.082" v="59"/>
        <pc:sldMkLst>
          <pc:docMk/>
          <pc:sldMk cId="4208756894" sldId="562"/>
        </pc:sldMkLst>
      </pc:sldChg>
      <pc:sldChg chg="add del setBg">
        <pc:chgData name="Job Doorduin" userId="78e5cfe8-70b4-45f3-a671-f6672e6e2e2d" providerId="ADAL" clId="{96947B95-A368-4FDA-AFF5-EFF4DA175DB4}" dt="2022-09-26T12:59:01.082" v="59"/>
        <pc:sldMkLst>
          <pc:docMk/>
          <pc:sldMk cId="1219185087" sldId="11849"/>
        </pc:sldMkLst>
      </pc:sldChg>
      <pc:sldChg chg="del">
        <pc:chgData name="Job Doorduin" userId="78e5cfe8-70b4-45f3-a671-f6672e6e2e2d" providerId="ADAL" clId="{96947B95-A368-4FDA-AFF5-EFF4DA175DB4}" dt="2022-09-26T12:59:10.543" v="60"/>
        <pc:sldMkLst>
          <pc:docMk/>
          <pc:sldMk cId="2513456936" sldId="11849"/>
        </pc:sldMkLst>
      </pc:sldChg>
      <pc:sldChg chg="del">
        <pc:chgData name="Job Doorduin" userId="78e5cfe8-70b4-45f3-a671-f6672e6e2e2d" providerId="ADAL" clId="{96947B95-A368-4FDA-AFF5-EFF4DA175DB4}" dt="2022-09-26T12:58:42.880" v="57" actId="2696"/>
        <pc:sldMkLst>
          <pc:docMk/>
          <pc:sldMk cId="2776056973" sldId="11849"/>
        </pc:sldMkLst>
      </pc:sldChg>
      <pc:sldChg chg="del">
        <pc:chgData name="Job Doorduin" userId="78e5cfe8-70b4-45f3-a671-f6672e6e2e2d" providerId="ADAL" clId="{96947B95-A368-4FDA-AFF5-EFF4DA175DB4}" dt="2022-09-26T12:58:42.880" v="57" actId="2696"/>
        <pc:sldMkLst>
          <pc:docMk/>
          <pc:sldMk cId="988220035" sldId="2090650947"/>
        </pc:sldMkLst>
      </pc:sldChg>
      <pc:sldChg chg="add del">
        <pc:chgData name="Job Doorduin" userId="78e5cfe8-70b4-45f3-a671-f6672e6e2e2d" providerId="ADAL" clId="{96947B95-A368-4FDA-AFF5-EFF4DA175DB4}" dt="2022-09-26T12:59:01.082" v="59"/>
        <pc:sldMkLst>
          <pc:docMk/>
          <pc:sldMk cId="2251750490" sldId="2090650947"/>
        </pc:sldMkLst>
      </pc:sldChg>
      <pc:sldChg chg="del">
        <pc:chgData name="Job Doorduin" userId="78e5cfe8-70b4-45f3-a671-f6672e6e2e2d" providerId="ADAL" clId="{96947B95-A368-4FDA-AFF5-EFF4DA175DB4}" dt="2022-09-26T12:59:10.543" v="60"/>
        <pc:sldMkLst>
          <pc:docMk/>
          <pc:sldMk cId="2609541791" sldId="2090650947"/>
        </pc:sldMkLst>
      </pc:sldChg>
      <pc:sldChg chg="add del">
        <pc:chgData name="Job Doorduin" userId="78e5cfe8-70b4-45f3-a671-f6672e6e2e2d" providerId="ADAL" clId="{96947B95-A368-4FDA-AFF5-EFF4DA175DB4}" dt="2022-09-26T12:59:01.082" v="59"/>
        <pc:sldMkLst>
          <pc:docMk/>
          <pc:sldMk cId="415412245" sldId="2090650948"/>
        </pc:sldMkLst>
      </pc:sldChg>
      <pc:sldChg chg="del">
        <pc:chgData name="Job Doorduin" userId="78e5cfe8-70b4-45f3-a671-f6672e6e2e2d" providerId="ADAL" clId="{96947B95-A368-4FDA-AFF5-EFF4DA175DB4}" dt="2022-09-26T12:58:42.880" v="57" actId="2696"/>
        <pc:sldMkLst>
          <pc:docMk/>
          <pc:sldMk cId="908246178" sldId="2090650948"/>
        </pc:sldMkLst>
      </pc:sldChg>
      <pc:sldChg chg="del">
        <pc:chgData name="Job Doorduin" userId="78e5cfe8-70b4-45f3-a671-f6672e6e2e2d" providerId="ADAL" clId="{96947B95-A368-4FDA-AFF5-EFF4DA175DB4}" dt="2022-09-26T12:59:10.543" v="60"/>
        <pc:sldMkLst>
          <pc:docMk/>
          <pc:sldMk cId="3496830872" sldId="2090650948"/>
        </pc:sldMkLst>
      </pc:sldChg>
      <pc:sldMasterChg chg="delSldLayout">
        <pc:chgData name="Job Doorduin" userId="78e5cfe8-70b4-45f3-a671-f6672e6e2e2d" providerId="ADAL" clId="{96947B95-A368-4FDA-AFF5-EFF4DA175DB4}" dt="2022-09-26T08:53:36.177" v="56" actId="47"/>
        <pc:sldMasterMkLst>
          <pc:docMk/>
          <pc:sldMasterMk cId="0" sldId="2147483648"/>
        </pc:sldMasterMkLst>
        <pc:sldLayoutChg chg="del">
          <pc:chgData name="Job Doorduin" userId="78e5cfe8-70b4-45f3-a671-f6672e6e2e2d" providerId="ADAL" clId="{96947B95-A368-4FDA-AFF5-EFF4DA175DB4}" dt="2022-09-26T08:53:36.177" v="56" actId="47"/>
          <pc:sldLayoutMkLst>
            <pc:docMk/>
            <pc:sldMasterMk cId="0" sldId="2147483648"/>
            <pc:sldLayoutMk cId="3251424620" sldId="2147483702"/>
          </pc:sldLayoutMkLst>
        </pc:sldLayoutChg>
      </pc:sldMasterChg>
      <pc:sldMasterChg chg="delSldLayout">
        <pc:chgData name="Job Doorduin" userId="78e5cfe8-70b4-45f3-a671-f6672e6e2e2d" providerId="ADAL" clId="{96947B95-A368-4FDA-AFF5-EFF4DA175DB4}" dt="2022-09-26T12:58:42.880" v="57" actId="2696"/>
        <pc:sldMasterMkLst>
          <pc:docMk/>
          <pc:sldMasterMk cId="1808137557" sldId="2147483775"/>
        </pc:sldMasterMkLst>
        <pc:sldLayoutChg chg="del">
          <pc:chgData name="Job Doorduin" userId="78e5cfe8-70b4-45f3-a671-f6672e6e2e2d" providerId="ADAL" clId="{96947B95-A368-4FDA-AFF5-EFF4DA175DB4}" dt="2022-09-26T12:58:42.880" v="57" actId="2696"/>
          <pc:sldLayoutMkLst>
            <pc:docMk/>
            <pc:sldMasterMk cId="1808137557" sldId="2147483775"/>
            <pc:sldLayoutMk cId="2574591722" sldId="2147483789"/>
          </pc:sldLayoutMkLst>
        </pc:sldLayoutChg>
      </pc:sldMasterChg>
      <pc:sldMasterChg chg="delSldLayout">
        <pc:chgData name="Job Doorduin" userId="78e5cfe8-70b4-45f3-a671-f6672e6e2e2d" providerId="ADAL" clId="{96947B95-A368-4FDA-AFF5-EFF4DA175DB4}" dt="2022-09-26T12:58:42.880" v="57" actId="2696"/>
        <pc:sldMasterMkLst>
          <pc:docMk/>
          <pc:sldMasterMk cId="313316644" sldId="2147483831"/>
        </pc:sldMasterMkLst>
        <pc:sldLayoutChg chg="del">
          <pc:chgData name="Job Doorduin" userId="78e5cfe8-70b4-45f3-a671-f6672e6e2e2d" providerId="ADAL" clId="{96947B95-A368-4FDA-AFF5-EFF4DA175DB4}" dt="2022-09-26T12:58:42.880" v="57" actId="2696"/>
          <pc:sldLayoutMkLst>
            <pc:docMk/>
            <pc:sldMasterMk cId="313316644" sldId="2147483831"/>
            <pc:sldLayoutMk cId="1294337546" sldId="2147483843"/>
          </pc:sldLayoutMkLst>
        </pc:sldLayoutChg>
      </pc:sldMasterChg>
    </pc:docChg>
  </pc:docChgLst>
  <pc:docChgLst>
    <pc:chgData name="Job Doorduin" userId="78e5cfe8-70b4-45f3-a671-f6672e6e2e2d" providerId="ADAL" clId="{B10F4C39-1D1D-42D4-9A61-08F315387F8F}"/>
    <pc:docChg chg="custSel addSld modSld">
      <pc:chgData name="Job Doorduin" userId="78e5cfe8-70b4-45f3-a671-f6672e6e2e2d" providerId="ADAL" clId="{B10F4C39-1D1D-42D4-9A61-08F315387F8F}" dt="2021-10-04T11:11:33.273" v="269" actId="6549"/>
      <pc:docMkLst>
        <pc:docMk/>
      </pc:docMkLst>
      <pc:sldChg chg="modSp mod">
        <pc:chgData name="Job Doorduin" userId="78e5cfe8-70b4-45f3-a671-f6672e6e2e2d" providerId="ADAL" clId="{B10F4C39-1D1D-42D4-9A61-08F315387F8F}" dt="2021-10-04T11:11:33.273" v="269" actId="6549"/>
        <pc:sldMkLst>
          <pc:docMk/>
          <pc:sldMk cId="0" sldId="256"/>
        </pc:sldMkLst>
        <pc:spChg chg="mod">
          <ac:chgData name="Job Doorduin" userId="78e5cfe8-70b4-45f3-a671-f6672e6e2e2d" providerId="ADAL" clId="{B10F4C39-1D1D-42D4-9A61-08F315387F8F}" dt="2021-10-04T11:11:33.273" v="269" actId="6549"/>
          <ac:spMkLst>
            <pc:docMk/>
            <pc:sldMk cId="0" sldId="256"/>
            <ac:spMk id="22530" creationId="{CC28B12B-1517-456D-9857-B43A076E6613}"/>
          </ac:spMkLst>
        </pc:spChg>
      </pc:sldChg>
      <pc:sldChg chg="modSp mod">
        <pc:chgData name="Job Doorduin" userId="78e5cfe8-70b4-45f3-a671-f6672e6e2e2d" providerId="ADAL" clId="{B10F4C39-1D1D-42D4-9A61-08F315387F8F}" dt="2021-10-04T11:11:31.105" v="268" actId="6549"/>
        <pc:sldMkLst>
          <pc:docMk/>
          <pc:sldMk cId="1523145537" sldId="263"/>
        </pc:sldMkLst>
        <pc:spChg chg="mod">
          <ac:chgData name="Job Doorduin" userId="78e5cfe8-70b4-45f3-a671-f6672e6e2e2d" providerId="ADAL" clId="{B10F4C39-1D1D-42D4-9A61-08F315387F8F}" dt="2021-10-04T11:11:29.211" v="267" actId="6549"/>
          <ac:spMkLst>
            <pc:docMk/>
            <pc:sldMk cId="1523145537" sldId="263"/>
            <ac:spMk id="23554" creationId="{DC0D4269-0171-4452-B687-989D1CC8E2EF}"/>
          </ac:spMkLst>
        </pc:spChg>
        <pc:spChg chg="mod">
          <ac:chgData name="Job Doorduin" userId="78e5cfe8-70b4-45f3-a671-f6672e6e2e2d" providerId="ADAL" clId="{B10F4C39-1D1D-42D4-9A61-08F315387F8F}" dt="2021-10-04T11:11:31.105" v="268" actId="6549"/>
          <ac:spMkLst>
            <pc:docMk/>
            <pc:sldMk cId="1523145537" sldId="263"/>
            <ac:spMk id="23555" creationId="{3318B35F-2DCD-4A6B-A4B6-854A2E2FF1C3}"/>
          </ac:spMkLst>
        </pc:spChg>
      </pc:sldChg>
      <pc:sldChg chg="new">
        <pc:chgData name="Job Doorduin" userId="78e5cfe8-70b4-45f3-a671-f6672e6e2e2d" providerId="ADAL" clId="{B10F4C39-1D1D-42D4-9A61-08F315387F8F}" dt="2021-10-04T11:08:04.254" v="0" actId="680"/>
        <pc:sldMkLst>
          <pc:docMk/>
          <pc:sldMk cId="839502497" sldId="266"/>
        </pc:sldMkLst>
      </pc:sldChg>
    </pc:docChg>
  </pc:docChgLst>
  <pc:docChgLst>
    <pc:chgData name="Job Doorduin" userId="78e5cfe8-70b4-45f3-a671-f6672e6e2e2d" providerId="ADAL" clId="{BD61E3EB-F3FD-453A-A86C-6C8F0404E488}"/>
    <pc:docChg chg="delSld modSld">
      <pc:chgData name="Job Doorduin" userId="78e5cfe8-70b4-45f3-a671-f6672e6e2e2d" providerId="ADAL" clId="{BD61E3EB-F3FD-453A-A86C-6C8F0404E488}" dt="2022-03-02T08:46:32.293" v="1" actId="6549"/>
      <pc:docMkLst>
        <pc:docMk/>
      </pc:docMkLst>
      <pc:sldChg chg="modSp mod">
        <pc:chgData name="Job Doorduin" userId="78e5cfe8-70b4-45f3-a671-f6672e6e2e2d" providerId="ADAL" clId="{BD61E3EB-F3FD-453A-A86C-6C8F0404E488}" dt="2022-03-02T08:46:32.293" v="1" actId="6549"/>
        <pc:sldMkLst>
          <pc:docMk/>
          <pc:sldMk cId="0" sldId="256"/>
        </pc:sldMkLst>
        <pc:spChg chg="mod">
          <ac:chgData name="Job Doorduin" userId="78e5cfe8-70b4-45f3-a671-f6672e6e2e2d" providerId="ADAL" clId="{BD61E3EB-F3FD-453A-A86C-6C8F0404E488}" dt="2022-03-02T08:46:32.293" v="1" actId="6549"/>
          <ac:spMkLst>
            <pc:docMk/>
            <pc:sldMk cId="0" sldId="256"/>
            <ac:spMk id="22530" creationId="{CC28B12B-1517-456D-9857-B43A076E6613}"/>
          </ac:spMkLst>
        </pc:spChg>
      </pc:sldChg>
      <pc:sldChg chg="del">
        <pc:chgData name="Job Doorduin" userId="78e5cfe8-70b4-45f3-a671-f6672e6e2e2d" providerId="ADAL" clId="{BD61E3EB-F3FD-453A-A86C-6C8F0404E488}" dt="2022-03-02T08:46:29.362" v="0" actId="47"/>
        <pc:sldMkLst>
          <pc:docMk/>
          <pc:sldMk cId="1523145537" sldId="263"/>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svg"/><Relationship Id="rId1" Type="http://schemas.openxmlformats.org/officeDocument/2006/relationships/image" Target="../media/image39.png"/><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FC2E75-0941-439B-BE30-116E44CFADB9}"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3D6F4D6-FFF9-4EB3-BB0F-5AC9F8E710CB}">
      <dgm:prSet/>
      <dgm:spPr/>
      <dgm:t>
        <a:bodyPr/>
        <a:lstStyle/>
        <a:p>
          <a:pPr>
            <a:lnSpc>
              <a:spcPct val="100000"/>
            </a:lnSpc>
          </a:pPr>
          <a:r>
            <a:rPr lang="nl-NL"/>
            <a:t>2 voorbeelden van goede ideeen bezien vanuit de zorgprofessional</a:t>
          </a:r>
          <a:endParaRPr lang="en-US"/>
        </a:p>
      </dgm:t>
    </dgm:pt>
    <dgm:pt modelId="{6CED28A8-AC37-4F99-AB96-FB8B6FB7C59E}" type="parTrans" cxnId="{D7DA6320-A16A-474D-8A39-C341CD2F664C}">
      <dgm:prSet/>
      <dgm:spPr/>
      <dgm:t>
        <a:bodyPr/>
        <a:lstStyle/>
        <a:p>
          <a:endParaRPr lang="en-US"/>
        </a:p>
      </dgm:t>
    </dgm:pt>
    <dgm:pt modelId="{663E684F-9392-4B0F-A7EB-90FC90B2698C}" type="sibTrans" cxnId="{D7DA6320-A16A-474D-8A39-C341CD2F664C}">
      <dgm:prSet/>
      <dgm:spPr/>
      <dgm:t>
        <a:bodyPr/>
        <a:lstStyle/>
        <a:p>
          <a:endParaRPr lang="en-US"/>
        </a:p>
      </dgm:t>
    </dgm:pt>
    <dgm:pt modelId="{E76FE240-B725-492B-88E9-3FB79BCF81C2}">
      <dgm:prSet/>
      <dgm:spPr/>
      <dgm:t>
        <a:bodyPr/>
        <a:lstStyle/>
        <a:p>
          <a:pPr>
            <a:lnSpc>
              <a:spcPct val="100000"/>
            </a:lnSpc>
          </a:pPr>
          <a:r>
            <a:rPr lang="nl-NL"/>
            <a:t>Financiering bezien vanuit de NZA en verzekeraar</a:t>
          </a:r>
          <a:endParaRPr lang="en-US"/>
        </a:p>
      </dgm:t>
    </dgm:pt>
    <dgm:pt modelId="{70C17A23-C405-4919-97C8-099EE0FDD0E8}" type="parTrans" cxnId="{4AE245D6-FF7A-4F28-84C5-A2E09012F0A3}">
      <dgm:prSet/>
      <dgm:spPr/>
      <dgm:t>
        <a:bodyPr/>
        <a:lstStyle/>
        <a:p>
          <a:endParaRPr lang="en-US"/>
        </a:p>
      </dgm:t>
    </dgm:pt>
    <dgm:pt modelId="{4606D300-1D9D-4021-9182-AA1DDFD6E8B3}" type="sibTrans" cxnId="{4AE245D6-FF7A-4F28-84C5-A2E09012F0A3}">
      <dgm:prSet/>
      <dgm:spPr/>
      <dgm:t>
        <a:bodyPr/>
        <a:lstStyle/>
        <a:p>
          <a:endParaRPr lang="en-US"/>
        </a:p>
      </dgm:t>
    </dgm:pt>
    <dgm:pt modelId="{ABDAB6AA-0DA8-4BBF-A20A-6CBF7DC85793}">
      <dgm:prSet/>
      <dgm:spPr/>
      <dgm:t>
        <a:bodyPr/>
        <a:lstStyle/>
        <a:p>
          <a:pPr>
            <a:lnSpc>
              <a:spcPct val="100000"/>
            </a:lnSpc>
          </a:pPr>
          <a:r>
            <a:rPr lang="nl-NL"/>
            <a:t>Interactie</a:t>
          </a:r>
          <a:endParaRPr lang="en-US"/>
        </a:p>
      </dgm:t>
    </dgm:pt>
    <dgm:pt modelId="{5E22EA09-917C-48C7-92D9-274B361B52C2}" type="parTrans" cxnId="{2DB559D4-89BE-4156-825A-89940B698824}">
      <dgm:prSet/>
      <dgm:spPr/>
      <dgm:t>
        <a:bodyPr/>
        <a:lstStyle/>
        <a:p>
          <a:endParaRPr lang="en-US"/>
        </a:p>
      </dgm:t>
    </dgm:pt>
    <dgm:pt modelId="{FBC5C146-F892-4437-A9ED-F01570AD335F}" type="sibTrans" cxnId="{2DB559D4-89BE-4156-825A-89940B698824}">
      <dgm:prSet/>
      <dgm:spPr/>
      <dgm:t>
        <a:bodyPr/>
        <a:lstStyle/>
        <a:p>
          <a:endParaRPr lang="en-US"/>
        </a:p>
      </dgm:t>
    </dgm:pt>
    <dgm:pt modelId="{6AA80412-3CB0-4D84-9ED6-143198AC8DF4}" type="pres">
      <dgm:prSet presAssocID="{9BFC2E75-0941-439B-BE30-116E44CFADB9}" presName="root" presStyleCnt="0">
        <dgm:presLayoutVars>
          <dgm:dir/>
          <dgm:resizeHandles val="exact"/>
        </dgm:presLayoutVars>
      </dgm:prSet>
      <dgm:spPr/>
    </dgm:pt>
    <dgm:pt modelId="{38D9F85D-8AF5-483E-B2DD-61225E23848A}" type="pres">
      <dgm:prSet presAssocID="{83D6F4D6-FFF9-4EB3-BB0F-5AC9F8E710CB}" presName="compNode" presStyleCnt="0"/>
      <dgm:spPr/>
    </dgm:pt>
    <dgm:pt modelId="{8AD15BD8-52DA-44F0-85CC-0090925981C1}" type="pres">
      <dgm:prSet presAssocID="{83D6F4D6-FFF9-4EB3-BB0F-5AC9F8E710CB}" presName="bgRect" presStyleLbl="bgShp" presStyleIdx="0" presStyleCnt="3"/>
      <dgm:spPr/>
    </dgm:pt>
    <dgm:pt modelId="{AC72BC02-3BC1-4C64-A199-37355889983D}" type="pres">
      <dgm:prSet presAssocID="{83D6F4D6-FFF9-4EB3-BB0F-5AC9F8E710C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Gloeilamp"/>
        </a:ext>
      </dgm:extLst>
    </dgm:pt>
    <dgm:pt modelId="{CCD46EB6-3157-4AB3-AA20-256D57A9FC0F}" type="pres">
      <dgm:prSet presAssocID="{83D6F4D6-FFF9-4EB3-BB0F-5AC9F8E710CB}" presName="spaceRect" presStyleCnt="0"/>
      <dgm:spPr/>
    </dgm:pt>
    <dgm:pt modelId="{DAC235F8-A4F6-4BC3-BBB6-F5A1CFA2EECD}" type="pres">
      <dgm:prSet presAssocID="{83D6F4D6-FFF9-4EB3-BB0F-5AC9F8E710CB}" presName="parTx" presStyleLbl="revTx" presStyleIdx="0" presStyleCnt="3">
        <dgm:presLayoutVars>
          <dgm:chMax val="0"/>
          <dgm:chPref val="0"/>
        </dgm:presLayoutVars>
      </dgm:prSet>
      <dgm:spPr/>
    </dgm:pt>
    <dgm:pt modelId="{2C7AE1E3-FD8B-4E92-B8D8-7B93A5058F01}" type="pres">
      <dgm:prSet presAssocID="{663E684F-9392-4B0F-A7EB-90FC90B2698C}" presName="sibTrans" presStyleCnt="0"/>
      <dgm:spPr/>
    </dgm:pt>
    <dgm:pt modelId="{8D650710-6339-457D-A1AE-70B65A3C37CE}" type="pres">
      <dgm:prSet presAssocID="{E76FE240-B725-492B-88E9-3FB79BCF81C2}" presName="compNode" presStyleCnt="0"/>
      <dgm:spPr/>
    </dgm:pt>
    <dgm:pt modelId="{5505977C-3008-4025-AD2D-6C0B3B0C80B6}" type="pres">
      <dgm:prSet presAssocID="{E76FE240-B725-492B-88E9-3FB79BCF81C2}" presName="bgRect" presStyleLbl="bgShp" presStyleIdx="1" presStyleCnt="3"/>
      <dgm:spPr/>
    </dgm:pt>
    <dgm:pt modelId="{3FBC50E5-370F-4115-BC57-A32CBFB52942}" type="pres">
      <dgm:prSet presAssocID="{E76FE240-B725-492B-88E9-3FB79BCF81C2}"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Geld"/>
        </a:ext>
      </dgm:extLst>
    </dgm:pt>
    <dgm:pt modelId="{4CCFFC8C-73FA-4982-B1CF-17E4516EAFB6}" type="pres">
      <dgm:prSet presAssocID="{E76FE240-B725-492B-88E9-3FB79BCF81C2}" presName="spaceRect" presStyleCnt="0"/>
      <dgm:spPr/>
    </dgm:pt>
    <dgm:pt modelId="{94A22D52-1422-4810-95C7-4B6D37EE68CC}" type="pres">
      <dgm:prSet presAssocID="{E76FE240-B725-492B-88E9-3FB79BCF81C2}" presName="parTx" presStyleLbl="revTx" presStyleIdx="1" presStyleCnt="3">
        <dgm:presLayoutVars>
          <dgm:chMax val="0"/>
          <dgm:chPref val="0"/>
        </dgm:presLayoutVars>
      </dgm:prSet>
      <dgm:spPr/>
    </dgm:pt>
    <dgm:pt modelId="{8D41275A-935A-4368-88CB-E8334758347B}" type="pres">
      <dgm:prSet presAssocID="{4606D300-1D9D-4021-9182-AA1DDFD6E8B3}" presName="sibTrans" presStyleCnt="0"/>
      <dgm:spPr/>
    </dgm:pt>
    <dgm:pt modelId="{3B07271A-0AD3-4E25-9A14-4ACC2F6C0325}" type="pres">
      <dgm:prSet presAssocID="{ABDAB6AA-0DA8-4BBF-A20A-6CBF7DC85793}" presName="compNode" presStyleCnt="0"/>
      <dgm:spPr/>
    </dgm:pt>
    <dgm:pt modelId="{4AEE2CA1-5D24-4447-AE3E-D06E76FB7EB7}" type="pres">
      <dgm:prSet presAssocID="{ABDAB6AA-0DA8-4BBF-A20A-6CBF7DC85793}" presName="bgRect" presStyleLbl="bgShp" presStyleIdx="2" presStyleCnt="3"/>
      <dgm:spPr/>
    </dgm:pt>
    <dgm:pt modelId="{6208B8CD-7B9F-477D-ACC5-68248A21AC63}" type="pres">
      <dgm:prSet presAssocID="{ABDAB6AA-0DA8-4BBF-A20A-6CBF7DC8579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atten"/>
        </a:ext>
      </dgm:extLst>
    </dgm:pt>
    <dgm:pt modelId="{4BA26CAB-6701-427C-B5EC-F9BB8D209B87}" type="pres">
      <dgm:prSet presAssocID="{ABDAB6AA-0DA8-4BBF-A20A-6CBF7DC85793}" presName="spaceRect" presStyleCnt="0"/>
      <dgm:spPr/>
    </dgm:pt>
    <dgm:pt modelId="{DDAEE87C-96E2-442C-8E35-0E5FB242660F}" type="pres">
      <dgm:prSet presAssocID="{ABDAB6AA-0DA8-4BBF-A20A-6CBF7DC85793}" presName="parTx" presStyleLbl="revTx" presStyleIdx="2" presStyleCnt="3">
        <dgm:presLayoutVars>
          <dgm:chMax val="0"/>
          <dgm:chPref val="0"/>
        </dgm:presLayoutVars>
      </dgm:prSet>
      <dgm:spPr/>
    </dgm:pt>
  </dgm:ptLst>
  <dgm:cxnLst>
    <dgm:cxn modelId="{D7DA6320-A16A-474D-8A39-C341CD2F664C}" srcId="{9BFC2E75-0941-439B-BE30-116E44CFADB9}" destId="{83D6F4D6-FFF9-4EB3-BB0F-5AC9F8E710CB}" srcOrd="0" destOrd="0" parTransId="{6CED28A8-AC37-4F99-AB96-FB8B6FB7C59E}" sibTransId="{663E684F-9392-4B0F-A7EB-90FC90B2698C}"/>
    <dgm:cxn modelId="{49109921-096E-4808-949A-FA483D0DE2C7}" type="presOf" srcId="{ABDAB6AA-0DA8-4BBF-A20A-6CBF7DC85793}" destId="{DDAEE87C-96E2-442C-8E35-0E5FB242660F}" srcOrd="0" destOrd="0" presId="urn:microsoft.com/office/officeart/2018/2/layout/IconVerticalSolidList"/>
    <dgm:cxn modelId="{BF2B5F5E-2000-4E3E-B658-A4987C4ED20F}" type="presOf" srcId="{83D6F4D6-FFF9-4EB3-BB0F-5AC9F8E710CB}" destId="{DAC235F8-A4F6-4BC3-BBB6-F5A1CFA2EECD}" srcOrd="0" destOrd="0" presId="urn:microsoft.com/office/officeart/2018/2/layout/IconVerticalSolidList"/>
    <dgm:cxn modelId="{80E9A655-989D-4721-B3A1-7BFD8C45D489}" type="presOf" srcId="{9BFC2E75-0941-439B-BE30-116E44CFADB9}" destId="{6AA80412-3CB0-4D84-9ED6-143198AC8DF4}" srcOrd="0" destOrd="0" presId="urn:microsoft.com/office/officeart/2018/2/layout/IconVerticalSolidList"/>
    <dgm:cxn modelId="{937C6284-2C96-4D00-8AE9-EB4EF825BF91}" type="presOf" srcId="{E76FE240-B725-492B-88E9-3FB79BCF81C2}" destId="{94A22D52-1422-4810-95C7-4B6D37EE68CC}" srcOrd="0" destOrd="0" presId="urn:microsoft.com/office/officeart/2018/2/layout/IconVerticalSolidList"/>
    <dgm:cxn modelId="{2DB559D4-89BE-4156-825A-89940B698824}" srcId="{9BFC2E75-0941-439B-BE30-116E44CFADB9}" destId="{ABDAB6AA-0DA8-4BBF-A20A-6CBF7DC85793}" srcOrd="2" destOrd="0" parTransId="{5E22EA09-917C-48C7-92D9-274B361B52C2}" sibTransId="{FBC5C146-F892-4437-A9ED-F01570AD335F}"/>
    <dgm:cxn modelId="{4AE245D6-FF7A-4F28-84C5-A2E09012F0A3}" srcId="{9BFC2E75-0941-439B-BE30-116E44CFADB9}" destId="{E76FE240-B725-492B-88E9-3FB79BCF81C2}" srcOrd="1" destOrd="0" parTransId="{70C17A23-C405-4919-97C8-099EE0FDD0E8}" sibTransId="{4606D300-1D9D-4021-9182-AA1DDFD6E8B3}"/>
    <dgm:cxn modelId="{DFA540A7-D781-43F8-9006-7CBBF74B2EA2}" type="presParOf" srcId="{6AA80412-3CB0-4D84-9ED6-143198AC8DF4}" destId="{38D9F85D-8AF5-483E-B2DD-61225E23848A}" srcOrd="0" destOrd="0" presId="urn:microsoft.com/office/officeart/2018/2/layout/IconVerticalSolidList"/>
    <dgm:cxn modelId="{E95B56B6-E6EA-4E91-A6A8-A20246B5C465}" type="presParOf" srcId="{38D9F85D-8AF5-483E-B2DD-61225E23848A}" destId="{8AD15BD8-52DA-44F0-85CC-0090925981C1}" srcOrd="0" destOrd="0" presId="urn:microsoft.com/office/officeart/2018/2/layout/IconVerticalSolidList"/>
    <dgm:cxn modelId="{8DBC2B30-D7FD-45D3-B7D4-14F9B09D52AC}" type="presParOf" srcId="{38D9F85D-8AF5-483E-B2DD-61225E23848A}" destId="{AC72BC02-3BC1-4C64-A199-37355889983D}" srcOrd="1" destOrd="0" presId="urn:microsoft.com/office/officeart/2018/2/layout/IconVerticalSolidList"/>
    <dgm:cxn modelId="{A61B3C9E-D360-4F49-92B7-30072ECF39B1}" type="presParOf" srcId="{38D9F85D-8AF5-483E-B2DD-61225E23848A}" destId="{CCD46EB6-3157-4AB3-AA20-256D57A9FC0F}" srcOrd="2" destOrd="0" presId="urn:microsoft.com/office/officeart/2018/2/layout/IconVerticalSolidList"/>
    <dgm:cxn modelId="{3DFC40FD-90EF-4278-B155-EFB75AB84D43}" type="presParOf" srcId="{38D9F85D-8AF5-483E-B2DD-61225E23848A}" destId="{DAC235F8-A4F6-4BC3-BBB6-F5A1CFA2EECD}" srcOrd="3" destOrd="0" presId="urn:microsoft.com/office/officeart/2018/2/layout/IconVerticalSolidList"/>
    <dgm:cxn modelId="{C3E7FEBE-37FC-4624-85DE-E707051DAD95}" type="presParOf" srcId="{6AA80412-3CB0-4D84-9ED6-143198AC8DF4}" destId="{2C7AE1E3-FD8B-4E92-B8D8-7B93A5058F01}" srcOrd="1" destOrd="0" presId="urn:microsoft.com/office/officeart/2018/2/layout/IconVerticalSolidList"/>
    <dgm:cxn modelId="{99B556AA-168C-47C6-863F-6E36ED406921}" type="presParOf" srcId="{6AA80412-3CB0-4D84-9ED6-143198AC8DF4}" destId="{8D650710-6339-457D-A1AE-70B65A3C37CE}" srcOrd="2" destOrd="0" presId="urn:microsoft.com/office/officeart/2018/2/layout/IconVerticalSolidList"/>
    <dgm:cxn modelId="{DB3C35AB-6352-4B2F-BAA6-E797189E7F59}" type="presParOf" srcId="{8D650710-6339-457D-A1AE-70B65A3C37CE}" destId="{5505977C-3008-4025-AD2D-6C0B3B0C80B6}" srcOrd="0" destOrd="0" presId="urn:microsoft.com/office/officeart/2018/2/layout/IconVerticalSolidList"/>
    <dgm:cxn modelId="{8A358F10-F775-46D3-98DA-422B4CA677CE}" type="presParOf" srcId="{8D650710-6339-457D-A1AE-70B65A3C37CE}" destId="{3FBC50E5-370F-4115-BC57-A32CBFB52942}" srcOrd="1" destOrd="0" presId="urn:microsoft.com/office/officeart/2018/2/layout/IconVerticalSolidList"/>
    <dgm:cxn modelId="{4310846C-E50F-4309-BC75-E1271701CAFC}" type="presParOf" srcId="{8D650710-6339-457D-A1AE-70B65A3C37CE}" destId="{4CCFFC8C-73FA-4982-B1CF-17E4516EAFB6}" srcOrd="2" destOrd="0" presId="urn:microsoft.com/office/officeart/2018/2/layout/IconVerticalSolidList"/>
    <dgm:cxn modelId="{FC1E8298-1BA2-43CC-BD88-6C0E806C3228}" type="presParOf" srcId="{8D650710-6339-457D-A1AE-70B65A3C37CE}" destId="{94A22D52-1422-4810-95C7-4B6D37EE68CC}" srcOrd="3" destOrd="0" presId="urn:microsoft.com/office/officeart/2018/2/layout/IconVerticalSolidList"/>
    <dgm:cxn modelId="{8BE29717-A86E-4A4A-9C64-10128C9B7B60}" type="presParOf" srcId="{6AA80412-3CB0-4D84-9ED6-143198AC8DF4}" destId="{8D41275A-935A-4368-88CB-E8334758347B}" srcOrd="3" destOrd="0" presId="urn:microsoft.com/office/officeart/2018/2/layout/IconVerticalSolidList"/>
    <dgm:cxn modelId="{AB09FD3C-A133-4434-A5A2-5D1797DAE974}" type="presParOf" srcId="{6AA80412-3CB0-4D84-9ED6-143198AC8DF4}" destId="{3B07271A-0AD3-4E25-9A14-4ACC2F6C0325}" srcOrd="4" destOrd="0" presId="urn:microsoft.com/office/officeart/2018/2/layout/IconVerticalSolidList"/>
    <dgm:cxn modelId="{1E1EEDAB-5338-4706-BD0B-C72FA0F1AB54}" type="presParOf" srcId="{3B07271A-0AD3-4E25-9A14-4ACC2F6C0325}" destId="{4AEE2CA1-5D24-4447-AE3E-D06E76FB7EB7}" srcOrd="0" destOrd="0" presId="urn:microsoft.com/office/officeart/2018/2/layout/IconVerticalSolidList"/>
    <dgm:cxn modelId="{65410FDE-418B-4C74-8DEA-769EAD2008BD}" type="presParOf" srcId="{3B07271A-0AD3-4E25-9A14-4ACC2F6C0325}" destId="{6208B8CD-7B9F-477D-ACC5-68248A21AC63}" srcOrd="1" destOrd="0" presId="urn:microsoft.com/office/officeart/2018/2/layout/IconVerticalSolidList"/>
    <dgm:cxn modelId="{998F81A1-987B-4CAF-AD67-3DE2A48E675E}" type="presParOf" srcId="{3B07271A-0AD3-4E25-9A14-4ACC2F6C0325}" destId="{4BA26CAB-6701-427C-B5EC-F9BB8D209B87}" srcOrd="2" destOrd="0" presId="urn:microsoft.com/office/officeart/2018/2/layout/IconVerticalSolidList"/>
    <dgm:cxn modelId="{EB198348-C986-442D-B773-ED38C7AF63E0}" type="presParOf" srcId="{3B07271A-0AD3-4E25-9A14-4ACC2F6C0325}" destId="{DDAEE87C-96E2-442C-8E35-0E5FB242660F}"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D15BD8-52DA-44F0-85CC-0090925981C1}">
      <dsp:nvSpPr>
        <dsp:cNvPr id="0" name=""/>
        <dsp:cNvSpPr/>
      </dsp:nvSpPr>
      <dsp:spPr>
        <a:xfrm>
          <a:off x="0" y="53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72BC02-3BC1-4C64-A199-37355889983D}">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C235F8-A4F6-4BC3-BBB6-F5A1CFA2EECD}">
      <dsp:nvSpPr>
        <dsp:cNvPr id="0" name=""/>
        <dsp:cNvSpPr/>
      </dsp:nvSpPr>
      <dsp:spPr>
        <a:xfrm>
          <a:off x="1435590" y="53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nl-NL" sz="2500" kern="1200"/>
            <a:t>2 voorbeelden van goede ideeen bezien vanuit de zorgprofessional</a:t>
          </a:r>
          <a:endParaRPr lang="en-US" sz="2500" kern="1200"/>
        </a:p>
      </dsp:txBody>
      <dsp:txXfrm>
        <a:off x="1435590" y="531"/>
        <a:ext cx="9080009" cy="1242935"/>
      </dsp:txXfrm>
    </dsp:sp>
    <dsp:sp modelId="{5505977C-3008-4025-AD2D-6C0B3B0C80B6}">
      <dsp:nvSpPr>
        <dsp:cNvPr id="0" name=""/>
        <dsp:cNvSpPr/>
      </dsp:nvSpPr>
      <dsp:spPr>
        <a:xfrm>
          <a:off x="0" y="155420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FBC50E5-370F-4115-BC57-A32CBFB52942}">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A22D52-1422-4810-95C7-4B6D37EE68CC}">
      <dsp:nvSpPr>
        <dsp:cNvPr id="0" name=""/>
        <dsp:cNvSpPr/>
      </dsp:nvSpPr>
      <dsp:spPr>
        <a:xfrm>
          <a:off x="1435590" y="155420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nl-NL" sz="2500" kern="1200"/>
            <a:t>Financiering bezien vanuit de NZA en verzekeraar</a:t>
          </a:r>
          <a:endParaRPr lang="en-US" sz="2500" kern="1200"/>
        </a:p>
      </dsp:txBody>
      <dsp:txXfrm>
        <a:off x="1435590" y="1554201"/>
        <a:ext cx="9080009" cy="1242935"/>
      </dsp:txXfrm>
    </dsp:sp>
    <dsp:sp modelId="{4AEE2CA1-5D24-4447-AE3E-D06E76FB7EB7}">
      <dsp:nvSpPr>
        <dsp:cNvPr id="0" name=""/>
        <dsp:cNvSpPr/>
      </dsp:nvSpPr>
      <dsp:spPr>
        <a:xfrm>
          <a:off x="0" y="3107870"/>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08B8CD-7B9F-477D-ACC5-68248A21AC63}">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AEE87C-96E2-442C-8E35-0E5FB242660F}">
      <dsp:nvSpPr>
        <dsp:cNvPr id="0" name=""/>
        <dsp:cNvSpPr/>
      </dsp:nvSpPr>
      <dsp:spPr>
        <a:xfrm>
          <a:off x="1435590" y="3107870"/>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nl-NL" sz="2500" kern="1200"/>
            <a:t>Interactie</a:t>
          </a:r>
          <a:endParaRPr lang="en-US" sz="2500" kern="1200"/>
        </a:p>
      </dsp:txBody>
      <dsp:txXfrm>
        <a:off x="1435590" y="3107870"/>
        <a:ext cx="9080009" cy="124293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680D6A2-708E-4C35-B30B-9AEA37BB04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nl-NL"/>
          </a:p>
        </p:txBody>
      </p:sp>
      <p:sp>
        <p:nvSpPr>
          <p:cNvPr id="3" name="Tijdelijke aanduiding voor datum 2">
            <a:extLst>
              <a:ext uri="{FF2B5EF4-FFF2-40B4-BE49-F238E27FC236}">
                <a16:creationId xmlns:a16="http://schemas.microsoft.com/office/drawing/2014/main" id="{60D7C4DE-1390-4791-8799-2E12922054F1}"/>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1967E3B3-1182-4F7F-8CB7-A1195FD1E121}" type="datetimeFigureOut">
              <a:rPr lang="nl-NL"/>
              <a:pPr>
                <a:defRPr/>
              </a:pPr>
              <a:t>28-9-2022</a:t>
            </a:fld>
            <a:endParaRPr lang="nl-NL"/>
          </a:p>
        </p:txBody>
      </p:sp>
      <p:sp>
        <p:nvSpPr>
          <p:cNvPr id="4" name="Tijdelijke aanduiding voor dia-afbeelding 3">
            <a:extLst>
              <a:ext uri="{FF2B5EF4-FFF2-40B4-BE49-F238E27FC236}">
                <a16:creationId xmlns:a16="http://schemas.microsoft.com/office/drawing/2014/main" id="{2E414516-6AFE-49C1-B24D-EE2F1826AB5E}"/>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Tijdelijke aanduiding voor notities 4">
            <a:extLst>
              <a:ext uri="{FF2B5EF4-FFF2-40B4-BE49-F238E27FC236}">
                <a16:creationId xmlns:a16="http://schemas.microsoft.com/office/drawing/2014/main" id="{9937FE8A-2DD1-4C35-8E75-2FD786562C25}"/>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noProof="0"/>
              <a:t>Klikken om de tekststijl van het model te bewerken</a:t>
            </a:r>
          </a:p>
          <a:p>
            <a:pPr lvl="1"/>
            <a:r>
              <a:rPr lang="nl-NL" noProof="0"/>
              <a:t>Tweede niveau</a:t>
            </a:r>
          </a:p>
          <a:p>
            <a:pPr lvl="2"/>
            <a:r>
              <a:rPr lang="nl-NL" noProof="0"/>
              <a:t>Derde niveau</a:t>
            </a:r>
          </a:p>
          <a:p>
            <a:pPr lvl="3"/>
            <a:r>
              <a:rPr lang="nl-NL" noProof="0"/>
              <a:t>Vierde niveau</a:t>
            </a:r>
          </a:p>
          <a:p>
            <a:pPr lvl="4"/>
            <a:r>
              <a:rPr lang="nl-NL" noProof="0"/>
              <a:t>Vijfde niveau</a:t>
            </a:r>
          </a:p>
        </p:txBody>
      </p:sp>
      <p:sp>
        <p:nvSpPr>
          <p:cNvPr id="6" name="Tijdelijke aanduiding voor voettekst 5">
            <a:extLst>
              <a:ext uri="{FF2B5EF4-FFF2-40B4-BE49-F238E27FC236}">
                <a16:creationId xmlns:a16="http://schemas.microsoft.com/office/drawing/2014/main" id="{745E820A-1776-42C1-9300-25522266FBA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nl-NL"/>
          </a:p>
        </p:txBody>
      </p:sp>
      <p:sp>
        <p:nvSpPr>
          <p:cNvPr id="7" name="Tijdelijke aanduiding voor dianummer 6">
            <a:extLst>
              <a:ext uri="{FF2B5EF4-FFF2-40B4-BE49-F238E27FC236}">
                <a16:creationId xmlns:a16="http://schemas.microsoft.com/office/drawing/2014/main" id="{A57EC951-62F9-4199-9A9A-A1AE286ADC9C}"/>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699B77B1-E6A9-42B7-B425-AAD5C4F1C24C}" type="slidenum">
              <a:rPr lang="nl-NL"/>
              <a:pPr>
                <a:defRPr/>
              </a:pPr>
              <a:t>‹nr.›</a:t>
            </a:fld>
            <a:endParaRPr lang="nl-NL"/>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lkom door Maarten</a:t>
            </a:r>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1</a:t>
            </a:fld>
            <a:endParaRPr lang="nl-NL"/>
          </a:p>
        </p:txBody>
      </p:sp>
    </p:spTree>
    <p:extLst>
      <p:ext uri="{BB962C8B-B14F-4D97-AF65-F5344CB8AC3E}">
        <p14:creationId xmlns:p14="http://schemas.microsoft.com/office/powerpoint/2010/main" val="37231273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88A791-D8E8-4C23-A528-EAEB42DC40E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6180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kern="1200" dirty="0">
                <a:solidFill>
                  <a:schemeClr val="tx1"/>
                </a:solidFill>
                <a:effectLst/>
                <a:latin typeface="+mn-lt"/>
                <a:ea typeface="+mn-ea"/>
                <a:cs typeface="+mn-cs"/>
              </a:rPr>
              <a:t> </a:t>
            </a:r>
            <a:r>
              <a:rPr lang="nl-NL" sz="1200" b="1" i="1" kern="1200" dirty="0">
                <a:solidFill>
                  <a:schemeClr val="tx1"/>
                </a:solidFill>
                <a:effectLst/>
                <a:latin typeface="+mn-lt"/>
                <a:ea typeface="+mn-ea"/>
                <a:cs typeface="+mn-cs"/>
              </a:rPr>
              <a:t>Onze visie is ‘Gezondheid dichterbij voor iedereen’. Vanuit een brede kijk op gezondheid stimuleren en helpen we verzekerden om gezonder te leven en te werken. Als verzekerden zorg nodig hebben, dan zorgen we ervoor dat ze die zoveel mogelijk in hun vertrouwde omgeving ontvangen. Digitalisering kan daarbij ondersteunen. Met onze manier van werken willen we </a:t>
            </a:r>
            <a:r>
              <a:rPr lang="nl-NL" sz="1200" b="1" i="1" kern="1200">
                <a:solidFill>
                  <a:schemeClr val="tx1"/>
                </a:solidFill>
                <a:effectLst/>
                <a:latin typeface="+mn-lt"/>
                <a:ea typeface="+mn-ea"/>
                <a:cs typeface="+mn-cs"/>
              </a:rPr>
              <a:t>een optimale </a:t>
            </a:r>
            <a:r>
              <a:rPr lang="nl-NL" sz="1200" b="1" i="1" kern="1200" dirty="0">
                <a:solidFill>
                  <a:schemeClr val="tx1"/>
                </a:solidFill>
                <a:effectLst/>
                <a:latin typeface="+mn-lt"/>
                <a:ea typeface="+mn-ea"/>
                <a:cs typeface="+mn-cs"/>
              </a:rPr>
              <a:t>klantbeleving realiseren voor 5 miljoen klanten tegen een concurrerende </a:t>
            </a:r>
            <a:r>
              <a:rPr lang="nl-NL" sz="1200" b="1" i="1" kern="1200">
                <a:solidFill>
                  <a:schemeClr val="tx1"/>
                </a:solidFill>
                <a:effectLst/>
                <a:latin typeface="+mn-lt"/>
                <a:ea typeface="+mn-ea"/>
                <a:cs typeface="+mn-cs"/>
              </a:rPr>
              <a:t>premie.</a:t>
            </a:r>
            <a:endParaRPr lang="nl-NL" sz="1200"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88A791-D8E8-4C23-A528-EAEB42DC40E7}"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910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44543A-D19D-49EA-BC3B-075743F69E5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701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88A791-D8E8-4C23-A528-EAEB42DC40E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0818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FFFD2D-E339-48D0-8E51-8C7BC4E3C46A}" type="slidenum">
              <a:rPr kumimoji="0" lang="nl-NL" sz="1200" b="0" i="0" u="none" strike="noStrike" kern="1200" cap="none" spc="0" normalizeH="0" baseline="0" noProof="0" smtClean="0">
                <a:ln>
                  <a:noFill/>
                </a:ln>
                <a:solidFill>
                  <a:srgbClr val="000000"/>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l-NL" sz="1200" b="0" i="0" u="none" strike="noStrike" kern="1200" cap="none" spc="0" normalizeH="0" baseline="0" noProof="0">
              <a:ln>
                <a:noFill/>
              </a:ln>
              <a:solidFill>
                <a:srgbClr val="000000"/>
              </a:solidFill>
              <a:effectLst/>
              <a:uLnTx/>
              <a:uFillTx/>
              <a:latin typeface="Arial" panose="020F0502020204030204"/>
              <a:ea typeface="+mn-ea"/>
              <a:cs typeface="+mn-cs"/>
            </a:endParaRPr>
          </a:p>
        </p:txBody>
      </p:sp>
    </p:spTree>
    <p:extLst>
      <p:ext uri="{BB962C8B-B14F-4D97-AF65-F5344CB8AC3E}">
        <p14:creationId xmlns:p14="http://schemas.microsoft.com/office/powerpoint/2010/main" val="3394846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ltLang="nl-NL" sz="1200" b="0" baseline="0" dirty="0">
                <a:latin typeface="Arial" charset="0"/>
              </a:rPr>
              <a:t>De NZa valt onder de verantwoordelijkheid van de minister van Volksgezondheid, Welzijn en Sport. De NZa is een zelfstandig bestuursorgaan en staat daarmee op enige afstand van het ministerie. We hebben taken en bevoegdheden uit de Wet marktordening gezondheidszorg, de Zorgverzekeringswet en de Wet langdurige zorg. Hierin ligt de wettelijke basis van onze onafhankelijkheid en die koesteren we. We werken daarin nauw samen met de Inspectie Gezondheidszorg en Jeugd en het Zorginstituut Nederl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ltLang="nl-NL" sz="1200" b="0" baseline="0" dirty="0">
              <a:latin typeface="Arial" charset="0"/>
            </a:endParaRP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FFFD2D-E339-48D0-8E51-8C7BC4E3C46A}" type="slidenum">
              <a:rPr kumimoji="0" lang="nl-NL" sz="1200" b="0" i="0" u="none" strike="noStrike" kern="1200" cap="none" spc="0" normalizeH="0" baseline="0" noProof="0" smtClean="0">
                <a:ln>
                  <a:noFill/>
                </a:ln>
                <a:solidFill>
                  <a:srgbClr val="000000"/>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NL" sz="1200" b="0" i="0" u="none" strike="noStrike" kern="1200" cap="none" spc="0" normalizeH="0" baseline="0" noProof="0">
              <a:ln>
                <a:noFill/>
              </a:ln>
              <a:solidFill>
                <a:srgbClr val="000000"/>
              </a:solidFill>
              <a:effectLst/>
              <a:uLnTx/>
              <a:uFillTx/>
              <a:latin typeface="Arial" panose="020F0502020204030204"/>
              <a:ea typeface="+mn-ea"/>
              <a:cs typeface="+mn-cs"/>
            </a:endParaRPr>
          </a:p>
        </p:txBody>
      </p:sp>
    </p:spTree>
    <p:extLst>
      <p:ext uri="{BB962C8B-B14F-4D97-AF65-F5344CB8AC3E}">
        <p14:creationId xmlns:p14="http://schemas.microsoft.com/office/powerpoint/2010/main" val="114204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nl-NL" sz="2400" kern="1200" dirty="0">
                <a:solidFill>
                  <a:schemeClr val="tx1"/>
                </a:solidFill>
                <a:effectLst/>
                <a:latin typeface="+mn-lt"/>
                <a:ea typeface="+mn-ea"/>
                <a:cs typeface="+mn-cs"/>
              </a:rPr>
              <a:t>TOELICHTING</a:t>
            </a:r>
          </a:p>
          <a:p>
            <a:r>
              <a:rPr lang="nl-NL" sz="1200" dirty="0" err="1">
                <a:solidFill>
                  <a:srgbClr val="000000"/>
                </a:solidFill>
                <a:latin typeface="Arial" panose="020B0604020202020204" pitchFamily="34" charset="0"/>
                <a:ea typeface="Verdana" panose="020B0604030504040204" pitchFamily="34" charset="0"/>
                <a:cs typeface="Arial" panose="020B0604020202020204" pitchFamily="34" charset="0"/>
              </a:rPr>
              <a:t>NZa</a:t>
            </a:r>
            <a:r>
              <a:rPr lang="nl-NL" sz="1200" dirty="0">
                <a:solidFill>
                  <a:srgbClr val="000000"/>
                </a:solidFill>
                <a:latin typeface="Arial" panose="020B0604020202020204" pitchFamily="34" charset="0"/>
                <a:ea typeface="Verdana" panose="020B0604030504040204" pitchFamily="34" charset="0"/>
                <a:cs typeface="Arial" panose="020B0604020202020204" pitchFamily="34" charset="0"/>
              </a:rPr>
              <a:t> – Onze strategie</a:t>
            </a:r>
          </a:p>
          <a:p>
            <a:r>
              <a:rPr lang="nl-NL" sz="1200" dirty="0">
                <a:solidFill>
                  <a:srgbClr val="000000"/>
                </a:solidFill>
                <a:latin typeface="Arial" panose="020B0604020202020204" pitchFamily="34" charset="0"/>
                <a:ea typeface="Verdana" panose="020B0604030504040204" pitchFamily="34" charset="0"/>
                <a:cs typeface="Arial" panose="020B0604020202020204" pitchFamily="34" charset="0"/>
              </a:rPr>
              <a:t>We geven voor het eerst in Nederland meer dan € 100 miljard euro uit aan zorg. We kunnen niet nóg meer vragen van burgers en verzekerden. Het verzekerde pakket staat onder druk en het leveren van zorg is steeds moeilijker vanwege het tekort aan zorgprofessionals en mantelzorgers. De solidariteit, de basis van ons zorgstelsel, komt in het gedrang. We zullen onze verwachtingen moeten bijstellen. Niet alles wat kan, is ook nodig. In onze strategische agenda zetten we daarom in op netwerken dichtbij en rondom de patiënt en alleen doen wat aantoonbaar bijdraagt.</a:t>
            </a:r>
          </a:p>
          <a:p>
            <a:endParaRPr lang="nl-NL" sz="1200" dirty="0">
              <a:solidFill>
                <a:srgbClr val="000000"/>
              </a:solidFill>
              <a:latin typeface="Arial" panose="020B0604020202020204" pitchFamily="34" charset="0"/>
              <a:ea typeface="Verdana" panose="020B0604030504040204" pitchFamily="34" charset="0"/>
              <a:cs typeface="Arial" panose="020B0604020202020204" pitchFamily="34" charset="0"/>
            </a:endParaRPr>
          </a:p>
          <a:p>
            <a:r>
              <a:rPr lang="nl-NL" sz="1200" dirty="0">
                <a:solidFill>
                  <a:srgbClr val="000000"/>
                </a:solidFill>
                <a:latin typeface="Arial" panose="020B0604020202020204" pitchFamily="34" charset="0"/>
                <a:ea typeface="Verdana" panose="020B0604030504040204" pitchFamily="34" charset="0"/>
                <a:cs typeface="Arial" panose="020B0604020202020204" pitchFamily="34" charset="0"/>
              </a:rPr>
              <a:t>In ons toezicht stimuleren we zorgverzekeraars, zorgkantoren, zorgaanbieders en het CAK om hun verantwoordelijkheid te nemen. We houden zorgverzekeraars en zorgkantoren aan hun zorgplicht om toegankelijkheid tot passende zorg te borgen, nu en in de toekomst. We verstevigen ons toezicht op goed bestuur en professionele bedrijfsvoering. Om deze ambities waar te maken, zijn data-analyses en een betere en actuele uitwisseling van informatie steeds belangrijker. We kijken vooruit en agenderen maatschappelijke ontwikkelingen.</a:t>
            </a:r>
            <a:endParaRPr lang="nl-NL" sz="1200" dirty="0">
              <a:latin typeface="Arial" panose="020B0604020202020204" pitchFamily="34" charset="0"/>
              <a:ea typeface="Verdana" panose="020B0604030504040204" pitchFamily="34" charset="0"/>
              <a:cs typeface="Arial" panose="020B0604020202020204" pitchFamily="34" charset="0"/>
            </a:endParaRP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FFFD2D-E339-48D0-8E51-8C7BC4E3C46A}" type="slidenum">
              <a:rPr kumimoji="0" lang="nl-NL" sz="1200" b="0" i="0" u="none" strike="noStrike" kern="1200" cap="none" spc="0" normalizeH="0" baseline="0" noProof="0" smtClean="0">
                <a:ln>
                  <a:noFill/>
                </a:ln>
                <a:solidFill>
                  <a:srgbClr val="000000"/>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srgbClr val="000000"/>
              </a:solidFill>
              <a:effectLst/>
              <a:uLnTx/>
              <a:uFillTx/>
              <a:latin typeface="Arial" panose="020F0502020204030204"/>
              <a:ea typeface="+mn-ea"/>
              <a:cs typeface="+mn-cs"/>
            </a:endParaRPr>
          </a:p>
        </p:txBody>
      </p:sp>
    </p:spTree>
    <p:extLst>
      <p:ext uri="{BB962C8B-B14F-4D97-AF65-F5344CB8AC3E}">
        <p14:creationId xmlns:p14="http://schemas.microsoft.com/office/powerpoint/2010/main" val="2768265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FFFD2D-E339-48D0-8E51-8C7BC4E3C46A}" type="slidenum">
              <a:rPr kumimoji="0" lang="nl-NL" sz="1200" b="0" i="0" u="none" strike="noStrike" kern="1200" cap="none" spc="0" normalizeH="0" baseline="0" noProof="0" smtClean="0">
                <a:ln>
                  <a:noFill/>
                </a:ln>
                <a:solidFill>
                  <a:srgbClr val="000000"/>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srgbClr val="000000"/>
              </a:solidFill>
              <a:effectLst/>
              <a:uLnTx/>
              <a:uFillTx/>
              <a:latin typeface="Arial" panose="020F0502020204030204"/>
              <a:ea typeface="+mn-ea"/>
              <a:cs typeface="+mn-cs"/>
            </a:endParaRPr>
          </a:p>
        </p:txBody>
      </p:sp>
    </p:spTree>
    <p:extLst>
      <p:ext uri="{BB962C8B-B14F-4D97-AF65-F5344CB8AC3E}">
        <p14:creationId xmlns:p14="http://schemas.microsoft.com/office/powerpoint/2010/main" val="11348908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41</a:t>
            </a:fld>
            <a:endParaRPr lang="nl-NL"/>
          </a:p>
        </p:txBody>
      </p:sp>
    </p:spTree>
    <p:extLst>
      <p:ext uri="{BB962C8B-B14F-4D97-AF65-F5344CB8AC3E}">
        <p14:creationId xmlns:p14="http://schemas.microsoft.com/office/powerpoint/2010/main" val="57647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45</a:t>
            </a:fld>
            <a:endParaRPr lang="nl-NL"/>
          </a:p>
        </p:txBody>
      </p:sp>
    </p:spTree>
    <p:extLst>
      <p:ext uri="{BB962C8B-B14F-4D97-AF65-F5344CB8AC3E}">
        <p14:creationId xmlns:p14="http://schemas.microsoft.com/office/powerpoint/2010/main" val="3679402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pzet: door Maarten</a:t>
            </a:r>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2</a:t>
            </a:fld>
            <a:endParaRPr lang="nl-NL"/>
          </a:p>
        </p:txBody>
      </p:sp>
    </p:spTree>
    <p:extLst>
      <p:ext uri="{BB962C8B-B14F-4D97-AF65-F5344CB8AC3E}">
        <p14:creationId xmlns:p14="http://schemas.microsoft.com/office/powerpoint/2010/main" val="250034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Maarten: </a:t>
            </a:r>
          </a:p>
          <a:p>
            <a:r>
              <a:rPr lang="nl-NL" dirty="0"/>
              <a:t>Waarom zit je hier? Wat wil jij leren?</a:t>
            </a:r>
          </a:p>
          <a:p>
            <a:endParaRPr lang="nl-NL" dirty="0"/>
          </a:p>
          <a:p>
            <a:r>
              <a:rPr lang="nl-NL" dirty="0"/>
              <a:t>Misschien heb je zelf een idee  voor goede zorg maar worstel je met de financiering: </a:t>
            </a:r>
          </a:p>
          <a:p>
            <a:endParaRPr lang="nl-NL" dirty="0"/>
          </a:p>
          <a:p>
            <a:r>
              <a:rPr lang="nl-NL" dirty="0"/>
              <a:t>Vragen die je wellicht hebt zijn: </a:t>
            </a:r>
          </a:p>
          <a:p>
            <a:endParaRPr lang="nl-NL" dirty="0"/>
          </a:p>
          <a:p>
            <a:r>
              <a:rPr lang="nl-NL" sz="1800" dirty="0">
                <a:effectLst/>
                <a:latin typeface="Verdana" panose="020B0604030504040204" pitchFamily="34" charset="0"/>
                <a:ea typeface="Calibri" panose="020F0502020204030204" pitchFamily="34" charset="0"/>
              </a:rPr>
              <a:t>In hoeverre weet ik überhaupt wat de mogelijkheden zijn voor bekostiging/financiering</a:t>
            </a:r>
            <a:endParaRPr lang="nl-NL" sz="1800" dirty="0">
              <a:effectLst/>
              <a:latin typeface="Calibri" panose="020F0502020204030204" pitchFamily="34" charset="0"/>
              <a:ea typeface="Calibri" panose="020F0502020204030204" pitchFamily="34" charset="0"/>
            </a:endParaRPr>
          </a:p>
          <a:p>
            <a:r>
              <a:rPr lang="nl-NL" sz="1800" dirty="0">
                <a:effectLst/>
                <a:latin typeface="Verdana" panose="020B0604030504040204" pitchFamily="34" charset="0"/>
                <a:ea typeface="Calibri" panose="020F0502020204030204" pitchFamily="34" charset="0"/>
              </a:rPr>
              <a:t>Heb ik voldoende informatie en kennis om met mijn initiatief verder te gaan? </a:t>
            </a:r>
            <a:endParaRPr lang="nl-NL" sz="1800" dirty="0">
              <a:effectLst/>
              <a:latin typeface="Calibri" panose="020F0502020204030204" pitchFamily="34" charset="0"/>
              <a:ea typeface="Calibri" panose="020F0502020204030204" pitchFamily="34" charset="0"/>
            </a:endParaRPr>
          </a:p>
          <a:p>
            <a:r>
              <a:rPr lang="nl-NL" sz="1800" dirty="0">
                <a:effectLst/>
                <a:latin typeface="Verdana" panose="020B0604030504040204" pitchFamily="34" charset="0"/>
                <a:ea typeface="Calibri" panose="020F0502020204030204" pitchFamily="34" charset="0"/>
              </a:rPr>
              <a:t>Wie moet ik betrekken en wat zijn de vervolgstappen om mijn zorgidee te financieren</a:t>
            </a:r>
            <a:endParaRPr lang="nl-NL" sz="1800" dirty="0">
              <a:effectLst/>
              <a:latin typeface="Calibri" panose="020F0502020204030204" pitchFamily="34" charset="0"/>
              <a:ea typeface="Calibri" panose="020F0502020204030204" pitchFamily="34" charset="0"/>
            </a:endParaRPr>
          </a:p>
          <a:p>
            <a:endParaRPr lang="nl-NL" dirty="0"/>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3</a:t>
            </a:fld>
            <a:endParaRPr lang="nl-NL"/>
          </a:p>
        </p:txBody>
      </p:sp>
    </p:spTree>
    <p:extLst>
      <p:ext uri="{BB962C8B-B14F-4D97-AF65-F5344CB8AC3E}">
        <p14:creationId xmlns:p14="http://schemas.microsoft.com/office/powerpoint/2010/main" val="35472768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Tree>
    <p:extLst>
      <p:ext uri="{BB962C8B-B14F-4D97-AF65-F5344CB8AC3E}">
        <p14:creationId xmlns:p14="http://schemas.microsoft.com/office/powerpoint/2010/main" val="2125481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BCAA79-B3C6-40E1-9CAA-3B7613F1BAD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205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BCAA79-B3C6-40E1-9CAA-3B7613F1BAD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390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nl-NL" sz="1800" dirty="0">
                <a:effectLst/>
                <a:latin typeface="Calibri" panose="020F0502020204030204" pitchFamily="34" charset="0"/>
                <a:ea typeface="Times New Roman" panose="02020603050405020304" pitchFamily="18" charset="0"/>
              </a:rPr>
              <a:t>Wat ik ga vertellen is dat om tot een oplossing te komen je data met elkaar moet delen. Dat gaat makkelijker in het kader van onderzoek dan in het kader van zorginnovatie. Iedere </a:t>
            </a:r>
            <a:r>
              <a:rPr lang="nl-NL" sz="1800" dirty="0" err="1">
                <a:effectLst/>
                <a:latin typeface="Calibri" panose="020F0502020204030204" pitchFamily="34" charset="0"/>
                <a:ea typeface="Times New Roman" panose="02020603050405020304" pitchFamily="18" charset="0"/>
              </a:rPr>
              <a:t>pt</a:t>
            </a:r>
            <a:r>
              <a:rPr lang="nl-NL" sz="1800" dirty="0">
                <a:effectLst/>
                <a:latin typeface="Calibri" panose="020F0502020204030204" pitchFamily="34" charset="0"/>
                <a:ea typeface="Times New Roman" panose="02020603050405020304" pitchFamily="18" charset="0"/>
              </a:rPr>
              <a:t> moet wel </a:t>
            </a:r>
            <a:r>
              <a:rPr lang="nl-NL" sz="1800" dirty="0" err="1">
                <a:effectLst/>
                <a:latin typeface="Calibri" panose="020F0502020204030204" pitchFamily="34" charset="0"/>
                <a:ea typeface="Times New Roman" panose="02020603050405020304" pitchFamily="18" charset="0"/>
              </a:rPr>
              <a:t>informed</a:t>
            </a:r>
            <a:r>
              <a:rPr lang="nl-NL" sz="1800" dirty="0">
                <a:effectLst/>
                <a:latin typeface="Calibri" panose="020F0502020204030204" pitchFamily="34" charset="0"/>
                <a:ea typeface="Times New Roman" panose="02020603050405020304" pitchFamily="18" charset="0"/>
              </a:rPr>
              <a:t> consent geven voor deze kostenanalyse. Tijd van verpleegkundigen moet gefinancierd worden maar zit niet in een DBC.  Dan blijkt dat je een betaaltitel nodig hebt en de NZA moet betrekken . En ondertussen wisselt de bezetting bij de betrokken zorgverzekeraar en moet je opnieuw aan alle betrokkenen uitleggen wat je aan het doen bent. Als clinicus moet je echt op dit proces gaan zitten omdat de betrokken partijen ( zorginkoop en verzekeraar) met elkaar in gesprek moeten over een onderwerp dat ze eigenlijk niet begrijpen nl wat houdt zorginnovatie op de werkvloer eigenlijk in. Maar als je volhoudt kun je dus wel komen tot meerjarenafspraken en zicht op langdurige en wijdverspreide implementatie. </a:t>
            </a:r>
            <a:endParaRPr lang="nl-NL" sz="1800" dirty="0">
              <a:effectLst/>
              <a:latin typeface="Calibri" panose="020F0502020204030204" pitchFamily="34" charset="0"/>
              <a:ea typeface="Calibri" panose="020F0502020204030204" pitchFamily="34" charset="0"/>
            </a:endParaRPr>
          </a:p>
          <a:p>
            <a:endParaRPr lang="nl-NL" dirty="0"/>
          </a:p>
        </p:txBody>
      </p:sp>
      <p:sp>
        <p:nvSpPr>
          <p:cNvPr id="4" name="Tijdelijke aanduiding voor dianummer 3"/>
          <p:cNvSpPr>
            <a:spLocks noGrp="1"/>
          </p:cNvSpPr>
          <p:nvPr>
            <p:ph type="sldNum" sz="quarter" idx="5"/>
          </p:nvPr>
        </p:nvSpPr>
        <p:spPr/>
        <p:txBody>
          <a:bodyPr/>
          <a:lstStyle/>
          <a:p>
            <a:pPr>
              <a:defRPr/>
            </a:pPr>
            <a:fld id="{699B77B1-E6A9-42B7-B425-AAD5C4F1C24C}" type="slidenum">
              <a:rPr lang="nl-NL" smtClean="0"/>
              <a:pPr>
                <a:defRPr/>
              </a:pPr>
              <a:t>14</a:t>
            </a:fld>
            <a:endParaRPr lang="nl-NL"/>
          </a:p>
        </p:txBody>
      </p:sp>
    </p:spTree>
    <p:extLst>
      <p:ext uri="{BB962C8B-B14F-4D97-AF65-F5344CB8AC3E}">
        <p14:creationId xmlns:p14="http://schemas.microsoft.com/office/powerpoint/2010/main" val="2037689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De gedachtelijn zoals geschetst in het standpunt ‘casemanagement’ NZA t.a.v. regievoering, organisatie en afstemming met andere zorgverleners sluit dan ook wel aan bij de werkwijze van de intensieve chronische zorgpoli. De specifieke patiëntengroep en de daarvoor aangewezen zorgverlener worden echter als zodanig niet/nauwelijks beschreven in het standpunt. Er is echter een groep die te complex is voor een huisarts, wel nog een (relatief) lange levensverwachting heeft, niet specifiek voldoet aan de </a:t>
            </a:r>
            <a:r>
              <a:rPr lang="nl-NL" dirty="0" err="1"/>
              <a:t>NZa</a:t>
            </a:r>
            <a:r>
              <a:rPr lang="nl-NL" dirty="0"/>
              <a:t>-ingangscriteria (altijd een </a:t>
            </a:r>
            <a:r>
              <a:rPr lang="nl-NL" dirty="0" err="1"/>
              <a:t>cognitive</a:t>
            </a:r>
            <a:r>
              <a:rPr lang="nl-NL" dirty="0"/>
              <a:t> </a:t>
            </a:r>
            <a:r>
              <a:rPr lang="nl-NL" dirty="0" err="1"/>
              <a:t>geriatric</a:t>
            </a:r>
            <a:r>
              <a:rPr lang="nl-NL" dirty="0"/>
              <a:t> assessment) om door een geriater gezien te worden en niet onder de reguliere consultvoering van een internist gezien kan worden, omdat die onvoldoende dekkend is qua beschrijving van de activiteiten die de internist of geriater onderneemt om deze groep te begeleiden.</a:t>
            </a:r>
          </a:p>
          <a:p>
            <a:endParaRPr lang="nl-NL" dirty="0"/>
          </a:p>
        </p:txBody>
      </p:sp>
      <p:sp>
        <p:nvSpPr>
          <p:cNvPr id="4" name="Tijdelijke aanduiding voor datum 3"/>
          <p:cNvSpPr>
            <a:spLocks noGrp="1"/>
          </p:cNvSpPr>
          <p:nvPr>
            <p:ph type="dt" idx="10"/>
          </p:nvPr>
        </p:nvSpPr>
        <p:spPr/>
        <p:txBody>
          <a:bodyPr/>
          <a:lstStyle/>
          <a:p>
            <a:fld id="{0D0E3440-1A1F-4E90-9337-9C71E90E074D}" type="datetime1">
              <a:rPr lang="nl-NL" smtClean="0"/>
              <a:t>28-9-2022</a:t>
            </a:fld>
            <a:endParaRPr lang="nl-NL"/>
          </a:p>
        </p:txBody>
      </p:sp>
      <p:sp>
        <p:nvSpPr>
          <p:cNvPr id="5" name="Tijdelijke aanduiding voor dianummer 4"/>
          <p:cNvSpPr>
            <a:spLocks noGrp="1"/>
          </p:cNvSpPr>
          <p:nvPr>
            <p:ph type="sldNum" sz="quarter" idx="11"/>
          </p:nvPr>
        </p:nvSpPr>
        <p:spPr/>
        <p:txBody>
          <a:bodyPr/>
          <a:lstStyle/>
          <a:p>
            <a:fld id="{EF643D9C-2898-654D-ACA5-0BC0FA5D1665}" type="slidenum">
              <a:rPr lang="nl-NL" smtClean="0"/>
              <a:t>26</a:t>
            </a:fld>
            <a:endParaRPr lang="nl-NL"/>
          </a:p>
        </p:txBody>
      </p:sp>
    </p:spTree>
    <p:extLst>
      <p:ext uri="{BB962C8B-B14F-4D97-AF65-F5344CB8AC3E}">
        <p14:creationId xmlns:p14="http://schemas.microsoft.com/office/powerpoint/2010/main" val="3005932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88A791-D8E8-4C23-A528-EAEB42DC40E7}"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88493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2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2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2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2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2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6.emf"/><Relationship Id="rId4" Type="http://schemas.openxmlformats.org/officeDocument/2006/relationships/oleObject" Target="../embeddings/oleObject2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36.emf"/><Relationship Id="rId4" Type="http://schemas.openxmlformats.org/officeDocument/2006/relationships/oleObject" Target="../embeddings/oleObject2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59.xml"/><Relationship Id="rId4" Type="http://schemas.openxmlformats.org/officeDocument/2006/relationships/image" Target="../media/image36.emf"/></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6.emf"/><Relationship Id="rId4" Type="http://schemas.openxmlformats.org/officeDocument/2006/relationships/oleObject" Target="../embeddings/oleObject3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36.emf"/><Relationship Id="rId4" Type="http://schemas.openxmlformats.org/officeDocument/2006/relationships/oleObject" Target="../embeddings/oleObject3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36.emf"/><Relationship Id="rId4" Type="http://schemas.openxmlformats.org/officeDocument/2006/relationships/oleObject" Target="../embeddings/oleObject3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36.emf"/><Relationship Id="rId4" Type="http://schemas.openxmlformats.org/officeDocument/2006/relationships/oleObject" Target="../embeddings/oleObject3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3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37.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72.xml"/><Relationship Id="rId6" Type="http://schemas.openxmlformats.org/officeDocument/2006/relationships/image" Target="../media/image28.png"/><Relationship Id="rId5" Type="http://schemas.openxmlformats.org/officeDocument/2006/relationships/image" Target="../media/image26.png"/><Relationship Id="rId4" Type="http://schemas.openxmlformats.org/officeDocument/2006/relationships/image" Target="../media/image36.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36.emf"/><Relationship Id="rId4" Type="http://schemas.openxmlformats.org/officeDocument/2006/relationships/oleObject" Target="../embeddings/oleObject3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36.emf"/><Relationship Id="rId4" Type="http://schemas.openxmlformats.org/officeDocument/2006/relationships/oleObject" Target="../embeddings/oleObject4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36.emf"/><Relationship Id="rId4" Type="http://schemas.openxmlformats.org/officeDocument/2006/relationships/oleObject" Target="../embeddings/oleObject4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36.emf"/><Relationship Id="rId4" Type="http://schemas.openxmlformats.org/officeDocument/2006/relationships/oleObject" Target="../embeddings/oleObject4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36.emf"/><Relationship Id="rId4" Type="http://schemas.openxmlformats.org/officeDocument/2006/relationships/oleObject" Target="../embeddings/oleObject43.bin"/></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6.xml"/><Relationship Id="rId1" Type="http://schemas.openxmlformats.org/officeDocument/2006/relationships/tags" Target="../tags/tag83.xml"/><Relationship Id="rId5" Type="http://schemas.openxmlformats.org/officeDocument/2006/relationships/image" Target="../media/image26.png"/><Relationship Id="rId4" Type="http://schemas.openxmlformats.org/officeDocument/2006/relationships/image" Target="../media/image36.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6.xml"/><Relationship Id="rId1" Type="http://schemas.openxmlformats.org/officeDocument/2006/relationships/tags" Target="../tags/tag84.xml"/><Relationship Id="rId5" Type="http://schemas.openxmlformats.org/officeDocument/2006/relationships/image" Target="../media/image33.png"/><Relationship Id="rId4" Type="http://schemas.openxmlformats.org/officeDocument/2006/relationships/image" Target="../media/image30.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6.xml"/><Relationship Id="rId1" Type="http://schemas.openxmlformats.org/officeDocument/2006/relationships/tags" Target="../tags/tag85.xml"/><Relationship Id="rId4" Type="http://schemas.openxmlformats.org/officeDocument/2006/relationships/image" Target="../media/image29.emf"/></Relationships>
</file>

<file path=ppt/slideLayouts/_rels/slideLayout12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7.xml"/><Relationship Id="rId7" Type="http://schemas.openxmlformats.org/officeDocument/2006/relationships/image" Target="../media/image3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6.png"/><Relationship Id="rId5" Type="http://schemas.openxmlformats.org/officeDocument/2006/relationships/image" Target="../media/image30.emf"/><Relationship Id="rId10" Type="http://schemas.microsoft.com/office/2007/relationships/hdphoto" Target="../media/hdphoto3.wdp"/><Relationship Id="rId4" Type="http://schemas.openxmlformats.org/officeDocument/2006/relationships/oleObject" Target="../embeddings/oleObject48.bin"/><Relationship Id="rId9" Type="http://schemas.openxmlformats.org/officeDocument/2006/relationships/image" Target="../media/image32.png"/></Relationships>
</file>

<file path=ppt/slideLayouts/_rels/slideLayout125.xml.rels><?xml version="1.0" encoding="UTF-8" standalone="yes"?>
<Relationships xmlns="http://schemas.openxmlformats.org/package/2006/relationships"><Relationship Id="rId2" Type="http://schemas.openxmlformats.org/officeDocument/2006/relationships/hyperlink" Target="mailto:huisstijl@zilverenkruis.nl" TargetMode="External"/><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30.emf"/><Relationship Id="rId4" Type="http://schemas.openxmlformats.org/officeDocument/2006/relationships/oleObject" Target="../embeddings/oleObject4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30.emf"/><Relationship Id="rId4" Type="http://schemas.openxmlformats.org/officeDocument/2006/relationships/oleObject" Target="../embeddings/oleObject5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30.emf"/><Relationship Id="rId4" Type="http://schemas.openxmlformats.org/officeDocument/2006/relationships/oleObject" Target="../embeddings/oleObject51.bin"/></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7.xml"/><Relationship Id="rId1" Type="http://schemas.openxmlformats.org/officeDocument/2006/relationships/tags" Target="../tags/tag96.xml"/><Relationship Id="rId5" Type="http://schemas.openxmlformats.org/officeDocument/2006/relationships/image" Target="../media/image33.png"/><Relationship Id="rId4" Type="http://schemas.openxmlformats.org/officeDocument/2006/relationships/image" Target="../media/image29.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97.xml"/><Relationship Id="rId5" Type="http://schemas.openxmlformats.org/officeDocument/2006/relationships/image" Target="../media/image33.png"/><Relationship Id="rId4" Type="http://schemas.openxmlformats.org/officeDocument/2006/relationships/image" Target="../media/image30.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7.xml"/><Relationship Id="rId6" Type="http://schemas.microsoft.com/office/2007/relationships/hdphoto" Target="../media/hdphoto3.wdp"/><Relationship Id="rId5" Type="http://schemas.openxmlformats.org/officeDocument/2006/relationships/image" Target="../media/image32.png"/><Relationship Id="rId4" Type="http://schemas.microsoft.com/office/2007/relationships/hdphoto" Target="../media/hdphoto2.wdp"/></Relationships>
</file>

<file path=ppt/slideLayouts/_rels/slideLayout1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Master" Target="../slideMasters/slideMaster7.xml"/><Relationship Id="rId6" Type="http://schemas.openxmlformats.org/officeDocument/2006/relationships/image" Target="../media/image26.png"/><Relationship Id="rId5" Type="http://schemas.microsoft.com/office/2007/relationships/hdphoto" Target="../media/hdphoto3.wdp"/><Relationship Id="rId4" Type="http://schemas.openxmlformats.org/officeDocument/2006/relationships/image" Target="../media/image32.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37.emf"/></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9.xml"/><Relationship Id="rId7" Type="http://schemas.openxmlformats.org/officeDocument/2006/relationships/image" Target="../media/image31.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6.png"/><Relationship Id="rId5" Type="http://schemas.openxmlformats.org/officeDocument/2006/relationships/image" Target="../media/image30.emf"/><Relationship Id="rId10" Type="http://schemas.microsoft.com/office/2007/relationships/hdphoto" Target="../media/hdphoto3.wdp"/><Relationship Id="rId4" Type="http://schemas.openxmlformats.org/officeDocument/2006/relationships/oleObject" Target="../embeddings/oleObject2.bin"/><Relationship Id="rId9" Type="http://schemas.openxmlformats.org/officeDocument/2006/relationships/image" Target="../media/image32.png"/></Relationships>
</file>

<file path=ppt/slideLayouts/_rels/slideLayout201.xml.rels><?xml version="1.0" encoding="UTF-8" standalone="yes"?>
<Relationships xmlns="http://schemas.openxmlformats.org/package/2006/relationships"><Relationship Id="rId2" Type="http://schemas.openxmlformats.org/officeDocument/2006/relationships/hyperlink" Target="mailto:huisstijl@zilverenkruis.nl" TargetMode="External"/><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30.emf"/><Relationship Id="rId4" Type="http://schemas.openxmlformats.org/officeDocument/2006/relationships/oleObject" Target="../embeddings/oleObject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30.emf"/><Relationship Id="rId4" Type="http://schemas.openxmlformats.org/officeDocument/2006/relationships/oleObject" Target="../embeddings/oleObject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30.emf"/><Relationship Id="rId4" Type="http://schemas.openxmlformats.org/officeDocument/2006/relationships/oleObject" Target="../embeddings/oleObject5.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09.xml"/><Relationship Id="rId5" Type="http://schemas.openxmlformats.org/officeDocument/2006/relationships/image" Target="../media/image33.png"/><Relationship Id="rId4" Type="http://schemas.openxmlformats.org/officeDocument/2006/relationships/image" Target="../media/image29.emf"/></Relationships>
</file>

<file path=ppt/slideLayouts/_rels/slideLayout2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9.xml"/><Relationship Id="rId6" Type="http://schemas.microsoft.com/office/2007/relationships/hdphoto" Target="../media/hdphoto3.wdp"/><Relationship Id="rId5" Type="http://schemas.openxmlformats.org/officeDocument/2006/relationships/image" Target="../media/image32.png"/><Relationship Id="rId4" Type="http://schemas.microsoft.com/office/2007/relationships/hdphoto" Target="../media/hdphoto2.wdp"/></Relationships>
</file>

<file path=ppt/slideLayouts/_rels/slideLayout2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10.xml"/><Relationship Id="rId7" Type="http://schemas.openxmlformats.org/officeDocument/2006/relationships/image" Target="../media/image31.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26.png"/><Relationship Id="rId5" Type="http://schemas.openxmlformats.org/officeDocument/2006/relationships/image" Target="../media/image30.emf"/><Relationship Id="rId10" Type="http://schemas.microsoft.com/office/2007/relationships/hdphoto" Target="../media/hdphoto3.wdp"/><Relationship Id="rId4" Type="http://schemas.openxmlformats.org/officeDocument/2006/relationships/oleObject" Target="../embeddings/oleObject48.bin"/><Relationship Id="rId9" Type="http://schemas.openxmlformats.org/officeDocument/2006/relationships/image" Target="../media/image32.png"/></Relationships>
</file>

<file path=ppt/slideLayouts/_rels/slideLayout215.xml.rels><?xml version="1.0" encoding="UTF-8" standalone="yes"?>
<Relationships xmlns="http://schemas.openxmlformats.org/package/2006/relationships"><Relationship Id="rId2" Type="http://schemas.openxmlformats.org/officeDocument/2006/relationships/hyperlink" Target="mailto:huisstijl@zilverenkruis.nl" TargetMode="External"/><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30.emf"/><Relationship Id="rId4" Type="http://schemas.openxmlformats.org/officeDocument/2006/relationships/oleObject" Target="../embeddings/oleObject4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30.emf"/><Relationship Id="rId4" Type="http://schemas.openxmlformats.org/officeDocument/2006/relationships/oleObject" Target="../embeddings/oleObject5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30.emf"/><Relationship Id="rId4" Type="http://schemas.openxmlformats.org/officeDocument/2006/relationships/oleObject" Target="../embeddings/oleObject51.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0.xml"/><Relationship Id="rId1" Type="http://schemas.openxmlformats.org/officeDocument/2006/relationships/tags" Target="../tags/tag120.xml"/><Relationship Id="rId5" Type="http://schemas.openxmlformats.org/officeDocument/2006/relationships/image" Target="../media/image33.png"/><Relationship Id="rId4" Type="http://schemas.openxmlformats.org/officeDocument/2006/relationships/image" Target="../media/image29.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0.xml"/><Relationship Id="rId1" Type="http://schemas.openxmlformats.org/officeDocument/2006/relationships/tags" Target="../tags/tag121.xml"/><Relationship Id="rId5" Type="http://schemas.openxmlformats.org/officeDocument/2006/relationships/image" Target="../media/image33.png"/><Relationship Id="rId4" Type="http://schemas.openxmlformats.org/officeDocument/2006/relationships/image" Target="../media/image30.emf"/></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10.xml"/><Relationship Id="rId6" Type="http://schemas.microsoft.com/office/2007/relationships/hdphoto" Target="../media/hdphoto3.wdp"/><Relationship Id="rId5" Type="http://schemas.openxmlformats.org/officeDocument/2006/relationships/image" Target="../media/image32.png"/><Relationship Id="rId4" Type="http://schemas.microsoft.com/office/2007/relationships/hdphoto" Target="../media/hdphoto2.wdp"/></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Master" Target="../slideMasters/slideMaster10.xml"/><Relationship Id="rId6" Type="http://schemas.openxmlformats.org/officeDocument/2006/relationships/image" Target="../media/image26.png"/><Relationship Id="rId5" Type="http://schemas.microsoft.com/office/2007/relationships/hdphoto" Target="../media/hdphoto3.wdp"/><Relationship Id="rId4" Type="http://schemas.openxmlformats.org/officeDocument/2006/relationships/image" Target="../media/image32.png"/></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0.xml"/><Relationship Id="rId1" Type="http://schemas.openxmlformats.org/officeDocument/2006/relationships/tags" Target="../tags/tag122.xml"/><Relationship Id="rId4" Type="http://schemas.openxmlformats.org/officeDocument/2006/relationships/image" Target="../media/image37.emf"/></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pn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5.xml"/><Relationship Id="rId7" Type="http://schemas.openxmlformats.org/officeDocument/2006/relationships/image" Target="../media/image3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6.png"/><Relationship Id="rId5" Type="http://schemas.openxmlformats.org/officeDocument/2006/relationships/image" Target="../media/image30.emf"/><Relationship Id="rId10" Type="http://schemas.microsoft.com/office/2007/relationships/hdphoto" Target="../media/hdphoto3.wdp"/><Relationship Id="rId4" Type="http://schemas.openxmlformats.org/officeDocument/2006/relationships/oleObject" Target="../embeddings/oleObject2.bin"/><Relationship Id="rId9" Type="http://schemas.openxmlformats.org/officeDocument/2006/relationships/image" Target="../media/image32.png"/></Relationships>
</file>

<file path=ppt/slideLayouts/_rels/slideLayout72.xml.rels><?xml version="1.0" encoding="UTF-8" standalone="yes"?>
<Relationships xmlns="http://schemas.openxmlformats.org/package/2006/relationships"><Relationship Id="rId2" Type="http://schemas.openxmlformats.org/officeDocument/2006/relationships/hyperlink" Target="mailto:huisstijl@zilverenkruis.nl" TargetMode="External"/><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0.emf"/><Relationship Id="rId4" Type="http://schemas.openxmlformats.org/officeDocument/2006/relationships/oleObject" Target="../embeddings/oleObject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0.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0.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1.xml"/><Relationship Id="rId5" Type="http://schemas.openxmlformats.org/officeDocument/2006/relationships/image" Target="../media/image33.png"/><Relationship Id="rId4" Type="http://schemas.openxmlformats.org/officeDocument/2006/relationships/image" Target="../media/image29.emf"/></Relationships>
</file>

<file path=ppt/slideLayouts/_rels/slideLayout8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image" Target="../media/image26.png"/><Relationship Id="rId1" Type="http://schemas.openxmlformats.org/officeDocument/2006/relationships/slideMaster" Target="../slideMasters/slideMaster5.xml"/><Relationship Id="rId6" Type="http://schemas.microsoft.com/office/2007/relationships/hdphoto" Target="../media/hdphoto3.wdp"/><Relationship Id="rId5" Type="http://schemas.openxmlformats.org/officeDocument/2006/relationships/image" Target="../media/image32.png"/><Relationship Id="rId4" Type="http://schemas.microsoft.com/office/2007/relationships/hdphoto" Target="../media/hdphoto2.wdp"/></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6.png"/><Relationship Id="rId5" Type="http://schemas.openxmlformats.org/officeDocument/2006/relationships/image" Target="../media/image36.emf"/><Relationship Id="rId4" Type="http://schemas.openxmlformats.org/officeDocument/2006/relationships/oleObject" Target="../embeddings/oleObject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4.png"/><Relationship Id="rId5" Type="http://schemas.openxmlformats.org/officeDocument/2006/relationships/image" Target="../media/image36.emf"/><Relationship Id="rId4" Type="http://schemas.openxmlformats.org/officeDocument/2006/relationships/oleObject" Target="../embeddings/oleObject9.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36.emf"/></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6.emf"/><Relationship Id="rId4" Type="http://schemas.openxmlformats.org/officeDocument/2006/relationships/oleObject" Target="../embeddings/oleObject1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6.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6.emf"/><Relationship Id="rId4" Type="http://schemas.openxmlformats.org/officeDocument/2006/relationships/oleObject" Target="../embeddings/oleObject1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36.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36.emf"/><Relationship Id="rId4" Type="http://schemas.openxmlformats.org/officeDocument/2006/relationships/oleObject" Target="../embeddings/oleObject1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36.emf"/><Relationship Id="rId4" Type="http://schemas.openxmlformats.org/officeDocument/2006/relationships/oleObject" Target="../embeddings/oleObject1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36.emf"/><Relationship Id="rId4" Type="http://schemas.openxmlformats.org/officeDocument/2006/relationships/oleObject" Target="../embeddings/oleObject1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36.emf"/><Relationship Id="rId4" Type="http://schemas.openxmlformats.org/officeDocument/2006/relationships/oleObject" Target="../embeddings/oleObject1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36.emf"/><Relationship Id="rId4" Type="http://schemas.openxmlformats.org/officeDocument/2006/relationships/oleObject" Target="../embeddings/oleObject1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36.emf"/><Relationship Id="rId4" Type="http://schemas.openxmlformats.org/officeDocument/2006/relationships/oleObject" Target="../embeddings/oleObject2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6.emf"/><Relationship Id="rId4" Type="http://schemas.openxmlformats.org/officeDocument/2006/relationships/oleObject" Target="../embeddings/oleObject21.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7.png"/><Relationship Id="rId5" Type="http://schemas.openxmlformats.org/officeDocument/2006/relationships/image" Target="../media/image36.emf"/><Relationship Id="rId4" Type="http://schemas.openxmlformats.org/officeDocument/2006/relationships/oleObject" Target="../embeddings/oleObject2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geel">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020D7912-2054-4A30-B0D8-B81109194D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13" y="0"/>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214511" y="3429000"/>
            <a:ext cx="9144000" cy="1909763"/>
          </a:xfrm>
          <a:prstGeom prst="rect">
            <a:avLst/>
          </a:prstGeom>
        </p:spPr>
        <p:txBody>
          <a:bodyPr anchor="t">
            <a:normAutofit/>
          </a:bodyPr>
          <a:lstStyle>
            <a:lvl1pPr algn="l">
              <a:defRPr sz="3600" b="1">
                <a:solidFill>
                  <a:schemeClr val="bg1"/>
                </a:solidFill>
              </a:defRPr>
            </a:lvl1pPr>
          </a:lstStyle>
          <a:p>
            <a:r>
              <a:rPr lang="nl-NL"/>
              <a:t>Klik om stijl te bewerken</a:t>
            </a:r>
            <a:endParaRPr lang="nl-NL" dirty="0"/>
          </a:p>
        </p:txBody>
      </p:sp>
      <p:sp>
        <p:nvSpPr>
          <p:cNvPr id="4" name="Tijdelijke aanduiding voor datum 3">
            <a:extLst>
              <a:ext uri="{FF2B5EF4-FFF2-40B4-BE49-F238E27FC236}">
                <a16:creationId xmlns:a16="http://schemas.microsoft.com/office/drawing/2014/main" id="{C6E8CBB7-1189-49DD-AE30-C4BC3E6D9AAD}"/>
              </a:ext>
            </a:extLst>
          </p:cNvPr>
          <p:cNvSpPr>
            <a:spLocks noGrp="1"/>
          </p:cNvSpPr>
          <p:nvPr>
            <p:ph type="dt" sz="half" idx="10"/>
          </p:nvPr>
        </p:nvSpPr>
        <p:spPr/>
        <p:txBody>
          <a:bodyPr/>
          <a:lstStyle>
            <a:lvl1pPr>
              <a:defRPr/>
            </a:lvl1pPr>
          </a:lstStyle>
          <a:p>
            <a:pPr>
              <a:defRPr/>
            </a:pPr>
            <a:fld id="{E8225F67-0728-4CF3-AC83-A8B8E34355D7}"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59A5C529-D7E0-4CA5-9300-7D1E45C8B589}"/>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EA68863F-BF71-43B9-8CB0-3BE4DB5BAFEA}"/>
              </a:ext>
            </a:extLst>
          </p:cNvPr>
          <p:cNvSpPr>
            <a:spLocks noGrp="1"/>
          </p:cNvSpPr>
          <p:nvPr>
            <p:ph type="sldNum" sz="quarter" idx="12"/>
          </p:nvPr>
        </p:nvSpPr>
        <p:spPr/>
        <p:txBody>
          <a:bodyPr/>
          <a:lstStyle>
            <a:lvl1pPr>
              <a:defRPr/>
            </a:lvl1pPr>
          </a:lstStyle>
          <a:p>
            <a:pPr>
              <a:defRPr/>
            </a:pPr>
            <a:fld id="{157252AD-2986-4399-AB80-31D0189C8E43}" type="slidenum">
              <a:rPr lang="nl-NL"/>
              <a:pPr>
                <a:defRPr/>
              </a:pPr>
              <a:t>‹nr.›</a:t>
            </a:fld>
            <a:endParaRPr lang="nl-NL"/>
          </a:p>
        </p:txBody>
      </p:sp>
    </p:spTree>
    <p:extLst>
      <p:ext uri="{BB962C8B-B14F-4D97-AF65-F5344CB8AC3E}">
        <p14:creationId xmlns:p14="http://schemas.microsoft.com/office/powerpoint/2010/main" val="3388969697"/>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Slide Paars">
    <p:spTree>
      <p:nvGrpSpPr>
        <p:cNvPr id="1" name=""/>
        <p:cNvGrpSpPr/>
        <p:nvPr/>
      </p:nvGrpSpPr>
      <p:grpSpPr>
        <a:xfrm>
          <a:off x="0" y="0"/>
          <a:ext cx="0" cy="0"/>
          <a:chOff x="0" y="0"/>
          <a:chExt cx="0" cy="0"/>
        </a:xfrm>
      </p:grpSpPr>
      <p:sp>
        <p:nvSpPr>
          <p:cNvPr id="23" name="Rechthoek 22">
            <a:extLst>
              <a:ext uri="{FF2B5EF4-FFF2-40B4-BE49-F238E27FC236}">
                <a16:creationId xmlns:a16="http://schemas.microsoft.com/office/drawing/2014/main" id="{D7763D2E-055F-4178-A557-9449325FB960}"/>
              </a:ext>
            </a:extLst>
          </p:cNvPr>
          <p:cNvSpPr/>
          <p:nvPr userDrawn="1"/>
        </p:nvSpPr>
        <p:spPr>
          <a:xfrm>
            <a:off x="10612551" y="6330720"/>
            <a:ext cx="1129138" cy="3224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Tijdelijke aanduiding voor afbeelding 5">
            <a:extLst>
              <a:ext uri="{FF2B5EF4-FFF2-40B4-BE49-F238E27FC236}">
                <a16:creationId xmlns:a16="http://schemas.microsoft.com/office/drawing/2014/main" id="{A4172BDD-8E1B-42E6-B46E-B1593122DDE0}"/>
              </a:ext>
            </a:extLst>
          </p:cNvPr>
          <p:cNvSpPr>
            <a:spLocks noGrp="1"/>
          </p:cNvSpPr>
          <p:nvPr>
            <p:ph type="pic" sz="quarter" idx="14"/>
          </p:nvPr>
        </p:nvSpPr>
        <p:spPr>
          <a:xfrm>
            <a:off x="2128800" y="1"/>
            <a:ext cx="10063199" cy="6858451"/>
          </a:xfrm>
          <a:custGeom>
            <a:avLst/>
            <a:gdLst>
              <a:gd name="connsiteX0" fmla="*/ 0 w 10102850"/>
              <a:gd name="connsiteY0" fmla="*/ 0 h 6483350"/>
              <a:gd name="connsiteX1" fmla="*/ 10102850 w 10102850"/>
              <a:gd name="connsiteY1" fmla="*/ 0 h 6483350"/>
              <a:gd name="connsiteX2" fmla="*/ 10102850 w 10102850"/>
              <a:gd name="connsiteY2" fmla="*/ 6483350 h 6483350"/>
              <a:gd name="connsiteX3" fmla="*/ 0 w 10102850"/>
              <a:gd name="connsiteY3" fmla="*/ 6483350 h 6483350"/>
              <a:gd name="connsiteX4" fmla="*/ 0 w 10102850"/>
              <a:gd name="connsiteY4" fmla="*/ 0 h 6483350"/>
              <a:gd name="connsiteX0" fmla="*/ 9944 w 10112794"/>
              <a:gd name="connsiteY0" fmla="*/ 0 h 6483350"/>
              <a:gd name="connsiteX1" fmla="*/ 10112794 w 10112794"/>
              <a:gd name="connsiteY1" fmla="*/ 0 h 6483350"/>
              <a:gd name="connsiteX2" fmla="*/ 10112794 w 10112794"/>
              <a:gd name="connsiteY2" fmla="*/ 6483350 h 6483350"/>
              <a:gd name="connsiteX3" fmla="*/ 9944 w 10112794"/>
              <a:gd name="connsiteY3" fmla="*/ 6483350 h 6483350"/>
              <a:gd name="connsiteX4" fmla="*/ 0 w 10112794"/>
              <a:gd name="connsiteY4" fmla="*/ 707366 h 6483350"/>
              <a:gd name="connsiteX5" fmla="*/ 9944 w 10112794"/>
              <a:gd name="connsiteY5" fmla="*/ 0 h 6483350"/>
              <a:gd name="connsiteX0" fmla="*/ 967476 w 10112794"/>
              <a:gd name="connsiteY0" fmla="*/ 0 h 6483350"/>
              <a:gd name="connsiteX1" fmla="*/ 10112794 w 10112794"/>
              <a:gd name="connsiteY1" fmla="*/ 0 h 6483350"/>
              <a:gd name="connsiteX2" fmla="*/ 10112794 w 10112794"/>
              <a:gd name="connsiteY2" fmla="*/ 6483350 h 6483350"/>
              <a:gd name="connsiteX3" fmla="*/ 9944 w 10112794"/>
              <a:gd name="connsiteY3" fmla="*/ 6483350 h 6483350"/>
              <a:gd name="connsiteX4" fmla="*/ 0 w 10112794"/>
              <a:gd name="connsiteY4" fmla="*/ 707366 h 6483350"/>
              <a:gd name="connsiteX5" fmla="*/ 967476 w 10112794"/>
              <a:gd name="connsiteY5" fmla="*/ 0 h 6483350"/>
              <a:gd name="connsiteX0" fmla="*/ 957533 w 10102851"/>
              <a:gd name="connsiteY0" fmla="*/ 0 h 6483350"/>
              <a:gd name="connsiteX1" fmla="*/ 10102851 w 10102851"/>
              <a:gd name="connsiteY1" fmla="*/ 0 h 6483350"/>
              <a:gd name="connsiteX2" fmla="*/ 10102851 w 10102851"/>
              <a:gd name="connsiteY2" fmla="*/ 6483350 h 6483350"/>
              <a:gd name="connsiteX3" fmla="*/ 1 w 10102851"/>
              <a:gd name="connsiteY3" fmla="*/ 6483350 h 6483350"/>
              <a:gd name="connsiteX4" fmla="*/ 2577981 w 10102851"/>
              <a:gd name="connsiteY4" fmla="*/ 1199071 h 6483350"/>
              <a:gd name="connsiteX5" fmla="*/ 957533 w 10102851"/>
              <a:gd name="connsiteY5" fmla="*/ 0 h 6483350"/>
              <a:gd name="connsiteX0" fmla="*/ 957533 w 10102851"/>
              <a:gd name="connsiteY0" fmla="*/ 0 h 6483350"/>
              <a:gd name="connsiteX1" fmla="*/ 10102851 w 10102851"/>
              <a:gd name="connsiteY1" fmla="*/ 0 h 6483350"/>
              <a:gd name="connsiteX2" fmla="*/ 10102851 w 10102851"/>
              <a:gd name="connsiteY2" fmla="*/ 6483350 h 6483350"/>
              <a:gd name="connsiteX3" fmla="*/ 1 w 10102851"/>
              <a:gd name="connsiteY3" fmla="*/ 6483350 h 6483350"/>
              <a:gd name="connsiteX4" fmla="*/ 2577981 w 10102851"/>
              <a:gd name="connsiteY4" fmla="*/ 1199071 h 6483350"/>
              <a:gd name="connsiteX5" fmla="*/ 957533 w 10102851"/>
              <a:gd name="connsiteY5" fmla="*/ 0 h 6483350"/>
              <a:gd name="connsiteX0" fmla="*/ 957533 w 10102851"/>
              <a:gd name="connsiteY0" fmla="*/ 0 h 6483350"/>
              <a:gd name="connsiteX1" fmla="*/ 10102851 w 10102851"/>
              <a:gd name="connsiteY1" fmla="*/ 0 h 6483350"/>
              <a:gd name="connsiteX2" fmla="*/ 10102851 w 10102851"/>
              <a:gd name="connsiteY2" fmla="*/ 6483350 h 6483350"/>
              <a:gd name="connsiteX3" fmla="*/ 1 w 10102851"/>
              <a:gd name="connsiteY3" fmla="*/ 6483350 h 6483350"/>
              <a:gd name="connsiteX4" fmla="*/ 2577981 w 10102851"/>
              <a:gd name="connsiteY4" fmla="*/ 1199071 h 6483350"/>
              <a:gd name="connsiteX5" fmla="*/ 957533 w 10102851"/>
              <a:gd name="connsiteY5" fmla="*/ 0 h 6483350"/>
              <a:gd name="connsiteX0" fmla="*/ 1337594 w 10482912"/>
              <a:gd name="connsiteY0" fmla="*/ 0 h 6483350"/>
              <a:gd name="connsiteX1" fmla="*/ 10482912 w 10482912"/>
              <a:gd name="connsiteY1" fmla="*/ 0 h 6483350"/>
              <a:gd name="connsiteX2" fmla="*/ 10482912 w 10482912"/>
              <a:gd name="connsiteY2" fmla="*/ 6483350 h 6483350"/>
              <a:gd name="connsiteX3" fmla="*/ 380062 w 10482912"/>
              <a:gd name="connsiteY3" fmla="*/ 6483350 h 6483350"/>
              <a:gd name="connsiteX4" fmla="*/ 2129906 w 10482912"/>
              <a:gd name="connsiteY4" fmla="*/ 2863970 h 6483350"/>
              <a:gd name="connsiteX5" fmla="*/ 2958042 w 10482912"/>
              <a:gd name="connsiteY5" fmla="*/ 1199071 h 6483350"/>
              <a:gd name="connsiteX6" fmla="*/ 1337594 w 10482912"/>
              <a:gd name="connsiteY6" fmla="*/ 0 h 6483350"/>
              <a:gd name="connsiteX0" fmla="*/ 1337594 w 10482912"/>
              <a:gd name="connsiteY0" fmla="*/ 0 h 6483350"/>
              <a:gd name="connsiteX1" fmla="*/ 10482912 w 10482912"/>
              <a:gd name="connsiteY1" fmla="*/ 0 h 6483350"/>
              <a:gd name="connsiteX2" fmla="*/ 10482912 w 10482912"/>
              <a:gd name="connsiteY2" fmla="*/ 6483350 h 6483350"/>
              <a:gd name="connsiteX3" fmla="*/ 380062 w 10482912"/>
              <a:gd name="connsiteY3" fmla="*/ 6483350 h 6483350"/>
              <a:gd name="connsiteX4" fmla="*/ 2129906 w 10482912"/>
              <a:gd name="connsiteY4" fmla="*/ 2863970 h 6483350"/>
              <a:gd name="connsiteX5" fmla="*/ 2958042 w 10482912"/>
              <a:gd name="connsiteY5" fmla="*/ 1199071 h 6483350"/>
              <a:gd name="connsiteX6" fmla="*/ 1337594 w 10482912"/>
              <a:gd name="connsiteY6" fmla="*/ 0 h 6483350"/>
              <a:gd name="connsiteX0" fmla="*/ 1337594 w 10482912"/>
              <a:gd name="connsiteY0" fmla="*/ 0 h 6483350"/>
              <a:gd name="connsiteX1" fmla="*/ 10482912 w 10482912"/>
              <a:gd name="connsiteY1" fmla="*/ 0 h 6483350"/>
              <a:gd name="connsiteX2" fmla="*/ 10482912 w 10482912"/>
              <a:gd name="connsiteY2" fmla="*/ 6483350 h 6483350"/>
              <a:gd name="connsiteX3" fmla="*/ 380062 w 10482912"/>
              <a:gd name="connsiteY3" fmla="*/ 6483350 h 6483350"/>
              <a:gd name="connsiteX4" fmla="*/ 2129906 w 10482912"/>
              <a:gd name="connsiteY4" fmla="*/ 2863970 h 6483350"/>
              <a:gd name="connsiteX5" fmla="*/ 2958042 w 10482912"/>
              <a:gd name="connsiteY5" fmla="*/ 1199071 h 6483350"/>
              <a:gd name="connsiteX6" fmla="*/ 1337594 w 10482912"/>
              <a:gd name="connsiteY6" fmla="*/ 0 h 6483350"/>
              <a:gd name="connsiteX0" fmla="*/ 1283354 w 10428672"/>
              <a:gd name="connsiteY0" fmla="*/ 0 h 6483350"/>
              <a:gd name="connsiteX1" fmla="*/ 10428672 w 10428672"/>
              <a:gd name="connsiteY1" fmla="*/ 0 h 6483350"/>
              <a:gd name="connsiteX2" fmla="*/ 10428672 w 10428672"/>
              <a:gd name="connsiteY2" fmla="*/ 6483350 h 6483350"/>
              <a:gd name="connsiteX3" fmla="*/ 325822 w 10428672"/>
              <a:gd name="connsiteY3" fmla="*/ 6483350 h 6483350"/>
              <a:gd name="connsiteX4" fmla="*/ 2688141 w 10428672"/>
              <a:gd name="connsiteY4" fmla="*/ 3390181 h 6483350"/>
              <a:gd name="connsiteX5" fmla="*/ 2903802 w 10428672"/>
              <a:gd name="connsiteY5" fmla="*/ 1199071 h 6483350"/>
              <a:gd name="connsiteX6" fmla="*/ 1283354 w 10428672"/>
              <a:gd name="connsiteY6" fmla="*/ 0 h 6483350"/>
              <a:gd name="connsiteX0" fmla="*/ 1336707 w 10482025"/>
              <a:gd name="connsiteY0" fmla="*/ 0 h 6483350"/>
              <a:gd name="connsiteX1" fmla="*/ 10482025 w 10482025"/>
              <a:gd name="connsiteY1" fmla="*/ 0 h 6483350"/>
              <a:gd name="connsiteX2" fmla="*/ 10482025 w 10482025"/>
              <a:gd name="connsiteY2" fmla="*/ 6483350 h 6483350"/>
              <a:gd name="connsiteX3" fmla="*/ 379175 w 10482025"/>
              <a:gd name="connsiteY3" fmla="*/ 6483350 h 6483350"/>
              <a:gd name="connsiteX4" fmla="*/ 2137645 w 10482025"/>
              <a:gd name="connsiteY4" fmla="*/ 2863969 h 6483350"/>
              <a:gd name="connsiteX5" fmla="*/ 2957155 w 10482025"/>
              <a:gd name="connsiteY5" fmla="*/ 1199071 h 6483350"/>
              <a:gd name="connsiteX6" fmla="*/ 1336707 w 10482025"/>
              <a:gd name="connsiteY6" fmla="*/ 0 h 6483350"/>
              <a:gd name="connsiteX0" fmla="*/ 1263084 w 10408402"/>
              <a:gd name="connsiteY0" fmla="*/ 0 h 6483350"/>
              <a:gd name="connsiteX1" fmla="*/ 10408402 w 10408402"/>
              <a:gd name="connsiteY1" fmla="*/ 0 h 6483350"/>
              <a:gd name="connsiteX2" fmla="*/ 10408402 w 10408402"/>
              <a:gd name="connsiteY2" fmla="*/ 6483350 h 6483350"/>
              <a:gd name="connsiteX3" fmla="*/ 305552 w 10408402"/>
              <a:gd name="connsiteY3" fmla="*/ 6483350 h 6483350"/>
              <a:gd name="connsiteX4" fmla="*/ 3651284 w 10408402"/>
              <a:gd name="connsiteY4" fmla="*/ 4201064 h 6483350"/>
              <a:gd name="connsiteX5" fmla="*/ 2064022 w 10408402"/>
              <a:gd name="connsiteY5" fmla="*/ 2863969 h 6483350"/>
              <a:gd name="connsiteX6" fmla="*/ 2883532 w 10408402"/>
              <a:gd name="connsiteY6" fmla="*/ 1199071 h 6483350"/>
              <a:gd name="connsiteX7" fmla="*/ 1263084 w 10408402"/>
              <a:gd name="connsiteY7" fmla="*/ 0 h 6483350"/>
              <a:gd name="connsiteX0" fmla="*/ 1263084 w 10408402"/>
              <a:gd name="connsiteY0" fmla="*/ 0 h 6483350"/>
              <a:gd name="connsiteX1" fmla="*/ 10408402 w 10408402"/>
              <a:gd name="connsiteY1" fmla="*/ 0 h 6483350"/>
              <a:gd name="connsiteX2" fmla="*/ 10408402 w 10408402"/>
              <a:gd name="connsiteY2" fmla="*/ 6483350 h 6483350"/>
              <a:gd name="connsiteX3" fmla="*/ 305552 w 10408402"/>
              <a:gd name="connsiteY3" fmla="*/ 6483350 h 6483350"/>
              <a:gd name="connsiteX4" fmla="*/ 3651284 w 10408402"/>
              <a:gd name="connsiteY4" fmla="*/ 4201064 h 6483350"/>
              <a:gd name="connsiteX5" fmla="*/ 2064022 w 10408402"/>
              <a:gd name="connsiteY5" fmla="*/ 2863969 h 6483350"/>
              <a:gd name="connsiteX6" fmla="*/ 2883532 w 10408402"/>
              <a:gd name="connsiteY6" fmla="*/ 1199071 h 6483350"/>
              <a:gd name="connsiteX7" fmla="*/ 1263084 w 10408402"/>
              <a:gd name="connsiteY7" fmla="*/ 0 h 6483350"/>
              <a:gd name="connsiteX0" fmla="*/ 1276268 w 10421586"/>
              <a:gd name="connsiteY0" fmla="*/ 0 h 6483350"/>
              <a:gd name="connsiteX1" fmla="*/ 10421586 w 10421586"/>
              <a:gd name="connsiteY1" fmla="*/ 0 h 6483350"/>
              <a:gd name="connsiteX2" fmla="*/ 10421586 w 10421586"/>
              <a:gd name="connsiteY2" fmla="*/ 6483350 h 6483350"/>
              <a:gd name="connsiteX3" fmla="*/ 318736 w 10421586"/>
              <a:gd name="connsiteY3" fmla="*/ 6483350 h 6483350"/>
              <a:gd name="connsiteX4" fmla="*/ 3431555 w 10421586"/>
              <a:gd name="connsiteY4" fmla="*/ 4908430 h 6483350"/>
              <a:gd name="connsiteX5" fmla="*/ 2077206 w 10421586"/>
              <a:gd name="connsiteY5" fmla="*/ 2863969 h 6483350"/>
              <a:gd name="connsiteX6" fmla="*/ 2896716 w 10421586"/>
              <a:gd name="connsiteY6" fmla="*/ 1199071 h 6483350"/>
              <a:gd name="connsiteX7" fmla="*/ 1276268 w 10421586"/>
              <a:gd name="connsiteY7" fmla="*/ 0 h 6483350"/>
              <a:gd name="connsiteX0" fmla="*/ 1276268 w 10421586"/>
              <a:gd name="connsiteY0" fmla="*/ 0 h 6483350"/>
              <a:gd name="connsiteX1" fmla="*/ 10421586 w 10421586"/>
              <a:gd name="connsiteY1" fmla="*/ 0 h 6483350"/>
              <a:gd name="connsiteX2" fmla="*/ 10421586 w 10421586"/>
              <a:gd name="connsiteY2" fmla="*/ 6483350 h 6483350"/>
              <a:gd name="connsiteX3" fmla="*/ 318736 w 10421586"/>
              <a:gd name="connsiteY3" fmla="*/ 6483350 h 6483350"/>
              <a:gd name="connsiteX4" fmla="*/ 3431555 w 10421586"/>
              <a:gd name="connsiteY4" fmla="*/ 4908430 h 6483350"/>
              <a:gd name="connsiteX5" fmla="*/ 2077206 w 10421586"/>
              <a:gd name="connsiteY5" fmla="*/ 2863969 h 6483350"/>
              <a:gd name="connsiteX6" fmla="*/ 2896716 w 10421586"/>
              <a:gd name="connsiteY6" fmla="*/ 1199071 h 6483350"/>
              <a:gd name="connsiteX7" fmla="*/ 1276268 w 10421586"/>
              <a:gd name="connsiteY7" fmla="*/ 0 h 6483350"/>
              <a:gd name="connsiteX0" fmla="*/ 1276268 w 10421586"/>
              <a:gd name="connsiteY0" fmla="*/ 0 h 6483350"/>
              <a:gd name="connsiteX1" fmla="*/ 10421586 w 10421586"/>
              <a:gd name="connsiteY1" fmla="*/ 0 h 6483350"/>
              <a:gd name="connsiteX2" fmla="*/ 10421586 w 10421586"/>
              <a:gd name="connsiteY2" fmla="*/ 6483350 h 6483350"/>
              <a:gd name="connsiteX3" fmla="*/ 318736 w 10421586"/>
              <a:gd name="connsiteY3" fmla="*/ 6483350 h 6483350"/>
              <a:gd name="connsiteX4" fmla="*/ 3431555 w 10421586"/>
              <a:gd name="connsiteY4" fmla="*/ 4908430 h 6483350"/>
              <a:gd name="connsiteX5" fmla="*/ 2016821 w 10421586"/>
              <a:gd name="connsiteY5" fmla="*/ 2881222 h 6483350"/>
              <a:gd name="connsiteX6" fmla="*/ 2896716 w 10421586"/>
              <a:gd name="connsiteY6" fmla="*/ 1199071 h 6483350"/>
              <a:gd name="connsiteX7" fmla="*/ 1276268 w 10421586"/>
              <a:gd name="connsiteY7" fmla="*/ 0 h 6483350"/>
              <a:gd name="connsiteX0" fmla="*/ 1251372 w 10396690"/>
              <a:gd name="connsiteY0" fmla="*/ 0 h 6483350"/>
              <a:gd name="connsiteX1" fmla="*/ 10396690 w 10396690"/>
              <a:gd name="connsiteY1" fmla="*/ 0 h 6483350"/>
              <a:gd name="connsiteX2" fmla="*/ 10396690 w 10396690"/>
              <a:gd name="connsiteY2" fmla="*/ 6483350 h 6483350"/>
              <a:gd name="connsiteX3" fmla="*/ 293840 w 10396690"/>
              <a:gd name="connsiteY3" fmla="*/ 6483350 h 6483350"/>
              <a:gd name="connsiteX4" fmla="*/ 3863859 w 10396690"/>
              <a:gd name="connsiteY4" fmla="*/ 5011947 h 6483350"/>
              <a:gd name="connsiteX5" fmla="*/ 1991925 w 10396690"/>
              <a:gd name="connsiteY5" fmla="*/ 2881222 h 6483350"/>
              <a:gd name="connsiteX6" fmla="*/ 2871820 w 10396690"/>
              <a:gd name="connsiteY6" fmla="*/ 1199071 h 6483350"/>
              <a:gd name="connsiteX7" fmla="*/ 1251372 w 10396690"/>
              <a:gd name="connsiteY7" fmla="*/ 0 h 6483350"/>
              <a:gd name="connsiteX0" fmla="*/ 957532 w 10102850"/>
              <a:gd name="connsiteY0" fmla="*/ 0 h 6486875"/>
              <a:gd name="connsiteX1" fmla="*/ 10102850 w 10102850"/>
              <a:gd name="connsiteY1" fmla="*/ 0 h 6486875"/>
              <a:gd name="connsiteX2" fmla="*/ 10102850 w 10102850"/>
              <a:gd name="connsiteY2" fmla="*/ 6483350 h 6486875"/>
              <a:gd name="connsiteX3" fmla="*/ 0 w 10102850"/>
              <a:gd name="connsiteY3" fmla="*/ 6483350 h 6486875"/>
              <a:gd name="connsiteX4" fmla="*/ 3570019 w 10102850"/>
              <a:gd name="connsiteY4" fmla="*/ 5011947 h 6486875"/>
              <a:gd name="connsiteX5" fmla="*/ 1698085 w 10102850"/>
              <a:gd name="connsiteY5" fmla="*/ 2881222 h 6486875"/>
              <a:gd name="connsiteX6" fmla="*/ 2577980 w 10102850"/>
              <a:gd name="connsiteY6" fmla="*/ 1199071 h 6486875"/>
              <a:gd name="connsiteX7" fmla="*/ 957532 w 10102850"/>
              <a:gd name="connsiteY7" fmla="*/ 0 h 6486875"/>
              <a:gd name="connsiteX0" fmla="*/ 0 w 9145318"/>
              <a:gd name="connsiteY0" fmla="*/ 0 h 6512665"/>
              <a:gd name="connsiteX1" fmla="*/ 9145318 w 9145318"/>
              <a:gd name="connsiteY1" fmla="*/ 0 h 6512665"/>
              <a:gd name="connsiteX2" fmla="*/ 9145318 w 9145318"/>
              <a:gd name="connsiteY2" fmla="*/ 6483350 h 6512665"/>
              <a:gd name="connsiteX3" fmla="*/ 595223 w 9145318"/>
              <a:gd name="connsiteY3" fmla="*/ 6509229 h 6512665"/>
              <a:gd name="connsiteX4" fmla="*/ 2612487 w 9145318"/>
              <a:gd name="connsiteY4" fmla="*/ 5011947 h 6512665"/>
              <a:gd name="connsiteX5" fmla="*/ 740553 w 9145318"/>
              <a:gd name="connsiteY5" fmla="*/ 2881222 h 6512665"/>
              <a:gd name="connsiteX6" fmla="*/ 1620448 w 9145318"/>
              <a:gd name="connsiteY6" fmla="*/ 1199071 h 6512665"/>
              <a:gd name="connsiteX7" fmla="*/ 0 w 9145318"/>
              <a:gd name="connsiteY7" fmla="*/ 0 h 6512665"/>
              <a:gd name="connsiteX0" fmla="*/ 362309 w 9507627"/>
              <a:gd name="connsiteY0" fmla="*/ 0 h 6486875"/>
              <a:gd name="connsiteX1" fmla="*/ 9507627 w 9507627"/>
              <a:gd name="connsiteY1" fmla="*/ 0 h 6486875"/>
              <a:gd name="connsiteX2" fmla="*/ 9507627 w 9507627"/>
              <a:gd name="connsiteY2" fmla="*/ 6483350 h 6486875"/>
              <a:gd name="connsiteX3" fmla="*/ 0 w 9507627"/>
              <a:gd name="connsiteY3" fmla="*/ 6483350 h 6486875"/>
              <a:gd name="connsiteX4" fmla="*/ 2974796 w 9507627"/>
              <a:gd name="connsiteY4" fmla="*/ 5011947 h 6486875"/>
              <a:gd name="connsiteX5" fmla="*/ 1102862 w 9507627"/>
              <a:gd name="connsiteY5" fmla="*/ 2881222 h 6486875"/>
              <a:gd name="connsiteX6" fmla="*/ 1982757 w 9507627"/>
              <a:gd name="connsiteY6" fmla="*/ 1199071 h 6486875"/>
              <a:gd name="connsiteX7" fmla="*/ 362309 w 9507627"/>
              <a:gd name="connsiteY7" fmla="*/ 0 h 6486875"/>
              <a:gd name="connsiteX0" fmla="*/ 362309 w 9507627"/>
              <a:gd name="connsiteY0" fmla="*/ 0 h 6486446"/>
              <a:gd name="connsiteX1" fmla="*/ 9507627 w 9507627"/>
              <a:gd name="connsiteY1" fmla="*/ 0 h 6486446"/>
              <a:gd name="connsiteX2" fmla="*/ 9507627 w 9507627"/>
              <a:gd name="connsiteY2" fmla="*/ 6483350 h 6486446"/>
              <a:gd name="connsiteX3" fmla="*/ 0 w 9507627"/>
              <a:gd name="connsiteY3" fmla="*/ 6483350 h 6486446"/>
              <a:gd name="connsiteX4" fmla="*/ 2560728 w 9507627"/>
              <a:gd name="connsiteY4" fmla="*/ 4873924 h 6486446"/>
              <a:gd name="connsiteX5" fmla="*/ 1102862 w 9507627"/>
              <a:gd name="connsiteY5" fmla="*/ 2881222 h 6486446"/>
              <a:gd name="connsiteX6" fmla="*/ 1982757 w 9507627"/>
              <a:gd name="connsiteY6" fmla="*/ 1199071 h 6486446"/>
              <a:gd name="connsiteX7" fmla="*/ 362309 w 9507627"/>
              <a:gd name="connsiteY7" fmla="*/ 0 h 6486446"/>
              <a:gd name="connsiteX0" fmla="*/ 362309 w 9507627"/>
              <a:gd name="connsiteY0" fmla="*/ 0 h 6486446"/>
              <a:gd name="connsiteX1" fmla="*/ 9507627 w 9507627"/>
              <a:gd name="connsiteY1" fmla="*/ 0 h 6486446"/>
              <a:gd name="connsiteX2" fmla="*/ 9507627 w 9507627"/>
              <a:gd name="connsiteY2" fmla="*/ 6483350 h 6486446"/>
              <a:gd name="connsiteX3" fmla="*/ 0 w 9507627"/>
              <a:gd name="connsiteY3" fmla="*/ 6483350 h 6486446"/>
              <a:gd name="connsiteX4" fmla="*/ 2560728 w 9507627"/>
              <a:gd name="connsiteY4" fmla="*/ 4873924 h 6486446"/>
              <a:gd name="connsiteX5" fmla="*/ 1102862 w 9507627"/>
              <a:gd name="connsiteY5" fmla="*/ 2881222 h 6486446"/>
              <a:gd name="connsiteX6" fmla="*/ 1982757 w 9507627"/>
              <a:gd name="connsiteY6" fmla="*/ 1199071 h 6486446"/>
              <a:gd name="connsiteX7" fmla="*/ 362309 w 9507627"/>
              <a:gd name="connsiteY7" fmla="*/ 0 h 6486446"/>
              <a:gd name="connsiteX0" fmla="*/ 362309 w 9507627"/>
              <a:gd name="connsiteY0" fmla="*/ 0 h 6487384"/>
              <a:gd name="connsiteX1" fmla="*/ 9507627 w 9507627"/>
              <a:gd name="connsiteY1" fmla="*/ 0 h 6487384"/>
              <a:gd name="connsiteX2" fmla="*/ 9507627 w 9507627"/>
              <a:gd name="connsiteY2" fmla="*/ 6483350 h 6487384"/>
              <a:gd name="connsiteX3" fmla="*/ 0 w 9507627"/>
              <a:gd name="connsiteY3" fmla="*/ 6483350 h 6487384"/>
              <a:gd name="connsiteX4" fmla="*/ 2560728 w 9507627"/>
              <a:gd name="connsiteY4" fmla="*/ 4873924 h 6487384"/>
              <a:gd name="connsiteX5" fmla="*/ 1102862 w 9507627"/>
              <a:gd name="connsiteY5" fmla="*/ 2881222 h 6487384"/>
              <a:gd name="connsiteX6" fmla="*/ 1982757 w 9507627"/>
              <a:gd name="connsiteY6" fmla="*/ 1199071 h 6487384"/>
              <a:gd name="connsiteX7" fmla="*/ 362309 w 9507627"/>
              <a:gd name="connsiteY7" fmla="*/ 0 h 6487384"/>
              <a:gd name="connsiteX0" fmla="*/ 362309 w 9507627"/>
              <a:gd name="connsiteY0" fmla="*/ 0 h 6487677"/>
              <a:gd name="connsiteX1" fmla="*/ 9507627 w 9507627"/>
              <a:gd name="connsiteY1" fmla="*/ 0 h 6487677"/>
              <a:gd name="connsiteX2" fmla="*/ 9507627 w 9507627"/>
              <a:gd name="connsiteY2" fmla="*/ 6483350 h 6487677"/>
              <a:gd name="connsiteX3" fmla="*/ 0 w 9507627"/>
              <a:gd name="connsiteY3" fmla="*/ 6483350 h 6487677"/>
              <a:gd name="connsiteX4" fmla="*/ 2560728 w 9507627"/>
              <a:gd name="connsiteY4" fmla="*/ 4873924 h 6487677"/>
              <a:gd name="connsiteX5" fmla="*/ 1102862 w 9507627"/>
              <a:gd name="connsiteY5" fmla="*/ 2881222 h 6487677"/>
              <a:gd name="connsiteX6" fmla="*/ 1982757 w 9507627"/>
              <a:gd name="connsiteY6" fmla="*/ 1199071 h 6487677"/>
              <a:gd name="connsiteX7" fmla="*/ 362309 w 9507627"/>
              <a:gd name="connsiteY7" fmla="*/ 0 h 6487677"/>
              <a:gd name="connsiteX0" fmla="*/ 362309 w 9507627"/>
              <a:gd name="connsiteY0" fmla="*/ 0 h 6487505"/>
              <a:gd name="connsiteX1" fmla="*/ 9507627 w 9507627"/>
              <a:gd name="connsiteY1" fmla="*/ 0 h 6487505"/>
              <a:gd name="connsiteX2" fmla="*/ 9507627 w 9507627"/>
              <a:gd name="connsiteY2" fmla="*/ 6483350 h 6487505"/>
              <a:gd name="connsiteX3" fmla="*/ 0 w 9507627"/>
              <a:gd name="connsiteY3" fmla="*/ 6483350 h 6487505"/>
              <a:gd name="connsiteX4" fmla="*/ 2560728 w 9507627"/>
              <a:gd name="connsiteY4" fmla="*/ 4873924 h 6487505"/>
              <a:gd name="connsiteX5" fmla="*/ 1102862 w 9507627"/>
              <a:gd name="connsiteY5" fmla="*/ 2881222 h 6487505"/>
              <a:gd name="connsiteX6" fmla="*/ 1982757 w 9507627"/>
              <a:gd name="connsiteY6" fmla="*/ 1199071 h 6487505"/>
              <a:gd name="connsiteX7" fmla="*/ 362309 w 9507627"/>
              <a:gd name="connsiteY7" fmla="*/ 0 h 6487505"/>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60728 w 9507627"/>
              <a:gd name="connsiteY4" fmla="*/ 4873924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741882 w 9507627"/>
              <a:gd name="connsiteY4" fmla="*/ 4891177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86607 w 9507627"/>
              <a:gd name="connsiteY4" fmla="*/ 4684143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86607 w 9507627"/>
              <a:gd name="connsiteY4" fmla="*/ 4684143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86607 w 9507627"/>
              <a:gd name="connsiteY4" fmla="*/ 4684143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86607 w 9507627"/>
              <a:gd name="connsiteY4" fmla="*/ 4684143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86607 w 9507627"/>
              <a:gd name="connsiteY4" fmla="*/ 4684143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17596 w 9507627"/>
              <a:gd name="connsiteY4" fmla="*/ 4701395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70147 w 9507627"/>
              <a:gd name="connsiteY4" fmla="*/ 4743437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38616 w 9507627"/>
              <a:gd name="connsiteY4" fmla="*/ 4795989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350"/>
              <a:gd name="connsiteX1" fmla="*/ 9507627 w 9507627"/>
              <a:gd name="connsiteY1" fmla="*/ 0 h 6483350"/>
              <a:gd name="connsiteX2" fmla="*/ 9507627 w 9507627"/>
              <a:gd name="connsiteY2" fmla="*/ 6483350 h 6483350"/>
              <a:gd name="connsiteX3" fmla="*/ 0 w 9507627"/>
              <a:gd name="connsiteY3" fmla="*/ 6483350 h 6483350"/>
              <a:gd name="connsiteX4" fmla="*/ 2538616 w 9507627"/>
              <a:gd name="connsiteY4" fmla="*/ 4795989 h 6483350"/>
              <a:gd name="connsiteX5" fmla="*/ 1102862 w 9507627"/>
              <a:gd name="connsiteY5" fmla="*/ 2881222 h 6483350"/>
              <a:gd name="connsiteX6" fmla="*/ 1982757 w 9507627"/>
              <a:gd name="connsiteY6" fmla="*/ 1199071 h 6483350"/>
              <a:gd name="connsiteX7" fmla="*/ 362309 w 9507627"/>
              <a:gd name="connsiteY7" fmla="*/ 0 h 6483350"/>
              <a:gd name="connsiteX0" fmla="*/ 362309 w 9507627"/>
              <a:gd name="connsiteY0" fmla="*/ 0 h 6483509"/>
              <a:gd name="connsiteX1" fmla="*/ 9507627 w 9507627"/>
              <a:gd name="connsiteY1" fmla="*/ 0 h 6483509"/>
              <a:gd name="connsiteX2" fmla="*/ 9507627 w 9507627"/>
              <a:gd name="connsiteY2" fmla="*/ 6483350 h 6483509"/>
              <a:gd name="connsiteX3" fmla="*/ 0 w 9507627"/>
              <a:gd name="connsiteY3" fmla="*/ 6483350 h 6483509"/>
              <a:gd name="connsiteX4" fmla="*/ 2538616 w 9507627"/>
              <a:gd name="connsiteY4" fmla="*/ 4795989 h 6483509"/>
              <a:gd name="connsiteX5" fmla="*/ 1102862 w 9507627"/>
              <a:gd name="connsiteY5" fmla="*/ 2881222 h 6483509"/>
              <a:gd name="connsiteX6" fmla="*/ 1982757 w 9507627"/>
              <a:gd name="connsiteY6" fmla="*/ 1199071 h 6483509"/>
              <a:gd name="connsiteX7" fmla="*/ 362309 w 9507627"/>
              <a:gd name="connsiteY7" fmla="*/ 0 h 6483509"/>
              <a:gd name="connsiteX0" fmla="*/ 362309 w 9507627"/>
              <a:gd name="connsiteY0" fmla="*/ 0 h 6483497"/>
              <a:gd name="connsiteX1" fmla="*/ 9507627 w 9507627"/>
              <a:gd name="connsiteY1" fmla="*/ 0 h 6483497"/>
              <a:gd name="connsiteX2" fmla="*/ 9507627 w 9507627"/>
              <a:gd name="connsiteY2" fmla="*/ 6483350 h 6483497"/>
              <a:gd name="connsiteX3" fmla="*/ 0 w 9507627"/>
              <a:gd name="connsiteY3" fmla="*/ 6483350 h 6483497"/>
              <a:gd name="connsiteX4" fmla="*/ 2559637 w 9507627"/>
              <a:gd name="connsiteY4" fmla="*/ 4743438 h 6483497"/>
              <a:gd name="connsiteX5" fmla="*/ 1102862 w 9507627"/>
              <a:gd name="connsiteY5" fmla="*/ 2881222 h 6483497"/>
              <a:gd name="connsiteX6" fmla="*/ 1982757 w 9507627"/>
              <a:gd name="connsiteY6" fmla="*/ 1199071 h 6483497"/>
              <a:gd name="connsiteX7" fmla="*/ 362309 w 9507627"/>
              <a:gd name="connsiteY7" fmla="*/ 0 h 6483497"/>
              <a:gd name="connsiteX0" fmla="*/ 362309 w 9507627"/>
              <a:gd name="connsiteY0" fmla="*/ 0 h 6483469"/>
              <a:gd name="connsiteX1" fmla="*/ 9507627 w 9507627"/>
              <a:gd name="connsiteY1" fmla="*/ 0 h 6483469"/>
              <a:gd name="connsiteX2" fmla="*/ 9507627 w 9507627"/>
              <a:gd name="connsiteY2" fmla="*/ 6483350 h 6483469"/>
              <a:gd name="connsiteX3" fmla="*/ 0 w 9507627"/>
              <a:gd name="connsiteY3" fmla="*/ 6483350 h 6483469"/>
              <a:gd name="connsiteX4" fmla="*/ 2559637 w 9507627"/>
              <a:gd name="connsiteY4" fmla="*/ 4743438 h 6483469"/>
              <a:gd name="connsiteX5" fmla="*/ 1102862 w 9507627"/>
              <a:gd name="connsiteY5" fmla="*/ 2881222 h 6483469"/>
              <a:gd name="connsiteX6" fmla="*/ 1982757 w 9507627"/>
              <a:gd name="connsiteY6" fmla="*/ 1199071 h 6483469"/>
              <a:gd name="connsiteX7" fmla="*/ 362309 w 9507627"/>
              <a:gd name="connsiteY7" fmla="*/ 0 h 6483469"/>
              <a:gd name="connsiteX0" fmla="*/ 362309 w 9507627"/>
              <a:gd name="connsiteY0" fmla="*/ 0 h 6483776"/>
              <a:gd name="connsiteX1" fmla="*/ 9507627 w 9507627"/>
              <a:gd name="connsiteY1" fmla="*/ 0 h 6483776"/>
              <a:gd name="connsiteX2" fmla="*/ 9507627 w 9507627"/>
              <a:gd name="connsiteY2" fmla="*/ 6483350 h 6483776"/>
              <a:gd name="connsiteX3" fmla="*/ 0 w 9507627"/>
              <a:gd name="connsiteY3" fmla="*/ 6483350 h 6483776"/>
              <a:gd name="connsiteX4" fmla="*/ 2559637 w 9507627"/>
              <a:gd name="connsiteY4" fmla="*/ 4743438 h 6483776"/>
              <a:gd name="connsiteX5" fmla="*/ 1102862 w 9507627"/>
              <a:gd name="connsiteY5" fmla="*/ 2881222 h 6483776"/>
              <a:gd name="connsiteX6" fmla="*/ 1982757 w 9507627"/>
              <a:gd name="connsiteY6" fmla="*/ 1199071 h 6483776"/>
              <a:gd name="connsiteX7" fmla="*/ 362309 w 9507627"/>
              <a:gd name="connsiteY7" fmla="*/ 0 h 6483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07627" h="6483776">
                <a:moveTo>
                  <a:pt x="362309" y="0"/>
                </a:moveTo>
                <a:lnTo>
                  <a:pt x="9507627" y="0"/>
                </a:lnTo>
                <a:lnTo>
                  <a:pt x="9507627" y="6483350"/>
                </a:lnTo>
                <a:lnTo>
                  <a:pt x="0" y="6483350"/>
                </a:lnTo>
                <a:cubicBezTo>
                  <a:pt x="1986313" y="6505435"/>
                  <a:pt x="2488964" y="5666141"/>
                  <a:pt x="2559637" y="4743438"/>
                </a:cubicBezTo>
                <a:cubicBezTo>
                  <a:pt x="2585297" y="3967681"/>
                  <a:pt x="2356568" y="3260785"/>
                  <a:pt x="1102862" y="2881222"/>
                </a:cubicBezTo>
                <a:cubicBezTo>
                  <a:pt x="1843076" y="2630237"/>
                  <a:pt x="2124873" y="1846052"/>
                  <a:pt x="1982757" y="1199071"/>
                </a:cubicBezTo>
                <a:cubicBezTo>
                  <a:pt x="1727279" y="238664"/>
                  <a:pt x="1023228" y="71886"/>
                  <a:pt x="362309" y="0"/>
                </a:cubicBezTo>
                <a:close/>
              </a:path>
            </a:pathLst>
          </a:custGeom>
          <a:noFill/>
        </p:spPr>
        <p:txBody>
          <a:bodyPr/>
          <a:lstStyle/>
          <a:p>
            <a:r>
              <a:rPr lang="nl-NL"/>
              <a:t>Klik op het pictogram als u een afbeelding wilt toevoegen</a:t>
            </a:r>
            <a:endParaRPr lang="nl-NL" dirty="0"/>
          </a:p>
        </p:txBody>
      </p:sp>
      <p:pic>
        <p:nvPicPr>
          <p:cNvPr id="8" name="Afbeelding 7">
            <a:extLst>
              <a:ext uri="{FF2B5EF4-FFF2-40B4-BE49-F238E27FC236}">
                <a16:creationId xmlns:a16="http://schemas.microsoft.com/office/drawing/2014/main" id="{B25A3E3D-8805-4ADC-AD90-6FD186E5E8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8961"/>
          <a:stretch/>
        </p:blipFill>
        <p:spPr>
          <a:xfrm>
            <a:off x="-33606" y="1"/>
            <a:ext cx="5030464" cy="6894943"/>
          </a:xfrm>
          <a:prstGeom prst="rect">
            <a:avLst/>
          </a:prstGeom>
        </p:spPr>
      </p:pic>
      <p:pic>
        <p:nvPicPr>
          <p:cNvPr id="11" name="Afbeelding 10">
            <a:extLst>
              <a:ext uri="{FF2B5EF4-FFF2-40B4-BE49-F238E27FC236}">
                <a16:creationId xmlns:a16="http://schemas.microsoft.com/office/drawing/2014/main" id="{64DF93C0-FF85-433D-BA5F-3506E5D4EBCC}"/>
              </a:ext>
            </a:extLst>
          </p:cNvPr>
          <p:cNvPicPr>
            <a:picLocks noChangeAspect="1"/>
          </p:cNvPicPr>
          <p:nvPr userDrawn="1"/>
        </p:nvPicPr>
        <p:blipFill>
          <a:blip r:embed="rId3"/>
          <a:stretch>
            <a:fillRect/>
          </a:stretch>
        </p:blipFill>
        <p:spPr>
          <a:xfrm>
            <a:off x="559273" y="519484"/>
            <a:ext cx="841377" cy="889108"/>
          </a:xfrm>
          <a:prstGeom prst="rect">
            <a:avLst/>
          </a:prstGeom>
        </p:spPr>
      </p:pic>
      <p:sp>
        <p:nvSpPr>
          <p:cNvPr id="19" name="Tijdelijke aanduiding voor tekst 18">
            <a:extLst>
              <a:ext uri="{FF2B5EF4-FFF2-40B4-BE49-F238E27FC236}">
                <a16:creationId xmlns:a16="http://schemas.microsoft.com/office/drawing/2014/main" id="{A97CC130-47C8-4657-AA6A-29B9CB7F29E3}"/>
              </a:ext>
            </a:extLst>
          </p:cNvPr>
          <p:cNvSpPr>
            <a:spLocks noGrp="1"/>
          </p:cNvSpPr>
          <p:nvPr>
            <p:ph type="body" sz="quarter" idx="11" hasCustomPrompt="1"/>
          </p:nvPr>
        </p:nvSpPr>
        <p:spPr>
          <a:xfrm>
            <a:off x="528753" y="3552647"/>
            <a:ext cx="3550930" cy="2213849"/>
          </a:xfrm>
          <a:prstGeom prst="rect">
            <a:avLst/>
          </a:prstGeom>
        </p:spPr>
        <p:txBody>
          <a:bodyPr/>
          <a:lstStyle>
            <a:lvl1pPr indent="-483626">
              <a:lnSpc>
                <a:spcPts val="7616"/>
              </a:lnSpc>
              <a:defRPr sz="7616">
                <a:solidFill>
                  <a:schemeClr val="bg1"/>
                </a:solidFill>
              </a:defRPr>
            </a:lvl1pPr>
          </a:lstStyle>
          <a:p>
            <a:pPr lvl="0"/>
            <a:r>
              <a:rPr lang="nl-NL" dirty="0"/>
              <a:t>Titel</a:t>
            </a:r>
          </a:p>
        </p:txBody>
      </p:sp>
      <p:sp>
        <p:nvSpPr>
          <p:cNvPr id="10" name="Tijdelijke aanduiding voor datum 3">
            <a:extLst>
              <a:ext uri="{FF2B5EF4-FFF2-40B4-BE49-F238E27FC236}">
                <a16:creationId xmlns:a16="http://schemas.microsoft.com/office/drawing/2014/main" id="{347B6E6D-369D-4602-A43A-D2FD55ACD331}"/>
              </a:ext>
            </a:extLst>
          </p:cNvPr>
          <p:cNvSpPr>
            <a:spLocks noGrp="1"/>
          </p:cNvSpPr>
          <p:nvPr>
            <p:ph type="dt" sz="half" idx="2"/>
          </p:nvPr>
        </p:nvSpPr>
        <p:spPr>
          <a:xfrm>
            <a:off x="530964" y="5847100"/>
            <a:ext cx="3548719" cy="366073"/>
          </a:xfrm>
          <a:prstGeom prst="rect">
            <a:avLst/>
          </a:prstGeom>
        </p:spPr>
        <p:txBody>
          <a:bodyPr vert="horz" lIns="91440" tIns="45720" rIns="91440" bIns="45720" rtlCol="0" anchor="ctr"/>
          <a:lstStyle>
            <a:lvl1pPr algn="ctr">
              <a:defRPr sz="1904">
                <a:solidFill>
                  <a:srgbClr val="F1F1F2"/>
                </a:solidFill>
                <a:latin typeface="Calibri" panose="020F0502020204030204" pitchFamily="34" charset="0"/>
                <a:cs typeface="Calibri" panose="020F0502020204030204" pitchFamily="34" charset="0"/>
              </a:defRPr>
            </a:lvl1pPr>
          </a:lstStyle>
          <a:p>
            <a:pPr algn="l"/>
            <a:fld id="{E7672A57-AC1B-4BFC-954C-4ACF5F26CC59}" type="datetime1">
              <a:rPr lang="nl-NL" smtClean="0"/>
              <a:t>28-9-2022</a:t>
            </a:fld>
            <a:endParaRPr lang="nl-NL" dirty="0"/>
          </a:p>
        </p:txBody>
      </p:sp>
    </p:spTree>
    <p:extLst>
      <p:ext uri="{BB962C8B-B14F-4D97-AF65-F5344CB8AC3E}">
        <p14:creationId xmlns:p14="http://schemas.microsoft.com/office/powerpoint/2010/main" val="1296006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Hoofdstukslide + f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D11341-CB79-43A3-9E17-8A66C37BD167}"/>
              </a:ext>
            </a:extLst>
          </p:cNvPr>
          <p:cNvGraphicFramePr>
            <a:graphicFrameLocks noChangeAspect="1"/>
          </p:cNvGraphicFramePr>
          <p:nvPr userDrawn="1">
            <p:custDataLst>
              <p:tags r:id="rId1"/>
            </p:custDataLst>
            <p:extLst>
              <p:ext uri="{D42A27DB-BD31-4B8C-83A1-F6EECF244321}">
                <p14:modId xmlns:p14="http://schemas.microsoft.com/office/powerpoint/2010/main" val="168153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E0D11341-CB79-43A3-9E17-8A66C37BD1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17A66FAD-DAAE-494D-AFE9-E97D65F2061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93" name="Vrije vorm: vorm 92">
            <a:extLst>
              <a:ext uri="{FF2B5EF4-FFF2-40B4-BE49-F238E27FC236}">
                <a16:creationId xmlns:a16="http://schemas.microsoft.com/office/drawing/2014/main" id="{2283EC93-D09F-472C-A911-EE2C2FD388B5}"/>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214313" y="219075"/>
            <a:ext cx="11767696" cy="6419849"/>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rgbClr val="002857"/>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2" name="Titel 1"/>
          <p:cNvSpPr>
            <a:spLocks noGrp="1"/>
          </p:cNvSpPr>
          <p:nvPr>
            <p:ph type="title" hasCustomPrompt="1"/>
          </p:nvPr>
        </p:nvSpPr>
        <p:spPr>
          <a:xfrm>
            <a:off x="1513490" y="1767900"/>
            <a:ext cx="4582510" cy="2994599"/>
          </a:xfrm>
        </p:spPr>
        <p:txBody>
          <a:bodyPr anchor="t"/>
          <a:lstStyle>
            <a:lvl1pPr>
              <a:defRPr sz="4000">
                <a:solidFill>
                  <a:srgbClr val="002857"/>
                </a:solidFill>
              </a:defRPr>
            </a:lvl1pPr>
          </a:lstStyle>
          <a:p>
            <a:r>
              <a:rPr lang="nl-NL"/>
              <a:t>Plaats hier je hoofdstuktitel,</a:t>
            </a:r>
            <a:br>
              <a:rPr lang="nl-NL"/>
            </a:br>
            <a:r>
              <a:rPr lang="nl-NL"/>
              <a:t>de tekst is altijd links uitgelijnd.</a:t>
            </a:r>
            <a:br>
              <a:rPr lang="nl-NL"/>
            </a:br>
            <a:r>
              <a:rPr lang="nl-NL"/>
              <a:t>Max. 5 regels.</a:t>
            </a:r>
          </a:p>
        </p:txBody>
      </p:sp>
      <p:sp>
        <p:nvSpPr>
          <p:cNvPr id="81" name="Tijdelijke aanduiding voor verticale tekst 2">
            <a:extLst>
              <a:ext uri="{FF2B5EF4-FFF2-40B4-BE49-F238E27FC236}">
                <a16:creationId xmlns:a16="http://schemas.microsoft.com/office/drawing/2014/main" id="{CAF6FA28-C3A3-4B1E-9A95-10719E0CA843}"/>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386686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oofdstukslide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34DE7F-C5E9-47CD-85F6-2D0B6C28752C}"/>
              </a:ext>
            </a:extLst>
          </p:cNvPr>
          <p:cNvGraphicFramePr>
            <a:graphicFrameLocks noChangeAspect="1"/>
          </p:cNvGraphicFramePr>
          <p:nvPr userDrawn="1">
            <p:custDataLst>
              <p:tags r:id="rId1"/>
            </p:custDataLst>
            <p:extLst>
              <p:ext uri="{D42A27DB-BD31-4B8C-83A1-F6EECF244321}">
                <p14:modId xmlns:p14="http://schemas.microsoft.com/office/powerpoint/2010/main" val="735462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5034DE7F-C5E9-47CD-85F6-2D0B6C2875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FF227C14-5E5F-4629-A135-E3A04C51DD0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3" name="Rechthoek 2">
            <a:extLst>
              <a:ext uri="{FF2B5EF4-FFF2-40B4-BE49-F238E27FC236}">
                <a16:creationId xmlns:a16="http://schemas.microsoft.com/office/drawing/2014/main" id="{8E6A9C01-D5BC-45D2-A6DC-609E5569AA70}"/>
              </a:ext>
            </a:extLst>
          </p:cNvPr>
          <p:cNvSpPr/>
          <p:nvPr userDrawn="1"/>
        </p:nvSpPr>
        <p:spPr>
          <a:xfrm>
            <a:off x="0" y="-28575"/>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Vrije vorm: vorm 27">
            <a:extLst>
              <a:ext uri="{FF2B5EF4-FFF2-40B4-BE49-F238E27FC236}">
                <a16:creationId xmlns:a16="http://schemas.microsoft.com/office/drawing/2014/main" id="{92441A40-A10C-45FF-A9BB-96102D4B5869}"/>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7" name="Tijdelijke aanduiding voor verticale tekst 2">
            <a:extLst>
              <a:ext uri="{FF2B5EF4-FFF2-40B4-BE49-F238E27FC236}">
                <a16:creationId xmlns:a16="http://schemas.microsoft.com/office/drawing/2014/main" id="{324367F7-ABFF-46E1-BB8E-B0D2FDBFA329}"/>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252253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oofdstuk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68366B-7747-425A-97FE-5C703F451EC2}"/>
              </a:ext>
            </a:extLst>
          </p:cNvPr>
          <p:cNvGraphicFramePr>
            <a:graphicFrameLocks noChangeAspect="1"/>
          </p:cNvGraphicFramePr>
          <p:nvPr userDrawn="1">
            <p:custDataLst>
              <p:tags r:id="rId1"/>
            </p:custDataLst>
            <p:extLst>
              <p:ext uri="{D42A27DB-BD31-4B8C-83A1-F6EECF244321}">
                <p14:modId xmlns:p14="http://schemas.microsoft.com/office/powerpoint/2010/main" val="224087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C668366B-7747-425A-97FE-5C703F451E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A05CDA5E-76C6-4310-AD2A-202A2B18E12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Vrije vorm: vorm 22">
            <a:extLst>
              <a:ext uri="{FF2B5EF4-FFF2-40B4-BE49-F238E27FC236}">
                <a16:creationId xmlns:a16="http://schemas.microsoft.com/office/drawing/2014/main" id="{A955C48F-37A2-4992-AF99-D9495BEBD40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D8322E68-65DE-4C3D-920A-6388A674D2C5}"/>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02AFC8D8-BC22-408E-88A4-BAC99A7CA89D}"/>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63414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oofdstukslide #3">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7CE4A18-5D8B-41F3-954A-951F126F5503}"/>
              </a:ext>
            </a:extLst>
          </p:cNvPr>
          <p:cNvGraphicFramePr>
            <a:graphicFrameLocks noChangeAspect="1"/>
          </p:cNvGraphicFramePr>
          <p:nvPr userDrawn="1">
            <p:custDataLst>
              <p:tags r:id="rId1"/>
            </p:custDataLst>
            <p:extLst>
              <p:ext uri="{D42A27DB-BD31-4B8C-83A1-F6EECF244321}">
                <p14:modId xmlns:p14="http://schemas.microsoft.com/office/powerpoint/2010/main" val="360797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77CE4A18-5D8B-41F3-954A-951F126F55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70C73DD4-5ABC-4FE1-857D-3CAD5A4A796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Vrije vorm: vorm 22">
            <a:extLst>
              <a:ext uri="{FF2B5EF4-FFF2-40B4-BE49-F238E27FC236}">
                <a16:creationId xmlns:a16="http://schemas.microsoft.com/office/drawing/2014/main" id="{F6227FD2-B578-478B-A310-03FEBDD94062}"/>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CEEDEE94-BDE2-404D-B28C-200426989E71}"/>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DE713034-7D04-4C46-B4AF-8D21A6C50523}"/>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4139462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oofdstukslide #4">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846057-1F0B-4DE2-A8D9-A6DA5F888A3B}"/>
              </a:ext>
            </a:extLst>
          </p:cNvPr>
          <p:cNvGraphicFramePr>
            <a:graphicFrameLocks noChangeAspect="1"/>
          </p:cNvGraphicFramePr>
          <p:nvPr userDrawn="1">
            <p:custDataLst>
              <p:tags r:id="rId1"/>
            </p:custDataLst>
            <p:extLst>
              <p:ext uri="{D42A27DB-BD31-4B8C-83A1-F6EECF244321}">
                <p14:modId xmlns:p14="http://schemas.microsoft.com/office/powerpoint/2010/main" val="4220493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0846057-1F0B-4DE2-A8D9-A6DA5F888A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977FF7F-0964-41A0-971F-F2F5F49911B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Vrije vorm: vorm 22">
            <a:extLst>
              <a:ext uri="{FF2B5EF4-FFF2-40B4-BE49-F238E27FC236}">
                <a16:creationId xmlns:a16="http://schemas.microsoft.com/office/drawing/2014/main" id="{2B69675E-2354-4813-BE46-966C6E5A829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4E2C0FD9-B956-484A-BD4C-2686EB8310AA}"/>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D2E8769C-1921-49E2-88BF-6D75A4DCE5DC}"/>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310503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oto + teks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2D0F0F-D907-479B-8767-16F3B896B663}"/>
              </a:ext>
            </a:extLst>
          </p:cNvPr>
          <p:cNvGraphicFramePr>
            <a:graphicFrameLocks noChangeAspect="1"/>
          </p:cNvGraphicFramePr>
          <p:nvPr userDrawn="1">
            <p:custDataLst>
              <p:tags r:id="rId1"/>
            </p:custDataLst>
            <p:extLst>
              <p:ext uri="{D42A27DB-BD31-4B8C-83A1-F6EECF244321}">
                <p14:modId xmlns:p14="http://schemas.microsoft.com/office/powerpoint/2010/main" val="1838213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72D0F0F-D907-479B-8767-16F3B896B6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4BD9BBB1-A4A8-47A0-B7C7-9453E7296A2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8" name="Vrije vorm: vorm 7">
            <a:extLst>
              <a:ext uri="{FF2B5EF4-FFF2-40B4-BE49-F238E27FC236}">
                <a16:creationId xmlns:a16="http://schemas.microsoft.com/office/drawing/2014/main" id="{48AEE671-35C9-49D8-9A7C-BF380044B10A}"/>
              </a:ext>
            </a:extLst>
          </p:cNvPr>
          <p:cNvSpPr/>
          <p:nvPr userDrawn="1"/>
        </p:nvSpPr>
        <p:spPr>
          <a:xfrm>
            <a:off x="0" y="0"/>
            <a:ext cx="6544611"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6" name="Tijdelijke aanduiding voor verticale tekst 2">
            <a:extLst>
              <a:ext uri="{FF2B5EF4-FFF2-40B4-BE49-F238E27FC236}">
                <a16:creationId xmlns:a16="http://schemas.microsoft.com/office/drawing/2014/main" id="{686E96B1-86AE-4C8A-B056-22C5C643A3CF}"/>
              </a:ext>
            </a:extLst>
          </p:cNvPr>
          <p:cNvSpPr>
            <a:spLocks noGrp="1"/>
          </p:cNvSpPr>
          <p:nvPr>
            <p:ph type="body" orient="vert" idx="1" hasCustomPrompt="1"/>
          </p:nvPr>
        </p:nvSpPr>
        <p:spPr>
          <a:xfrm>
            <a:off x="7357403" y="1347274"/>
            <a:ext cx="4313897"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 name="Titel 1">
            <a:extLst>
              <a:ext uri="{FF2B5EF4-FFF2-40B4-BE49-F238E27FC236}">
                <a16:creationId xmlns:a16="http://schemas.microsoft.com/office/drawing/2014/main" id="{0AE63374-C5CC-4138-9D5E-065AE371EF30}"/>
              </a:ext>
            </a:extLst>
          </p:cNvPr>
          <p:cNvSpPr>
            <a:spLocks noGrp="1"/>
          </p:cNvSpPr>
          <p:nvPr>
            <p:ph type="title" hasCustomPrompt="1"/>
          </p:nvPr>
        </p:nvSpPr>
        <p:spPr/>
        <p:txBody>
          <a:bodyPr/>
          <a:lstStyle>
            <a:lvl1pPr>
              <a:defRPr/>
            </a:lvl1pPr>
          </a:lstStyle>
          <a:p>
            <a:r>
              <a:rPr lang="nl-NL"/>
              <a:t>Plaats hier je titel</a:t>
            </a:r>
          </a:p>
        </p:txBody>
      </p:sp>
      <p:sp>
        <p:nvSpPr>
          <p:cNvPr id="148" name="Tijdelijke aanduiding voor afbeelding 8">
            <a:extLst>
              <a:ext uri="{FF2B5EF4-FFF2-40B4-BE49-F238E27FC236}">
                <a16:creationId xmlns:a16="http://schemas.microsoft.com/office/drawing/2014/main" id="{7496D8B7-54FE-4294-95D0-D1F990443D86}"/>
              </a:ext>
            </a:extLst>
          </p:cNvPr>
          <p:cNvSpPr>
            <a:spLocks noGrp="1"/>
          </p:cNvSpPr>
          <p:nvPr>
            <p:ph type="pic" sz="quarter" idx="14" hasCustomPrompt="1"/>
          </p:nvPr>
        </p:nvSpPr>
        <p:spPr>
          <a:xfrm>
            <a:off x="515937" y="1347275"/>
            <a:ext cx="4928259" cy="4993199"/>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a:p>
            <a:endParaRPr lang="nl-NL"/>
          </a:p>
        </p:txBody>
      </p:sp>
    </p:spTree>
    <p:extLst>
      <p:ext uri="{BB962C8B-B14F-4D97-AF65-F5344CB8AC3E}">
        <p14:creationId xmlns:p14="http://schemas.microsoft.com/office/powerpoint/2010/main" val="123133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 teks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C6A8671-B0D5-4D35-A147-384296C4F665}"/>
              </a:ext>
            </a:extLst>
          </p:cNvPr>
          <p:cNvGraphicFramePr>
            <a:graphicFrameLocks noChangeAspect="1"/>
          </p:cNvGraphicFramePr>
          <p:nvPr userDrawn="1">
            <p:custDataLst>
              <p:tags r:id="rId1"/>
            </p:custDataLst>
            <p:extLst>
              <p:ext uri="{D42A27DB-BD31-4B8C-83A1-F6EECF244321}">
                <p14:modId xmlns:p14="http://schemas.microsoft.com/office/powerpoint/2010/main" val="46646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C6A8671-B0D5-4D35-A147-384296C4F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5C19B140-BF0E-4D30-B43E-1A5BC47D083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8" name="Vrije vorm: vorm 7">
            <a:extLst>
              <a:ext uri="{FF2B5EF4-FFF2-40B4-BE49-F238E27FC236}">
                <a16:creationId xmlns:a16="http://schemas.microsoft.com/office/drawing/2014/main" id="{48AEE671-35C9-49D8-9A7C-BF380044B10A}"/>
              </a:ext>
            </a:extLst>
          </p:cNvPr>
          <p:cNvSpPr/>
          <p:nvPr userDrawn="1"/>
        </p:nvSpPr>
        <p:spPr>
          <a:xfrm>
            <a:off x="0" y="0"/>
            <a:ext cx="6544611"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515938" y="1347275"/>
            <a:ext cx="4928259" cy="49932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a:t>Klik op het onderstaand icoon </a:t>
            </a:r>
            <a:br>
              <a:rPr lang="nl-NL"/>
            </a:br>
            <a:r>
              <a:rPr lang="nl-NL"/>
              <a:t>om een video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6" name="Tijdelijke aanduiding voor verticale tekst 2">
            <a:extLst>
              <a:ext uri="{FF2B5EF4-FFF2-40B4-BE49-F238E27FC236}">
                <a16:creationId xmlns:a16="http://schemas.microsoft.com/office/drawing/2014/main" id="{686E96B1-86AE-4C8A-B056-22C5C643A3CF}"/>
              </a:ext>
            </a:extLst>
          </p:cNvPr>
          <p:cNvSpPr>
            <a:spLocks noGrp="1"/>
          </p:cNvSpPr>
          <p:nvPr>
            <p:ph type="body" orient="vert" idx="1" hasCustomPrompt="1"/>
          </p:nvPr>
        </p:nvSpPr>
        <p:spPr>
          <a:xfrm>
            <a:off x="7357403" y="1347274"/>
            <a:ext cx="4313897"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 name="Titel 1">
            <a:extLst>
              <a:ext uri="{FF2B5EF4-FFF2-40B4-BE49-F238E27FC236}">
                <a16:creationId xmlns:a16="http://schemas.microsoft.com/office/drawing/2014/main" id="{0AE63374-C5CC-4138-9D5E-065AE371EF30}"/>
              </a:ext>
            </a:extLst>
          </p:cNvPr>
          <p:cNvSpPr>
            <a:spLocks noGrp="1"/>
          </p:cNvSpPr>
          <p:nvPr>
            <p:ph type="title" hasCustomPrompt="1"/>
          </p:nvPr>
        </p:nvSpPr>
        <p:spPr/>
        <p:txBody>
          <a:bodyPr/>
          <a:lstStyle>
            <a:lvl1pPr>
              <a:defRPr/>
            </a:lvl1pPr>
          </a:lstStyle>
          <a:p>
            <a:r>
              <a:rPr lang="nl-NL"/>
              <a:t>Plaats hier je titel</a:t>
            </a:r>
          </a:p>
        </p:txBody>
      </p:sp>
    </p:spTree>
    <p:extLst>
      <p:ext uri="{BB962C8B-B14F-4D97-AF65-F5344CB8AC3E}">
        <p14:creationId xmlns:p14="http://schemas.microsoft.com/office/powerpoint/2010/main" val="133294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75E55-12AA-469E-846A-A886AAC26D9E}"/>
              </a:ext>
            </a:extLst>
          </p:cNvPr>
          <p:cNvGraphicFramePr>
            <a:graphicFrameLocks noChangeAspect="1"/>
          </p:cNvGraphicFramePr>
          <p:nvPr userDrawn="1">
            <p:custDataLst>
              <p:tags r:id="rId1"/>
            </p:custDataLst>
            <p:extLst>
              <p:ext uri="{D42A27DB-BD31-4B8C-83A1-F6EECF244321}">
                <p14:modId xmlns:p14="http://schemas.microsoft.com/office/powerpoint/2010/main" val="3115934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1175E55-12AA-469E-846A-A886AAC26D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D3A09C37-A83E-491E-954B-1C081452917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0" y="1342513"/>
            <a:ext cx="12192000" cy="49932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a:t>Klik op het onderstaand icoon </a:t>
            </a:r>
            <a:br>
              <a:rPr lang="nl-NL"/>
            </a:br>
            <a:r>
              <a:rPr lang="nl-NL"/>
              <a:t>om een vide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A0DE959A-F3F8-402E-9171-F53B059AE865}"/>
              </a:ext>
            </a:extLst>
          </p:cNvPr>
          <p:cNvSpPr>
            <a:spLocks noGrp="1"/>
          </p:cNvSpPr>
          <p:nvPr>
            <p:ph type="title" hasCustomPrompt="1"/>
          </p:nvPr>
        </p:nvSpPr>
        <p:spPr/>
        <p:txBody>
          <a:bodyPr/>
          <a:lstStyle>
            <a:lvl1pPr>
              <a:defRPr/>
            </a:lvl1pPr>
          </a:lstStyle>
          <a:p>
            <a:r>
              <a:rPr lang="nl-NL"/>
              <a:t>Plaats hier je titel</a:t>
            </a:r>
          </a:p>
        </p:txBody>
      </p:sp>
    </p:spTree>
    <p:extLst>
      <p:ext uri="{BB962C8B-B14F-4D97-AF65-F5344CB8AC3E}">
        <p14:creationId xmlns:p14="http://schemas.microsoft.com/office/powerpoint/2010/main" val="126430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Ful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FC7A7F-316F-4A20-9699-3F64286E45E3}"/>
              </a:ext>
            </a:extLst>
          </p:cNvPr>
          <p:cNvGraphicFramePr>
            <a:graphicFrameLocks noChangeAspect="1"/>
          </p:cNvGraphicFramePr>
          <p:nvPr userDrawn="1">
            <p:custDataLst>
              <p:tags r:id="rId1"/>
            </p:custDataLst>
            <p:extLst>
              <p:ext uri="{D42A27DB-BD31-4B8C-83A1-F6EECF244321}">
                <p14:modId xmlns:p14="http://schemas.microsoft.com/office/powerpoint/2010/main" val="357954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99FC7A7F-316F-4A20-9699-3F64286E45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0" y="0"/>
            <a:ext cx="12192000" cy="68580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a:t>Klik op het onderstaand icoon </a:t>
            </a:r>
            <a:br>
              <a:rPr lang="nl-NL"/>
            </a:br>
            <a:r>
              <a:rPr lang="nl-NL"/>
              <a:t>om een video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Tree>
    <p:extLst>
      <p:ext uri="{BB962C8B-B14F-4D97-AF65-F5344CB8AC3E}">
        <p14:creationId xmlns:p14="http://schemas.microsoft.com/office/powerpoint/2010/main" val="373170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en Grafiek">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9FA4AEB-006F-4879-960F-A0F16E1EAEF7}"/>
              </a:ext>
            </a:extLst>
          </p:cNvPr>
          <p:cNvGraphicFramePr>
            <a:graphicFrameLocks noChangeAspect="1"/>
          </p:cNvGraphicFramePr>
          <p:nvPr userDrawn="1">
            <p:custDataLst>
              <p:tags r:id="rId1"/>
            </p:custDataLst>
            <p:extLst>
              <p:ext uri="{D42A27DB-BD31-4B8C-83A1-F6EECF244321}">
                <p14:modId xmlns:p14="http://schemas.microsoft.com/office/powerpoint/2010/main" val="422820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A9FA4AEB-006F-4879-960F-A0F16E1EA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A3DB7D9-FCC1-4EFE-B68B-621496EEFCA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11" name="Vrije vorm: vorm 10">
            <a:extLst>
              <a:ext uri="{FF2B5EF4-FFF2-40B4-BE49-F238E27FC236}">
                <a16:creationId xmlns:a16="http://schemas.microsoft.com/office/drawing/2014/main" id="{775541D5-B384-448B-AAA8-54E544C75902}"/>
              </a:ext>
            </a:extLst>
          </p:cNvPr>
          <p:cNvSpPr/>
          <p:nvPr userDrawn="1"/>
        </p:nvSpPr>
        <p:spPr>
          <a:xfrm>
            <a:off x="1" y="0"/>
            <a:ext cx="6028673"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grafiek 12"/>
          <p:cNvSpPr>
            <a:spLocks noGrp="1"/>
          </p:cNvSpPr>
          <p:nvPr>
            <p:ph type="chart" sz="quarter" idx="14" hasCustomPrompt="1"/>
          </p:nvPr>
        </p:nvSpPr>
        <p:spPr>
          <a:xfrm>
            <a:off x="6794494" y="1355768"/>
            <a:ext cx="4876806" cy="4993200"/>
          </a:xfrm>
          <a:prstGeom prst="rect">
            <a:avLst/>
          </a:prstGeom>
          <a:noFill/>
          <a:ln>
            <a:noFill/>
          </a:ln>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grafiek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3" name="Tijdelijke aanduiding voor verticale tekst 2"/>
          <p:cNvSpPr>
            <a:spLocks noGrp="1"/>
          </p:cNvSpPr>
          <p:nvPr>
            <p:ph type="body" orient="vert" idx="1" hasCustomPrompt="1"/>
          </p:nvPr>
        </p:nvSpPr>
        <p:spPr>
          <a:xfrm>
            <a:off x="515939" y="1355767"/>
            <a:ext cx="4913311"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42712CEC-056C-4CC8-9E45-AEE0D769BB37}"/>
              </a:ext>
            </a:extLst>
          </p:cNvPr>
          <p:cNvSpPr>
            <a:spLocks noGrp="1"/>
          </p:cNvSpPr>
          <p:nvPr>
            <p:ph type="title" hasCustomPrompt="1"/>
          </p:nvPr>
        </p:nvSpPr>
        <p:spPr>
          <a:xfrm>
            <a:off x="515941" y="517525"/>
            <a:ext cx="4913309" cy="488950"/>
          </a:xfrm>
        </p:spPr>
        <p:txBody>
          <a:bodyPr/>
          <a:lstStyle>
            <a:lvl1pPr>
              <a:defRPr/>
            </a:lvl1pPr>
          </a:lstStyle>
          <a:p>
            <a:r>
              <a:rPr lang="nl-NL"/>
              <a:t>Plaats hier je titel</a:t>
            </a:r>
          </a:p>
        </p:txBody>
      </p:sp>
    </p:spTree>
    <p:extLst>
      <p:ext uri="{BB962C8B-B14F-4D97-AF65-F5344CB8AC3E}">
        <p14:creationId xmlns:p14="http://schemas.microsoft.com/office/powerpoint/2010/main" val="304159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ussenslide_korte titel_groen">
    <p:spTree>
      <p:nvGrpSpPr>
        <p:cNvPr id="1" name=""/>
        <p:cNvGrpSpPr/>
        <p:nvPr/>
      </p:nvGrpSpPr>
      <p:grpSpPr>
        <a:xfrm>
          <a:off x="0" y="0"/>
          <a:ext cx="0" cy="0"/>
          <a:chOff x="0" y="0"/>
          <a:chExt cx="0" cy="0"/>
        </a:xfrm>
      </p:grpSpPr>
      <p:pic>
        <p:nvPicPr>
          <p:cNvPr id="4" name="Afbeelding 3" descr="Afbeelding met bal, tennis, racket&#10;&#10;&#10;&#10;Automatisch gegenereerde beschrijving">
            <a:extLst>
              <a:ext uri="{FF2B5EF4-FFF2-40B4-BE49-F238E27FC236}">
                <a16:creationId xmlns:a16="http://schemas.microsoft.com/office/drawing/2014/main" id="{6BDF91B4-5151-4542-9205-E59AB972BF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59"/>
            <a:ext cx="12192000" cy="6851283"/>
          </a:xfrm>
          <a:prstGeom prst="rect">
            <a:avLst/>
          </a:prstGeom>
        </p:spPr>
      </p:pic>
      <p:sp>
        <p:nvSpPr>
          <p:cNvPr id="5" name="Tijdelijke aanduiding voor tekst 4">
            <a:extLst>
              <a:ext uri="{FF2B5EF4-FFF2-40B4-BE49-F238E27FC236}">
                <a16:creationId xmlns:a16="http://schemas.microsoft.com/office/drawing/2014/main" id="{C85ED2BE-8B7B-4AF8-A24B-90E9485CA030}"/>
              </a:ext>
            </a:extLst>
          </p:cNvPr>
          <p:cNvSpPr>
            <a:spLocks noGrp="1"/>
          </p:cNvSpPr>
          <p:nvPr>
            <p:ph type="body" sz="quarter" idx="12" hasCustomPrompt="1"/>
          </p:nvPr>
        </p:nvSpPr>
        <p:spPr>
          <a:xfrm>
            <a:off x="2627934" y="2312057"/>
            <a:ext cx="6855480" cy="2164786"/>
          </a:xfrm>
          <a:prstGeom prst="rect">
            <a:avLst/>
          </a:prstGeom>
        </p:spPr>
        <p:txBody>
          <a:bodyPr/>
          <a:lstStyle>
            <a:lvl1pPr indent="-483626" algn="ctr">
              <a:lnSpc>
                <a:spcPts val="7616"/>
              </a:lnSpc>
              <a:defRPr sz="7616">
                <a:solidFill>
                  <a:schemeClr val="bg1"/>
                </a:solidFill>
              </a:defRPr>
            </a:lvl1pPr>
            <a:lvl2pPr>
              <a:defRPr sz="7616">
                <a:solidFill>
                  <a:schemeClr val="bg1"/>
                </a:solidFill>
              </a:defRPr>
            </a:lvl2pPr>
            <a:lvl3pPr>
              <a:defRPr sz="7616">
                <a:solidFill>
                  <a:schemeClr val="bg1"/>
                </a:solidFill>
              </a:defRPr>
            </a:lvl3pPr>
            <a:lvl4pPr>
              <a:defRPr sz="7616">
                <a:solidFill>
                  <a:schemeClr val="bg1"/>
                </a:solidFill>
              </a:defRPr>
            </a:lvl4pPr>
            <a:lvl5pPr>
              <a:defRPr sz="7616">
                <a:solidFill>
                  <a:schemeClr val="bg1"/>
                </a:solidFill>
              </a:defRPr>
            </a:lvl5pPr>
          </a:lstStyle>
          <a:p>
            <a:pPr lvl="0"/>
            <a:r>
              <a:rPr lang="nl-NL" dirty="0"/>
              <a:t>Tussenslide met korte titel</a:t>
            </a:r>
          </a:p>
        </p:txBody>
      </p:sp>
    </p:spTree>
    <p:extLst>
      <p:ext uri="{BB962C8B-B14F-4D97-AF65-F5344CB8AC3E}">
        <p14:creationId xmlns:p14="http://schemas.microsoft.com/office/powerpoint/2010/main" val="42764480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afiek">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1B4F6D-86A2-47CB-96D5-7CA66AD876C6}"/>
              </a:ext>
            </a:extLst>
          </p:cNvPr>
          <p:cNvGraphicFramePr>
            <a:graphicFrameLocks noChangeAspect="1"/>
          </p:cNvGraphicFramePr>
          <p:nvPr userDrawn="1">
            <p:custDataLst>
              <p:tags r:id="rId1"/>
            </p:custDataLst>
            <p:extLst>
              <p:ext uri="{D42A27DB-BD31-4B8C-83A1-F6EECF244321}">
                <p14:modId xmlns:p14="http://schemas.microsoft.com/office/powerpoint/2010/main" val="236661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C1B4F6D-86A2-47CB-96D5-7CA66AD876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C6942A3C-ED06-4F83-B02C-C66DD95EF08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13" name="Tijdelijke aanduiding voor grafiek 12"/>
          <p:cNvSpPr>
            <a:spLocks noGrp="1"/>
          </p:cNvSpPr>
          <p:nvPr>
            <p:ph type="chart" sz="quarter" idx="14" hasCustomPrompt="1"/>
          </p:nvPr>
        </p:nvSpPr>
        <p:spPr>
          <a:xfrm>
            <a:off x="521553" y="1355767"/>
            <a:ext cx="11149747" cy="4993200"/>
          </a:xfrm>
          <a:prstGeom prst="rect">
            <a:avLst/>
          </a:prstGeom>
          <a:noFill/>
          <a:ln>
            <a:noFill/>
          </a:ln>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grafiek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2" name="Titel 1">
            <a:extLst>
              <a:ext uri="{FF2B5EF4-FFF2-40B4-BE49-F238E27FC236}">
                <a16:creationId xmlns:a16="http://schemas.microsoft.com/office/drawing/2014/main" id="{F98ABAF9-0134-4269-BA9B-0062111DB491}"/>
              </a:ext>
            </a:extLst>
          </p:cNvPr>
          <p:cNvSpPr>
            <a:spLocks noGrp="1"/>
          </p:cNvSpPr>
          <p:nvPr>
            <p:ph type="title" hasCustomPrompt="1"/>
          </p:nvPr>
        </p:nvSpPr>
        <p:spPr/>
        <p:txBody>
          <a:bodyPr/>
          <a:lstStyle>
            <a:lvl1pPr>
              <a:defRPr/>
            </a:lvl1pPr>
          </a:lstStyle>
          <a:p>
            <a:r>
              <a:rPr lang="nl-NL"/>
              <a:t>Plaats hier je titel</a:t>
            </a:r>
          </a:p>
        </p:txBody>
      </p:sp>
    </p:spTree>
    <p:extLst>
      <p:ext uri="{BB962C8B-B14F-4D97-AF65-F5344CB8AC3E}">
        <p14:creationId xmlns:p14="http://schemas.microsoft.com/office/powerpoint/2010/main" val="3362529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 en Tabel">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B122635-F2CE-4F58-9BBE-D3582F271F52}"/>
              </a:ext>
            </a:extLst>
          </p:cNvPr>
          <p:cNvGraphicFramePr>
            <a:graphicFrameLocks noChangeAspect="1"/>
          </p:cNvGraphicFramePr>
          <p:nvPr userDrawn="1">
            <p:custDataLst>
              <p:tags r:id="rId1"/>
            </p:custDataLst>
            <p:extLst>
              <p:ext uri="{D42A27DB-BD31-4B8C-83A1-F6EECF244321}">
                <p14:modId xmlns:p14="http://schemas.microsoft.com/office/powerpoint/2010/main" val="774324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0B122635-F2CE-4F58-9BBE-D3582F271F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9DFB02CA-23E6-4D6A-A27D-92208003E47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3" name="Tijdelijke aanduiding voor verticale tekst 2"/>
          <p:cNvSpPr>
            <a:spLocks noGrp="1"/>
          </p:cNvSpPr>
          <p:nvPr>
            <p:ph type="body" orient="vert" idx="1" hasCustomPrompt="1"/>
          </p:nvPr>
        </p:nvSpPr>
        <p:spPr>
          <a:xfrm>
            <a:off x="515938" y="1355767"/>
            <a:ext cx="5004752"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1" name="Tijdelijke aanduiding voor tabel 8"/>
          <p:cNvSpPr>
            <a:spLocks noGrp="1"/>
          </p:cNvSpPr>
          <p:nvPr>
            <p:ph type="tbl" sz="quarter" idx="15" hasCustomPrompt="1"/>
          </p:nvPr>
        </p:nvSpPr>
        <p:spPr>
          <a:xfrm>
            <a:off x="6794494" y="517525"/>
            <a:ext cx="4876806" cy="5818188"/>
          </a:xfrm>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tabel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4" name="Titel 3">
            <a:extLst>
              <a:ext uri="{FF2B5EF4-FFF2-40B4-BE49-F238E27FC236}">
                <a16:creationId xmlns:a16="http://schemas.microsoft.com/office/drawing/2014/main" id="{AD5B2F90-8068-41A9-818C-3BCD66E03FA5}"/>
              </a:ext>
            </a:extLst>
          </p:cNvPr>
          <p:cNvSpPr>
            <a:spLocks noGrp="1"/>
          </p:cNvSpPr>
          <p:nvPr>
            <p:ph type="title" hasCustomPrompt="1"/>
          </p:nvPr>
        </p:nvSpPr>
        <p:spPr>
          <a:xfrm>
            <a:off x="515941" y="517525"/>
            <a:ext cx="5004749" cy="488950"/>
          </a:xfrm>
        </p:spPr>
        <p:txBody>
          <a:bodyPr/>
          <a:lstStyle>
            <a:lvl1pPr>
              <a:defRPr/>
            </a:lvl1pPr>
          </a:lstStyle>
          <a:p>
            <a:r>
              <a:rPr lang="nl-NL"/>
              <a:t>Plaats hier je titel</a:t>
            </a:r>
          </a:p>
        </p:txBody>
      </p:sp>
    </p:spTree>
    <p:extLst>
      <p:ext uri="{BB962C8B-B14F-4D97-AF65-F5344CB8AC3E}">
        <p14:creationId xmlns:p14="http://schemas.microsoft.com/office/powerpoint/2010/main" val="395119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abe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DAEA3B-D814-40B8-B076-97BADF2718A0}"/>
              </a:ext>
            </a:extLst>
          </p:cNvPr>
          <p:cNvGraphicFramePr>
            <a:graphicFrameLocks noChangeAspect="1"/>
          </p:cNvGraphicFramePr>
          <p:nvPr userDrawn="1">
            <p:custDataLst>
              <p:tags r:id="rId1"/>
            </p:custDataLst>
            <p:extLst>
              <p:ext uri="{D42A27DB-BD31-4B8C-83A1-F6EECF244321}">
                <p14:modId xmlns:p14="http://schemas.microsoft.com/office/powerpoint/2010/main" val="26944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01DAEA3B-D814-40B8-B076-97BADF2718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D3481B8D-6632-4A57-9E86-1E45D96D7A0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39" name="Titel 38"/>
          <p:cNvSpPr>
            <a:spLocks noGrp="1"/>
          </p:cNvSpPr>
          <p:nvPr>
            <p:ph type="title" hasCustomPrompt="1"/>
          </p:nvPr>
        </p:nvSpPr>
        <p:spPr/>
        <p:txBody>
          <a:bodyPr/>
          <a:lstStyle>
            <a:lvl1pPr>
              <a:defRPr/>
            </a:lvl1pPr>
          </a:lstStyle>
          <a:p>
            <a:r>
              <a:rPr lang="nl-NL"/>
              <a:t>Plaats hier je 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1" name="Tijdelijke aanduiding voor tabel 8"/>
          <p:cNvSpPr>
            <a:spLocks noGrp="1"/>
          </p:cNvSpPr>
          <p:nvPr>
            <p:ph type="tbl" sz="quarter" idx="15" hasCustomPrompt="1"/>
          </p:nvPr>
        </p:nvSpPr>
        <p:spPr>
          <a:xfrm>
            <a:off x="515938" y="1347275"/>
            <a:ext cx="11155362" cy="4993200"/>
          </a:xfrm>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tabel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Tree>
    <p:extLst>
      <p:ext uri="{BB962C8B-B14F-4D97-AF65-F5344CB8AC3E}">
        <p14:creationId xmlns:p14="http://schemas.microsoft.com/office/powerpoint/2010/main" val="276580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Hoofdstukslide #6 en Bee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A33D6-829A-433A-A790-3941B0F2DAB2}"/>
              </a:ext>
            </a:extLst>
          </p:cNvPr>
          <p:cNvGraphicFramePr>
            <a:graphicFrameLocks noChangeAspect="1"/>
          </p:cNvGraphicFramePr>
          <p:nvPr userDrawn="1">
            <p:custDataLst>
              <p:tags r:id="rId1"/>
            </p:custDataLst>
            <p:extLst>
              <p:ext uri="{D42A27DB-BD31-4B8C-83A1-F6EECF244321}">
                <p14:modId xmlns:p14="http://schemas.microsoft.com/office/powerpoint/2010/main" val="1286736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BA33D6-829A-433A-A790-3941B0F2DA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0DCECF6E-259F-4C03-94E7-BDE772CEB21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6000" b="1" i="0" baseline="0">
              <a:latin typeface="Arial" panose="020B0604020202020204" pitchFamily="34" charset="0"/>
              <a:ea typeface="+mj-ea"/>
              <a:cs typeface="+mj-cs"/>
              <a:sym typeface="Arial" panose="020B0604020202020204" pitchFamily="34" charset="0"/>
            </a:endParaRPr>
          </a:p>
        </p:txBody>
      </p:sp>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1981200"/>
            <a:ext cx="6465210" cy="2644561"/>
          </a:xfrm>
        </p:spPr>
        <p:txBody>
          <a:bodyPr anchor="b"/>
          <a:lstStyle>
            <a:lvl1pPr algn="l">
              <a:defRPr sz="6000">
                <a:solidFill>
                  <a:schemeClr val="tx2"/>
                </a:solidFill>
              </a:defRPr>
            </a:lvl1pPr>
          </a:lstStyle>
          <a:p>
            <a:r>
              <a:rPr lang="nl-NL"/>
              <a:t>Plaats hier </a:t>
            </a:r>
            <a:br>
              <a:rPr lang="nl-NL"/>
            </a:br>
            <a:r>
              <a:rPr lang="nl-NL"/>
              <a:t>je titel</a:t>
            </a:r>
            <a:br>
              <a:rPr lang="nl-NL"/>
            </a:br>
            <a:r>
              <a:rPr lang="nl-NL"/>
              <a:t>max. 3 regels</a:t>
            </a:r>
          </a:p>
        </p:txBody>
      </p:sp>
      <p:sp>
        <p:nvSpPr>
          <p:cNvPr id="31" name="Ondertitel 2">
            <a:extLst>
              <a:ext uri="{FF2B5EF4-FFF2-40B4-BE49-F238E27FC236}">
                <a16:creationId xmlns:a16="http://schemas.microsoft.com/office/drawing/2014/main" id="{9BD48850-E252-4689-9ACE-CD081746F165}"/>
              </a:ext>
            </a:extLst>
          </p:cNvPr>
          <p:cNvSpPr>
            <a:spLocks noGrp="1"/>
          </p:cNvSpPr>
          <p:nvPr>
            <p:ph type="subTitle" idx="15" hasCustomPrompt="1"/>
          </p:nvPr>
        </p:nvSpPr>
        <p:spPr>
          <a:xfrm>
            <a:off x="1488718" y="4676265"/>
            <a:ext cx="6465210" cy="419001"/>
          </a:xfrm>
        </p:spPr>
        <p:txBody>
          <a:bodyPr anchor="t"/>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Plaats hier je subtitel</a:t>
            </a:r>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afbeelding 8">
            <a:extLst>
              <a:ext uri="{FF2B5EF4-FFF2-40B4-BE49-F238E27FC236}">
                <a16:creationId xmlns:a16="http://schemas.microsoft.com/office/drawing/2014/main" id="{1EB01BAA-A260-4B36-BC7A-6D5D3E1E63EC}"/>
              </a:ext>
            </a:extLst>
          </p:cNvPr>
          <p:cNvSpPr>
            <a:spLocks noGrp="1"/>
          </p:cNvSpPr>
          <p:nvPr>
            <p:ph type="pic" sz="quarter" idx="14"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illustratie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7" name="Tijdelijke aanduiding voor voettekst 4">
            <a:extLst>
              <a:ext uri="{FF2B5EF4-FFF2-40B4-BE49-F238E27FC236}">
                <a16:creationId xmlns:a16="http://schemas.microsoft.com/office/drawing/2014/main" id="{32CDE956-D452-49A3-8677-A34CC14281C3}"/>
              </a:ext>
            </a:extLst>
          </p:cNvPr>
          <p:cNvSpPr>
            <a:spLocks noGrp="1"/>
          </p:cNvSpPr>
          <p:nvPr>
            <p:ph type="ftr" sz="quarter" idx="11"/>
          </p:nvPr>
        </p:nvSpPr>
        <p:spPr>
          <a:xfrm>
            <a:off x="521553" y="6472835"/>
            <a:ext cx="6273800" cy="225817"/>
          </a:xfrm>
        </p:spPr>
        <p:txBody>
          <a:bodyPr/>
          <a:lstStyle/>
          <a:p>
            <a:r>
              <a:rPr lang="nl-NL"/>
              <a:t>Zilveren Kruis | Interne verhaallijn Inkoopbeleid MSZ 2023</a:t>
            </a:r>
          </a:p>
        </p:txBody>
      </p:sp>
      <p:sp>
        <p:nvSpPr>
          <p:cNvPr id="9" name="Tijdelijke aanduiding voor dianummer 5">
            <a:extLst>
              <a:ext uri="{FF2B5EF4-FFF2-40B4-BE49-F238E27FC236}">
                <a16:creationId xmlns:a16="http://schemas.microsoft.com/office/drawing/2014/main" id="{F1D2D9A1-25D8-4701-8B3B-BA1F291467AF}"/>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75086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oofdstukslide #5">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20AAA13-6F7C-468A-AA87-C85B2EB8593E}"/>
              </a:ext>
            </a:extLst>
          </p:cNvPr>
          <p:cNvGraphicFramePr>
            <a:graphicFrameLocks noChangeAspect="1"/>
          </p:cNvGraphicFramePr>
          <p:nvPr userDrawn="1">
            <p:custDataLst>
              <p:tags r:id="rId1"/>
            </p:custDataLst>
            <p:extLst>
              <p:ext uri="{D42A27DB-BD31-4B8C-83A1-F6EECF244321}">
                <p14:modId xmlns:p14="http://schemas.microsoft.com/office/powerpoint/2010/main" val="2210094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20AAA13-6F7C-468A-AA87-C85B2EB85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1630B5A9-AEDB-4398-BCC0-80F4BF8F420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6000" b="1" i="0" baseline="0">
              <a:latin typeface="Arial" panose="020B0604020202020204" pitchFamily="34" charset="0"/>
              <a:ea typeface="+mj-ea"/>
              <a:cs typeface="+mj-cs"/>
              <a:sym typeface="Arial" panose="020B0604020202020204" pitchFamily="34" charset="0"/>
            </a:endParaRPr>
          </a:p>
        </p:txBody>
      </p:sp>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1981200"/>
            <a:ext cx="6465210" cy="2644561"/>
          </a:xfrm>
        </p:spPr>
        <p:txBody>
          <a:bodyPr anchor="b"/>
          <a:lstStyle>
            <a:lvl1pPr algn="l">
              <a:defRPr sz="6000">
                <a:solidFill>
                  <a:schemeClr val="tx2"/>
                </a:solidFill>
              </a:defRPr>
            </a:lvl1pPr>
          </a:lstStyle>
          <a:p>
            <a:r>
              <a:rPr lang="nl-NL"/>
              <a:t>Plaats hier </a:t>
            </a:r>
            <a:br>
              <a:rPr lang="nl-NL"/>
            </a:br>
            <a:r>
              <a:rPr lang="nl-NL"/>
              <a:t>je titel</a:t>
            </a:r>
            <a:br>
              <a:rPr lang="nl-NL"/>
            </a:br>
            <a:r>
              <a:rPr lang="nl-NL"/>
              <a:t>max. 3 regels</a:t>
            </a:r>
          </a:p>
        </p:txBody>
      </p:sp>
      <p:sp>
        <p:nvSpPr>
          <p:cNvPr id="31" name="Ondertitel 2">
            <a:extLst>
              <a:ext uri="{FF2B5EF4-FFF2-40B4-BE49-F238E27FC236}">
                <a16:creationId xmlns:a16="http://schemas.microsoft.com/office/drawing/2014/main" id="{9BD48850-E252-4689-9ACE-CD081746F165}"/>
              </a:ext>
            </a:extLst>
          </p:cNvPr>
          <p:cNvSpPr>
            <a:spLocks noGrp="1"/>
          </p:cNvSpPr>
          <p:nvPr>
            <p:ph type="subTitle" idx="15" hasCustomPrompt="1"/>
          </p:nvPr>
        </p:nvSpPr>
        <p:spPr>
          <a:xfrm>
            <a:off x="1488718" y="4670423"/>
            <a:ext cx="6465210" cy="419001"/>
          </a:xfrm>
        </p:spPr>
        <p:txBody>
          <a:bodyPr anchor="t"/>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Plaats hier je subtitel</a:t>
            </a:r>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oettekst 4">
            <a:extLst>
              <a:ext uri="{FF2B5EF4-FFF2-40B4-BE49-F238E27FC236}">
                <a16:creationId xmlns:a16="http://schemas.microsoft.com/office/drawing/2014/main" id="{0B060C24-A65F-4C98-B918-4E2E57F4D7F8}"/>
              </a:ext>
            </a:extLst>
          </p:cNvPr>
          <p:cNvSpPr>
            <a:spLocks noGrp="1"/>
          </p:cNvSpPr>
          <p:nvPr>
            <p:ph type="ftr" sz="quarter" idx="11"/>
          </p:nvPr>
        </p:nvSpPr>
        <p:spPr>
          <a:xfrm>
            <a:off x="521553" y="6472835"/>
            <a:ext cx="6273800" cy="225817"/>
          </a:xfrm>
        </p:spPr>
        <p:txBody>
          <a:bodyPr/>
          <a:lstStyle/>
          <a:p>
            <a:r>
              <a:rPr lang="nl-NL"/>
              <a:t>Zilveren Kruis | Interne verhaallijn Inkoopbeleid MSZ 2023</a:t>
            </a:r>
          </a:p>
        </p:txBody>
      </p:sp>
      <p:sp>
        <p:nvSpPr>
          <p:cNvPr id="14" name="Tijdelijke aanduiding voor dianummer 5">
            <a:extLst>
              <a:ext uri="{FF2B5EF4-FFF2-40B4-BE49-F238E27FC236}">
                <a16:creationId xmlns:a16="http://schemas.microsoft.com/office/drawing/2014/main" id="{1874027E-5CD5-452C-8F2B-DA019268F12B}"/>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386062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fsluiting #1">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4D40AC-9311-415A-9B2E-D99E4FE46743}"/>
              </a:ext>
            </a:extLst>
          </p:cNvPr>
          <p:cNvGraphicFramePr>
            <a:graphicFrameLocks noChangeAspect="1"/>
          </p:cNvGraphicFramePr>
          <p:nvPr userDrawn="1">
            <p:custDataLst>
              <p:tags r:id="rId1"/>
            </p:custDataLst>
            <p:extLst>
              <p:ext uri="{D42A27DB-BD31-4B8C-83A1-F6EECF244321}">
                <p14:modId xmlns:p14="http://schemas.microsoft.com/office/powerpoint/2010/main" val="301765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8E4D40AC-9311-415A-9B2E-D99E4FE467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hoek 1">
            <a:extLst>
              <a:ext uri="{FF2B5EF4-FFF2-40B4-BE49-F238E27FC236}">
                <a16:creationId xmlns:a16="http://schemas.microsoft.com/office/drawing/2014/main" id="{1D78F2F6-A954-42C3-9D4C-3C55B36A04BD}"/>
              </a:ext>
            </a:extLst>
          </p:cNvPr>
          <p:cNvSpPr/>
          <p:nvPr userDrawn="1"/>
        </p:nvSpPr>
        <p:spPr>
          <a:xfrm>
            <a:off x="0" y="34095"/>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Vrije vorm: vorm 6">
            <a:extLst>
              <a:ext uri="{FF2B5EF4-FFF2-40B4-BE49-F238E27FC236}">
                <a16:creationId xmlns:a16="http://schemas.microsoft.com/office/drawing/2014/main" id="{D841B7A5-C18A-4334-9880-14E4C4865D2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hasCustomPrompt="1"/>
          </p:nvPr>
        </p:nvSpPr>
        <p:spPr>
          <a:xfrm>
            <a:off x="1488718" y="3183190"/>
            <a:ext cx="6465210" cy="1895667"/>
          </a:xfrm>
        </p:spPr>
        <p:txBody>
          <a:bodyPr anchor="b"/>
          <a:lstStyle>
            <a:lvl1pPr algn="l">
              <a:defRPr sz="6000">
                <a:solidFill>
                  <a:schemeClr val="tx2"/>
                </a:solidFill>
              </a:defRPr>
            </a:lvl1pPr>
          </a:lstStyle>
          <a:p>
            <a:r>
              <a:rPr lang="nl-NL"/>
              <a:t>Vragen?</a:t>
            </a:r>
          </a:p>
        </p:txBody>
      </p:sp>
      <p:sp>
        <p:nvSpPr>
          <p:cNvPr id="10" name="Tijdelijke aanduiding voor verticale tekst 2">
            <a:extLst>
              <a:ext uri="{FF2B5EF4-FFF2-40B4-BE49-F238E27FC236}">
                <a16:creationId xmlns:a16="http://schemas.microsoft.com/office/drawing/2014/main" id="{5A66A891-BFB3-4E0B-82AA-5B3D38F339D2}"/>
              </a:ext>
            </a:extLst>
          </p:cNvPr>
          <p:cNvSpPr>
            <a:spLocks noGrp="1"/>
          </p:cNvSpPr>
          <p:nvPr>
            <p:ph type="body" orient="vert" idx="13" hasCustomPrompt="1"/>
          </p:nvPr>
        </p:nvSpPr>
        <p:spPr>
          <a:xfrm>
            <a:off x="710506" y="713151"/>
            <a:ext cx="2217600" cy="702000"/>
          </a:xfrm>
          <a:blipFill>
            <a:blip r:embed="rId5"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pic>
        <p:nvPicPr>
          <p:cNvPr id="11" name="Picture 143">
            <a:extLst>
              <a:ext uri="{FF2B5EF4-FFF2-40B4-BE49-F238E27FC236}">
                <a16:creationId xmlns:a16="http://schemas.microsoft.com/office/drawing/2014/main" id="{94C99662-2F55-4599-851F-35380BBCDEA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624067" y="6340476"/>
            <a:ext cx="3206774" cy="146317"/>
          </a:xfrm>
          <a:prstGeom prst="rect">
            <a:avLst/>
          </a:prstGeom>
        </p:spPr>
      </p:pic>
    </p:spTree>
    <p:extLst>
      <p:ext uri="{BB962C8B-B14F-4D97-AF65-F5344CB8AC3E}">
        <p14:creationId xmlns:p14="http://schemas.microsoft.com/office/powerpoint/2010/main" val="8497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con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0D35D7-0170-4F39-B545-BA437359A653}"/>
              </a:ext>
            </a:extLst>
          </p:cNvPr>
          <p:cNvGraphicFramePr>
            <a:graphicFrameLocks noChangeAspect="1"/>
          </p:cNvGraphicFramePr>
          <p:nvPr userDrawn="1">
            <p:custDataLst>
              <p:tags r:id="rId1"/>
            </p:custDataLst>
            <p:extLst>
              <p:ext uri="{D42A27DB-BD31-4B8C-83A1-F6EECF244321}">
                <p14:modId xmlns:p14="http://schemas.microsoft.com/office/powerpoint/2010/main" val="405386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20D35D7-0170-4F39-B545-BA437359A6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0DDA29C2-2C7C-4132-B73C-7A3CB1354AC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lIns="0" tIns="0" rIns="0" bIns="0"/>
          <a:lstStyle>
            <a:lvl1pPr algn="l">
              <a:defRPr/>
            </a:lvl1pPr>
          </a:lstStyle>
          <a:p>
            <a:r>
              <a:rPr lang="nl-NL"/>
              <a:t>Plaats hier je 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8" name="Rechthoek 7">
            <a:extLst>
              <a:ext uri="{FF2B5EF4-FFF2-40B4-BE49-F238E27FC236}">
                <a16:creationId xmlns:a16="http://schemas.microsoft.com/office/drawing/2014/main" id="{E6DF5DB1-94B0-4EE3-A791-D11E1AA42D87}"/>
              </a:ext>
            </a:extLst>
          </p:cNvPr>
          <p:cNvSpPr/>
          <p:nvPr/>
        </p:nvSpPr>
        <p:spPr>
          <a:xfrm>
            <a:off x="515938"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hthoek 8">
            <a:extLst>
              <a:ext uri="{FF2B5EF4-FFF2-40B4-BE49-F238E27FC236}">
                <a16:creationId xmlns:a16="http://schemas.microsoft.com/office/drawing/2014/main" id="{6EC15E4E-9BB7-48B4-990A-BC92D18A964F}"/>
              </a:ext>
            </a:extLst>
          </p:cNvPr>
          <p:cNvSpPr/>
          <p:nvPr/>
        </p:nvSpPr>
        <p:spPr>
          <a:xfrm>
            <a:off x="515938"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hthoek 9">
            <a:extLst>
              <a:ext uri="{FF2B5EF4-FFF2-40B4-BE49-F238E27FC236}">
                <a16:creationId xmlns:a16="http://schemas.microsoft.com/office/drawing/2014/main" id="{52D8CAAB-BE0A-42E1-B75F-97F703783A41}"/>
              </a:ext>
            </a:extLst>
          </p:cNvPr>
          <p:cNvSpPr/>
          <p:nvPr/>
        </p:nvSpPr>
        <p:spPr>
          <a:xfrm>
            <a:off x="515938"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1" name="Rechthoek 10">
            <a:extLst>
              <a:ext uri="{FF2B5EF4-FFF2-40B4-BE49-F238E27FC236}">
                <a16:creationId xmlns:a16="http://schemas.microsoft.com/office/drawing/2014/main" id="{2AF6942B-2A90-4D8E-9FE1-2CDEA6844A99}"/>
              </a:ext>
            </a:extLst>
          </p:cNvPr>
          <p:cNvSpPr/>
          <p:nvPr/>
        </p:nvSpPr>
        <p:spPr>
          <a:xfrm>
            <a:off x="1938550"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2" name="Rechthoek 11">
            <a:extLst>
              <a:ext uri="{FF2B5EF4-FFF2-40B4-BE49-F238E27FC236}">
                <a16:creationId xmlns:a16="http://schemas.microsoft.com/office/drawing/2014/main" id="{7371CA71-7F01-469A-BF6A-49B9D7D4DD91}"/>
              </a:ext>
            </a:extLst>
          </p:cNvPr>
          <p:cNvSpPr/>
          <p:nvPr/>
        </p:nvSpPr>
        <p:spPr>
          <a:xfrm>
            <a:off x="1938550"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3" name="Rechthoek 12">
            <a:extLst>
              <a:ext uri="{FF2B5EF4-FFF2-40B4-BE49-F238E27FC236}">
                <a16:creationId xmlns:a16="http://schemas.microsoft.com/office/drawing/2014/main" id="{0796DBA6-6140-43D0-AED3-2A698F5875AE}"/>
              </a:ext>
            </a:extLst>
          </p:cNvPr>
          <p:cNvSpPr/>
          <p:nvPr/>
        </p:nvSpPr>
        <p:spPr>
          <a:xfrm>
            <a:off x="1938550"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4" name="Rechthoek 13">
            <a:extLst>
              <a:ext uri="{FF2B5EF4-FFF2-40B4-BE49-F238E27FC236}">
                <a16:creationId xmlns:a16="http://schemas.microsoft.com/office/drawing/2014/main" id="{14411FE5-5F39-43F1-80FF-5F59E7381EE7}"/>
              </a:ext>
            </a:extLst>
          </p:cNvPr>
          <p:cNvSpPr/>
          <p:nvPr/>
        </p:nvSpPr>
        <p:spPr>
          <a:xfrm>
            <a:off x="3361162"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5" name="Rechthoek 14">
            <a:extLst>
              <a:ext uri="{FF2B5EF4-FFF2-40B4-BE49-F238E27FC236}">
                <a16:creationId xmlns:a16="http://schemas.microsoft.com/office/drawing/2014/main" id="{61D6604E-C5A2-4A78-BA6C-186EB6192129}"/>
              </a:ext>
            </a:extLst>
          </p:cNvPr>
          <p:cNvSpPr/>
          <p:nvPr/>
        </p:nvSpPr>
        <p:spPr>
          <a:xfrm>
            <a:off x="3361162"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6" name="Rechthoek 15">
            <a:extLst>
              <a:ext uri="{FF2B5EF4-FFF2-40B4-BE49-F238E27FC236}">
                <a16:creationId xmlns:a16="http://schemas.microsoft.com/office/drawing/2014/main" id="{824DD07D-F258-4E9A-9584-D819736201F5}"/>
              </a:ext>
            </a:extLst>
          </p:cNvPr>
          <p:cNvSpPr/>
          <p:nvPr/>
        </p:nvSpPr>
        <p:spPr>
          <a:xfrm>
            <a:off x="3361162"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7" name="Rechthoek 16">
            <a:extLst>
              <a:ext uri="{FF2B5EF4-FFF2-40B4-BE49-F238E27FC236}">
                <a16:creationId xmlns:a16="http://schemas.microsoft.com/office/drawing/2014/main" id="{B77B9F7E-D5E0-4A1D-9850-D527BCB024FE}"/>
              </a:ext>
            </a:extLst>
          </p:cNvPr>
          <p:cNvSpPr/>
          <p:nvPr/>
        </p:nvSpPr>
        <p:spPr>
          <a:xfrm>
            <a:off x="4783774"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8" name="Rechthoek 17">
            <a:extLst>
              <a:ext uri="{FF2B5EF4-FFF2-40B4-BE49-F238E27FC236}">
                <a16:creationId xmlns:a16="http://schemas.microsoft.com/office/drawing/2014/main" id="{64C88A47-9298-403A-A84C-A17060420D9A}"/>
              </a:ext>
            </a:extLst>
          </p:cNvPr>
          <p:cNvSpPr/>
          <p:nvPr/>
        </p:nvSpPr>
        <p:spPr>
          <a:xfrm>
            <a:off x="4783774"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9" name="Rechthoek 18">
            <a:extLst>
              <a:ext uri="{FF2B5EF4-FFF2-40B4-BE49-F238E27FC236}">
                <a16:creationId xmlns:a16="http://schemas.microsoft.com/office/drawing/2014/main" id="{B2B5B666-38DC-4526-B121-53442294D9A3}"/>
              </a:ext>
            </a:extLst>
          </p:cNvPr>
          <p:cNvSpPr/>
          <p:nvPr/>
        </p:nvSpPr>
        <p:spPr>
          <a:xfrm>
            <a:off x="4783774"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0" name="Rechthoek 19">
            <a:extLst>
              <a:ext uri="{FF2B5EF4-FFF2-40B4-BE49-F238E27FC236}">
                <a16:creationId xmlns:a16="http://schemas.microsoft.com/office/drawing/2014/main" id="{40DB5782-87E4-46E7-B6D1-8132E3E18B18}"/>
              </a:ext>
            </a:extLst>
          </p:cNvPr>
          <p:cNvSpPr/>
          <p:nvPr/>
        </p:nvSpPr>
        <p:spPr>
          <a:xfrm>
            <a:off x="6206386"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hthoek 20">
            <a:extLst>
              <a:ext uri="{FF2B5EF4-FFF2-40B4-BE49-F238E27FC236}">
                <a16:creationId xmlns:a16="http://schemas.microsoft.com/office/drawing/2014/main" id="{1897D6AF-F28C-4EFC-B8DA-650B8FBFE45E}"/>
              </a:ext>
            </a:extLst>
          </p:cNvPr>
          <p:cNvSpPr/>
          <p:nvPr/>
        </p:nvSpPr>
        <p:spPr>
          <a:xfrm>
            <a:off x="6206386"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hthoek 21">
            <a:extLst>
              <a:ext uri="{FF2B5EF4-FFF2-40B4-BE49-F238E27FC236}">
                <a16:creationId xmlns:a16="http://schemas.microsoft.com/office/drawing/2014/main" id="{ACD4F9B5-688C-4630-A14A-3E3A5FC3A787}"/>
              </a:ext>
            </a:extLst>
          </p:cNvPr>
          <p:cNvSpPr/>
          <p:nvPr/>
        </p:nvSpPr>
        <p:spPr>
          <a:xfrm>
            <a:off x="6206386"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3" name="Rechthoek 22">
            <a:extLst>
              <a:ext uri="{FF2B5EF4-FFF2-40B4-BE49-F238E27FC236}">
                <a16:creationId xmlns:a16="http://schemas.microsoft.com/office/drawing/2014/main" id="{E40E986B-09EB-41ED-8874-EC47A88B1D05}"/>
              </a:ext>
            </a:extLst>
          </p:cNvPr>
          <p:cNvSpPr/>
          <p:nvPr/>
        </p:nvSpPr>
        <p:spPr>
          <a:xfrm>
            <a:off x="7628998"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4" name="Rechthoek 23">
            <a:extLst>
              <a:ext uri="{FF2B5EF4-FFF2-40B4-BE49-F238E27FC236}">
                <a16:creationId xmlns:a16="http://schemas.microsoft.com/office/drawing/2014/main" id="{9C81E893-522A-4FE4-8567-6B2B957C9AB0}"/>
              </a:ext>
            </a:extLst>
          </p:cNvPr>
          <p:cNvSpPr/>
          <p:nvPr/>
        </p:nvSpPr>
        <p:spPr>
          <a:xfrm>
            <a:off x="7628998"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5" name="Rechthoek 24">
            <a:extLst>
              <a:ext uri="{FF2B5EF4-FFF2-40B4-BE49-F238E27FC236}">
                <a16:creationId xmlns:a16="http://schemas.microsoft.com/office/drawing/2014/main" id="{61C06748-C1B1-4C7C-ADA2-14607754AF7D}"/>
              </a:ext>
            </a:extLst>
          </p:cNvPr>
          <p:cNvSpPr/>
          <p:nvPr/>
        </p:nvSpPr>
        <p:spPr>
          <a:xfrm>
            <a:off x="7628998"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6" name="Rechthoek 25">
            <a:extLst>
              <a:ext uri="{FF2B5EF4-FFF2-40B4-BE49-F238E27FC236}">
                <a16:creationId xmlns:a16="http://schemas.microsoft.com/office/drawing/2014/main" id="{C29DA80C-E238-4AF8-8367-6DBA09869B4C}"/>
              </a:ext>
            </a:extLst>
          </p:cNvPr>
          <p:cNvSpPr/>
          <p:nvPr/>
        </p:nvSpPr>
        <p:spPr>
          <a:xfrm>
            <a:off x="9051610"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hthoek 26">
            <a:extLst>
              <a:ext uri="{FF2B5EF4-FFF2-40B4-BE49-F238E27FC236}">
                <a16:creationId xmlns:a16="http://schemas.microsoft.com/office/drawing/2014/main" id="{0AD3F371-3967-4A20-B55C-4B744D0FCC70}"/>
              </a:ext>
            </a:extLst>
          </p:cNvPr>
          <p:cNvSpPr/>
          <p:nvPr/>
        </p:nvSpPr>
        <p:spPr>
          <a:xfrm>
            <a:off x="9051610"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8" name="Rechthoek 27">
            <a:extLst>
              <a:ext uri="{FF2B5EF4-FFF2-40B4-BE49-F238E27FC236}">
                <a16:creationId xmlns:a16="http://schemas.microsoft.com/office/drawing/2014/main" id="{A2099084-20BE-4EE8-B583-F75B68CA1841}"/>
              </a:ext>
            </a:extLst>
          </p:cNvPr>
          <p:cNvSpPr/>
          <p:nvPr/>
        </p:nvSpPr>
        <p:spPr>
          <a:xfrm>
            <a:off x="9051610"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hthoek 28">
            <a:extLst>
              <a:ext uri="{FF2B5EF4-FFF2-40B4-BE49-F238E27FC236}">
                <a16:creationId xmlns:a16="http://schemas.microsoft.com/office/drawing/2014/main" id="{BC9D15B7-C5D7-4F0A-8ED5-7AB247F6D6FE}"/>
              </a:ext>
            </a:extLst>
          </p:cNvPr>
          <p:cNvSpPr/>
          <p:nvPr/>
        </p:nvSpPr>
        <p:spPr>
          <a:xfrm>
            <a:off x="10474225" y="1891538"/>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0" name="Rechthoek 29">
            <a:extLst>
              <a:ext uri="{FF2B5EF4-FFF2-40B4-BE49-F238E27FC236}">
                <a16:creationId xmlns:a16="http://schemas.microsoft.com/office/drawing/2014/main" id="{CD7D74B5-8738-439E-8B6A-9DA6FE10B844}"/>
              </a:ext>
            </a:extLst>
          </p:cNvPr>
          <p:cNvSpPr/>
          <p:nvPr/>
        </p:nvSpPr>
        <p:spPr>
          <a:xfrm>
            <a:off x="10474225" y="4492324"/>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hthoek 30">
            <a:extLst>
              <a:ext uri="{FF2B5EF4-FFF2-40B4-BE49-F238E27FC236}">
                <a16:creationId xmlns:a16="http://schemas.microsoft.com/office/drawing/2014/main" id="{D1814140-2FF1-4604-B43E-D0B616EBE600}"/>
              </a:ext>
            </a:extLst>
          </p:cNvPr>
          <p:cNvSpPr/>
          <p:nvPr/>
        </p:nvSpPr>
        <p:spPr>
          <a:xfrm>
            <a:off x="10474225" y="3191932"/>
            <a:ext cx="1197075" cy="1156401"/>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6179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jdlij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4DAF68-A785-47D4-A2FC-4E6D0F853761}"/>
              </a:ext>
            </a:extLst>
          </p:cNvPr>
          <p:cNvGraphicFramePr>
            <a:graphicFrameLocks noChangeAspect="1"/>
          </p:cNvGraphicFramePr>
          <p:nvPr userDrawn="1">
            <p:custDataLst>
              <p:tags r:id="rId1"/>
            </p:custDataLst>
            <p:extLst>
              <p:ext uri="{D42A27DB-BD31-4B8C-83A1-F6EECF244321}">
                <p14:modId xmlns:p14="http://schemas.microsoft.com/office/powerpoint/2010/main" val="359057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F14DAF68-A785-47D4-A2FC-4E6D0F8537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36049BAC-013F-4ADD-B108-E63DD6A9594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lIns="0" tIns="0" rIns="0" bIns="0"/>
          <a:lstStyle>
            <a:lvl1pPr algn="l">
              <a:defRPr/>
            </a:lvl1pPr>
          </a:lstStyle>
          <a:p>
            <a:r>
              <a:rPr lang="nl-NL"/>
              <a:t>Timeline Business Support</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62" name="Groep 61">
            <a:extLst>
              <a:ext uri="{FF2B5EF4-FFF2-40B4-BE49-F238E27FC236}">
                <a16:creationId xmlns:a16="http://schemas.microsoft.com/office/drawing/2014/main" id="{3A34BC35-D392-49AF-AB4C-CCEDE0A67907}"/>
              </a:ext>
            </a:extLst>
          </p:cNvPr>
          <p:cNvGrpSpPr/>
          <p:nvPr userDrawn="1"/>
        </p:nvGrpSpPr>
        <p:grpSpPr>
          <a:xfrm>
            <a:off x="638976" y="1475936"/>
            <a:ext cx="11031471" cy="233094"/>
            <a:chOff x="515938" y="4137784"/>
            <a:chExt cx="11155362" cy="235712"/>
          </a:xfrm>
        </p:grpSpPr>
        <p:cxnSp>
          <p:nvCxnSpPr>
            <p:cNvPr id="60" name="Rechte verbindingslijn 59">
              <a:extLst>
                <a:ext uri="{FF2B5EF4-FFF2-40B4-BE49-F238E27FC236}">
                  <a16:creationId xmlns:a16="http://schemas.microsoft.com/office/drawing/2014/main" id="{92ACA8F2-A927-4789-8807-F1968674F614}"/>
                </a:ext>
              </a:extLst>
            </p:cNvPr>
            <p:cNvCxnSpPr/>
            <p:nvPr/>
          </p:nvCxnSpPr>
          <p:spPr>
            <a:xfrm>
              <a:off x="515938" y="4255640"/>
              <a:ext cx="11002106" cy="0"/>
            </a:xfrm>
            <a:prstGeom prst="line">
              <a:avLst/>
            </a:prstGeom>
            <a:ln w="34925">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Gelijkbenige driehoek 60">
              <a:extLst>
                <a:ext uri="{FF2B5EF4-FFF2-40B4-BE49-F238E27FC236}">
                  <a16:creationId xmlns:a16="http://schemas.microsoft.com/office/drawing/2014/main" id="{56B32458-C054-4C85-A688-132F50EF1DE1}"/>
                </a:ext>
              </a:extLst>
            </p:cNvPr>
            <p:cNvSpPr/>
            <p:nvPr/>
          </p:nvSpPr>
          <p:spPr>
            <a:xfrm rot="5400000">
              <a:off x="11451844" y="4154040"/>
              <a:ext cx="235712" cy="2032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80" name="Ovaal 79">
            <a:extLst>
              <a:ext uri="{FF2B5EF4-FFF2-40B4-BE49-F238E27FC236}">
                <a16:creationId xmlns:a16="http://schemas.microsoft.com/office/drawing/2014/main" id="{1ECA72F4-0563-47DC-8E49-6EA18F192CE5}"/>
              </a:ext>
            </a:extLst>
          </p:cNvPr>
          <p:cNvSpPr/>
          <p:nvPr userDrawn="1"/>
        </p:nvSpPr>
        <p:spPr>
          <a:xfrm>
            <a:off x="491470"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1" name="Ovaal 80">
            <a:extLst>
              <a:ext uri="{FF2B5EF4-FFF2-40B4-BE49-F238E27FC236}">
                <a16:creationId xmlns:a16="http://schemas.microsoft.com/office/drawing/2014/main" id="{88AF581A-11D5-406E-9A02-102EFC8F4C77}"/>
              </a:ext>
            </a:extLst>
          </p:cNvPr>
          <p:cNvSpPr/>
          <p:nvPr userDrawn="1"/>
        </p:nvSpPr>
        <p:spPr>
          <a:xfrm>
            <a:off x="2233644"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3" name="Ovaal 82">
            <a:extLst>
              <a:ext uri="{FF2B5EF4-FFF2-40B4-BE49-F238E27FC236}">
                <a16:creationId xmlns:a16="http://schemas.microsoft.com/office/drawing/2014/main" id="{36064B79-D65F-4B27-8441-7BC4B36D506F}"/>
              </a:ext>
            </a:extLst>
          </p:cNvPr>
          <p:cNvSpPr/>
          <p:nvPr userDrawn="1"/>
        </p:nvSpPr>
        <p:spPr>
          <a:xfrm>
            <a:off x="4079368"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4" name="Ovaal 83">
            <a:extLst>
              <a:ext uri="{FF2B5EF4-FFF2-40B4-BE49-F238E27FC236}">
                <a16:creationId xmlns:a16="http://schemas.microsoft.com/office/drawing/2014/main" id="{3DCA10A4-1F7E-4A40-AEE7-B61E1631CCBC}"/>
              </a:ext>
            </a:extLst>
          </p:cNvPr>
          <p:cNvSpPr/>
          <p:nvPr userDrawn="1"/>
        </p:nvSpPr>
        <p:spPr>
          <a:xfrm>
            <a:off x="5939377"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Ovaal 84">
            <a:extLst>
              <a:ext uri="{FF2B5EF4-FFF2-40B4-BE49-F238E27FC236}">
                <a16:creationId xmlns:a16="http://schemas.microsoft.com/office/drawing/2014/main" id="{FB9A4BA5-DF73-4A3B-931F-7719007D0559}"/>
              </a:ext>
            </a:extLst>
          </p:cNvPr>
          <p:cNvSpPr/>
          <p:nvPr userDrawn="1"/>
        </p:nvSpPr>
        <p:spPr>
          <a:xfrm>
            <a:off x="7801673"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6" name="Ovaal 85">
            <a:extLst>
              <a:ext uri="{FF2B5EF4-FFF2-40B4-BE49-F238E27FC236}">
                <a16:creationId xmlns:a16="http://schemas.microsoft.com/office/drawing/2014/main" id="{2739B334-73E1-4277-AA17-B1BAD62F3303}"/>
              </a:ext>
            </a:extLst>
          </p:cNvPr>
          <p:cNvSpPr/>
          <p:nvPr userDrawn="1"/>
        </p:nvSpPr>
        <p:spPr>
          <a:xfrm>
            <a:off x="9670032" y="1441776"/>
            <a:ext cx="301415" cy="301415"/>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94" name="Tijdelijke aanduiding voor verticale tekst 2">
            <a:extLst>
              <a:ext uri="{FF2B5EF4-FFF2-40B4-BE49-F238E27FC236}">
                <a16:creationId xmlns:a16="http://schemas.microsoft.com/office/drawing/2014/main" id="{E335B179-37DF-4BE4-93E7-A6DCF30A6AE8}"/>
              </a:ext>
            </a:extLst>
          </p:cNvPr>
          <p:cNvSpPr>
            <a:spLocks noGrp="1"/>
          </p:cNvSpPr>
          <p:nvPr userDrawn="1">
            <p:ph type="body" orient="vert" idx="1" hasCustomPrompt="1"/>
          </p:nvPr>
        </p:nvSpPr>
        <p:spPr>
          <a:xfrm>
            <a:off x="759732" y="1363196"/>
            <a:ext cx="1506727"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95" name="Tijdelijke aanduiding voor verticale tekst 2">
            <a:extLst>
              <a:ext uri="{FF2B5EF4-FFF2-40B4-BE49-F238E27FC236}">
                <a16:creationId xmlns:a16="http://schemas.microsoft.com/office/drawing/2014/main" id="{0F293EEB-150C-4564-AA72-2581D6DA71D6}"/>
              </a:ext>
            </a:extLst>
          </p:cNvPr>
          <p:cNvSpPr>
            <a:spLocks noGrp="1"/>
          </p:cNvSpPr>
          <p:nvPr userDrawn="1">
            <p:ph type="body" orient="vert" idx="13" hasCustomPrompt="1"/>
          </p:nvPr>
        </p:nvSpPr>
        <p:spPr>
          <a:xfrm>
            <a:off x="2448696" y="1363196"/>
            <a:ext cx="1677600"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96" name="Tijdelijke aanduiding voor verticale tekst 2">
            <a:extLst>
              <a:ext uri="{FF2B5EF4-FFF2-40B4-BE49-F238E27FC236}">
                <a16:creationId xmlns:a16="http://schemas.microsoft.com/office/drawing/2014/main" id="{91EB4524-665E-4A22-BE16-98300B439E00}"/>
              </a:ext>
            </a:extLst>
          </p:cNvPr>
          <p:cNvSpPr>
            <a:spLocks noGrp="1"/>
          </p:cNvSpPr>
          <p:nvPr>
            <p:ph type="body" orient="vert" idx="14" hasCustomPrompt="1"/>
          </p:nvPr>
        </p:nvSpPr>
        <p:spPr>
          <a:xfrm>
            <a:off x="4313129" y="1363196"/>
            <a:ext cx="1677600"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97" name="Tijdelijke aanduiding voor verticale tekst 2">
            <a:extLst>
              <a:ext uri="{FF2B5EF4-FFF2-40B4-BE49-F238E27FC236}">
                <a16:creationId xmlns:a16="http://schemas.microsoft.com/office/drawing/2014/main" id="{2AC2103E-1FB2-480A-814D-B8FB42E87921}"/>
              </a:ext>
            </a:extLst>
          </p:cNvPr>
          <p:cNvSpPr>
            <a:spLocks noGrp="1"/>
          </p:cNvSpPr>
          <p:nvPr>
            <p:ph type="body" orient="vert" idx="15" hasCustomPrompt="1"/>
          </p:nvPr>
        </p:nvSpPr>
        <p:spPr>
          <a:xfrm>
            <a:off x="6179527" y="1363196"/>
            <a:ext cx="1677600"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98" name="Tijdelijke aanduiding voor verticale tekst 2">
            <a:extLst>
              <a:ext uri="{FF2B5EF4-FFF2-40B4-BE49-F238E27FC236}">
                <a16:creationId xmlns:a16="http://schemas.microsoft.com/office/drawing/2014/main" id="{43F36879-0B8A-4AE2-B592-34E8354A0012}"/>
              </a:ext>
            </a:extLst>
          </p:cNvPr>
          <p:cNvSpPr>
            <a:spLocks noGrp="1"/>
          </p:cNvSpPr>
          <p:nvPr>
            <p:ph type="body" orient="vert" idx="16" hasCustomPrompt="1"/>
          </p:nvPr>
        </p:nvSpPr>
        <p:spPr>
          <a:xfrm>
            <a:off x="8041209" y="1363196"/>
            <a:ext cx="1677157"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99" name="Tijdelijke aanduiding voor verticale tekst 2">
            <a:extLst>
              <a:ext uri="{FF2B5EF4-FFF2-40B4-BE49-F238E27FC236}">
                <a16:creationId xmlns:a16="http://schemas.microsoft.com/office/drawing/2014/main" id="{816E4977-44A3-4DA8-928A-A2786056108A}"/>
              </a:ext>
            </a:extLst>
          </p:cNvPr>
          <p:cNvSpPr>
            <a:spLocks noGrp="1"/>
          </p:cNvSpPr>
          <p:nvPr>
            <p:ph type="body" orient="vert" idx="17" hasCustomPrompt="1"/>
          </p:nvPr>
        </p:nvSpPr>
        <p:spPr>
          <a:xfrm>
            <a:off x="9910814" y="1363196"/>
            <a:ext cx="1557841" cy="135814"/>
          </a:xfrm>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Maand</a:t>
            </a:r>
          </a:p>
        </p:txBody>
      </p:sp>
      <p:sp>
        <p:nvSpPr>
          <p:cNvPr id="106" name="Tijdelijke aanduiding voor verticale tekst 2">
            <a:extLst>
              <a:ext uri="{FF2B5EF4-FFF2-40B4-BE49-F238E27FC236}">
                <a16:creationId xmlns:a16="http://schemas.microsoft.com/office/drawing/2014/main" id="{FF1733C4-7209-4EF0-BBB5-8CDF6B9A3300}"/>
              </a:ext>
            </a:extLst>
          </p:cNvPr>
          <p:cNvSpPr>
            <a:spLocks noGrp="1"/>
          </p:cNvSpPr>
          <p:nvPr>
            <p:ph type="body" orient="vert" idx="24" hasCustomPrompt="1"/>
          </p:nvPr>
        </p:nvSpPr>
        <p:spPr>
          <a:xfrm>
            <a:off x="511423" y="2298293"/>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116" name="Tijdelijke aanduiding voor verticale tekst 2">
            <a:extLst>
              <a:ext uri="{FF2B5EF4-FFF2-40B4-BE49-F238E27FC236}">
                <a16:creationId xmlns:a16="http://schemas.microsoft.com/office/drawing/2014/main" id="{A3B8DB5C-077B-47D5-8D54-81D3319C8973}"/>
              </a:ext>
            </a:extLst>
          </p:cNvPr>
          <p:cNvSpPr>
            <a:spLocks noGrp="1"/>
          </p:cNvSpPr>
          <p:nvPr>
            <p:ph type="body" orient="vert" idx="25" hasCustomPrompt="1"/>
          </p:nvPr>
        </p:nvSpPr>
        <p:spPr>
          <a:xfrm>
            <a:off x="1760623" y="1609757"/>
            <a:ext cx="3600" cy="1656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
        <p:nvSpPr>
          <p:cNvPr id="117" name="Tijdelijke aanduiding voor verticale tekst 2">
            <a:extLst>
              <a:ext uri="{FF2B5EF4-FFF2-40B4-BE49-F238E27FC236}">
                <a16:creationId xmlns:a16="http://schemas.microsoft.com/office/drawing/2014/main" id="{9BDD56D0-1D25-4FC3-AD90-5F2DD905153D}"/>
              </a:ext>
            </a:extLst>
          </p:cNvPr>
          <p:cNvSpPr>
            <a:spLocks noGrp="1"/>
          </p:cNvSpPr>
          <p:nvPr>
            <p:ph type="body" orient="vert" idx="26" hasCustomPrompt="1"/>
          </p:nvPr>
        </p:nvSpPr>
        <p:spPr>
          <a:xfrm>
            <a:off x="2137009" y="3285848"/>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118" name="Tijdelijke aanduiding voor verticale tekst 2">
            <a:extLst>
              <a:ext uri="{FF2B5EF4-FFF2-40B4-BE49-F238E27FC236}">
                <a16:creationId xmlns:a16="http://schemas.microsoft.com/office/drawing/2014/main" id="{CB5BE137-EEF5-46E7-8D21-24D9E84856C3}"/>
              </a:ext>
            </a:extLst>
          </p:cNvPr>
          <p:cNvSpPr>
            <a:spLocks noGrp="1"/>
          </p:cNvSpPr>
          <p:nvPr>
            <p:ph type="body" orient="vert" idx="27" hasCustomPrompt="1"/>
          </p:nvPr>
        </p:nvSpPr>
        <p:spPr>
          <a:xfrm>
            <a:off x="3386209" y="1617442"/>
            <a:ext cx="3600" cy="2628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
        <p:nvSpPr>
          <p:cNvPr id="119" name="Tijdelijke aanduiding voor verticale tekst 2">
            <a:extLst>
              <a:ext uri="{FF2B5EF4-FFF2-40B4-BE49-F238E27FC236}">
                <a16:creationId xmlns:a16="http://schemas.microsoft.com/office/drawing/2014/main" id="{86936A3E-E951-4DB5-A4B7-48E2F22DB8BD}"/>
              </a:ext>
            </a:extLst>
          </p:cNvPr>
          <p:cNvSpPr>
            <a:spLocks noGrp="1"/>
          </p:cNvSpPr>
          <p:nvPr>
            <p:ph type="body" orient="vert" idx="28" hasCustomPrompt="1"/>
          </p:nvPr>
        </p:nvSpPr>
        <p:spPr>
          <a:xfrm>
            <a:off x="3859230" y="4057535"/>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120" name="Tijdelijke aanduiding voor verticale tekst 2">
            <a:extLst>
              <a:ext uri="{FF2B5EF4-FFF2-40B4-BE49-F238E27FC236}">
                <a16:creationId xmlns:a16="http://schemas.microsoft.com/office/drawing/2014/main" id="{BEB691F1-BB24-41CC-8236-BCFA8C481832}"/>
              </a:ext>
            </a:extLst>
          </p:cNvPr>
          <p:cNvSpPr>
            <a:spLocks noGrp="1"/>
          </p:cNvSpPr>
          <p:nvPr>
            <p:ph type="body" orient="vert" idx="29" hasCustomPrompt="1"/>
          </p:nvPr>
        </p:nvSpPr>
        <p:spPr>
          <a:xfrm>
            <a:off x="5108430" y="1609756"/>
            <a:ext cx="3600" cy="3420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
        <p:nvSpPr>
          <p:cNvPr id="44" name="Tijdelijke aanduiding voor verticale tekst 2">
            <a:extLst>
              <a:ext uri="{FF2B5EF4-FFF2-40B4-BE49-F238E27FC236}">
                <a16:creationId xmlns:a16="http://schemas.microsoft.com/office/drawing/2014/main" id="{2C53053A-20AA-432F-95C5-5E2FFED1750B}"/>
              </a:ext>
            </a:extLst>
          </p:cNvPr>
          <p:cNvSpPr>
            <a:spLocks noGrp="1"/>
          </p:cNvSpPr>
          <p:nvPr>
            <p:ph type="body" orient="vert" idx="30" hasCustomPrompt="1"/>
          </p:nvPr>
        </p:nvSpPr>
        <p:spPr>
          <a:xfrm>
            <a:off x="5801589" y="4057535"/>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45" name="Tijdelijke aanduiding voor verticale tekst 2">
            <a:extLst>
              <a:ext uri="{FF2B5EF4-FFF2-40B4-BE49-F238E27FC236}">
                <a16:creationId xmlns:a16="http://schemas.microsoft.com/office/drawing/2014/main" id="{66E4BF2A-7EEB-41C9-9110-9604445F881F}"/>
              </a:ext>
            </a:extLst>
          </p:cNvPr>
          <p:cNvSpPr>
            <a:spLocks noGrp="1"/>
          </p:cNvSpPr>
          <p:nvPr>
            <p:ph type="body" orient="vert" idx="31" hasCustomPrompt="1"/>
          </p:nvPr>
        </p:nvSpPr>
        <p:spPr>
          <a:xfrm>
            <a:off x="7050789" y="1609756"/>
            <a:ext cx="3600" cy="3420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
        <p:nvSpPr>
          <p:cNvPr id="46" name="Tijdelijke aanduiding voor verticale tekst 2">
            <a:extLst>
              <a:ext uri="{FF2B5EF4-FFF2-40B4-BE49-F238E27FC236}">
                <a16:creationId xmlns:a16="http://schemas.microsoft.com/office/drawing/2014/main" id="{A2F1B61F-2227-4789-A07D-243ADF52E548}"/>
              </a:ext>
            </a:extLst>
          </p:cNvPr>
          <p:cNvSpPr>
            <a:spLocks noGrp="1"/>
          </p:cNvSpPr>
          <p:nvPr>
            <p:ph type="body" orient="vert" idx="32" hasCustomPrompt="1"/>
          </p:nvPr>
        </p:nvSpPr>
        <p:spPr>
          <a:xfrm>
            <a:off x="7719863" y="3285848"/>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47" name="Tijdelijke aanduiding voor verticale tekst 2">
            <a:extLst>
              <a:ext uri="{FF2B5EF4-FFF2-40B4-BE49-F238E27FC236}">
                <a16:creationId xmlns:a16="http://schemas.microsoft.com/office/drawing/2014/main" id="{33911C78-E5CA-4846-9A9D-9FEEC0670F7B}"/>
              </a:ext>
            </a:extLst>
          </p:cNvPr>
          <p:cNvSpPr>
            <a:spLocks noGrp="1"/>
          </p:cNvSpPr>
          <p:nvPr>
            <p:ph type="body" orient="vert" idx="33" hasCustomPrompt="1"/>
          </p:nvPr>
        </p:nvSpPr>
        <p:spPr>
          <a:xfrm>
            <a:off x="8969063" y="1617442"/>
            <a:ext cx="3600" cy="2628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
        <p:nvSpPr>
          <p:cNvPr id="48" name="Tijdelijke aanduiding voor verticale tekst 2">
            <a:extLst>
              <a:ext uri="{FF2B5EF4-FFF2-40B4-BE49-F238E27FC236}">
                <a16:creationId xmlns:a16="http://schemas.microsoft.com/office/drawing/2014/main" id="{5A4FB988-03E0-4476-BBBA-52D7647F29D6}"/>
              </a:ext>
            </a:extLst>
          </p:cNvPr>
          <p:cNvSpPr>
            <a:spLocks noGrp="1"/>
          </p:cNvSpPr>
          <p:nvPr>
            <p:ph type="body" orient="vert" idx="34" hasCustomPrompt="1"/>
          </p:nvPr>
        </p:nvSpPr>
        <p:spPr>
          <a:xfrm>
            <a:off x="9391977" y="2298293"/>
            <a:ext cx="1252800" cy="973197"/>
          </a:xfrm>
        </p:spPr>
        <p:txBody>
          <a:bodyPr vert="horz" lIns="0" tIns="72000" rIns="72000" bIns="0" anchor="b"/>
          <a:lstStyle>
            <a:lvl1pPr marL="0" indent="0" algn="r">
              <a:buFontTx/>
              <a:buNone/>
              <a:defRPr sz="1200" b="1">
                <a:solidFill>
                  <a:schemeClr val="tx2"/>
                </a:solidFill>
              </a:defRPr>
            </a:lvl1pPr>
            <a:lvl2pPr marL="0" indent="0" algn="r">
              <a:buFontTx/>
              <a:buNone/>
              <a:defRPr sz="1050"/>
            </a:lvl2pPr>
            <a:lvl3pPr>
              <a:defRPr sz="1200"/>
            </a:lvl3pPr>
            <a:lvl4pPr>
              <a:defRPr sz="1600">
                <a:solidFill>
                  <a:schemeClr val="accent1"/>
                </a:solidFill>
              </a:defRPr>
            </a:lvl4pPr>
            <a:lvl5pPr>
              <a:defRPr sz="1200"/>
            </a:lvl5pPr>
            <a:lvl6pPr>
              <a:defRPr/>
            </a:lvl6pPr>
            <a:lvl7pPr>
              <a:defRPr/>
            </a:lvl7pPr>
            <a:lvl8pPr>
              <a:defRPr/>
            </a:lvl8pPr>
            <a:lvl9pPr>
              <a:defRPr/>
            </a:lvl9pPr>
          </a:lstStyle>
          <a:p>
            <a:pPr lvl="0"/>
            <a:r>
              <a:rPr lang="nl-NL"/>
              <a:t>Subtitel</a:t>
            </a:r>
          </a:p>
          <a:p>
            <a:pPr lvl="1"/>
            <a:r>
              <a:rPr lang="nl-NL"/>
              <a:t>tekst</a:t>
            </a:r>
          </a:p>
        </p:txBody>
      </p:sp>
      <p:sp>
        <p:nvSpPr>
          <p:cNvPr id="49" name="Tijdelijke aanduiding voor verticale tekst 2">
            <a:extLst>
              <a:ext uri="{FF2B5EF4-FFF2-40B4-BE49-F238E27FC236}">
                <a16:creationId xmlns:a16="http://schemas.microsoft.com/office/drawing/2014/main" id="{4FC31CE0-2B08-47E2-AFF1-E0B5027FF435}"/>
              </a:ext>
            </a:extLst>
          </p:cNvPr>
          <p:cNvSpPr>
            <a:spLocks noGrp="1"/>
          </p:cNvSpPr>
          <p:nvPr>
            <p:ph type="body" orient="vert" idx="35" hasCustomPrompt="1"/>
          </p:nvPr>
        </p:nvSpPr>
        <p:spPr>
          <a:xfrm>
            <a:off x="10641177" y="1609757"/>
            <a:ext cx="3600" cy="1656000"/>
          </a:xfrm>
          <a:solidFill>
            <a:schemeClr val="accent1"/>
          </a:solidFill>
        </p:spPr>
        <p:txBody>
          <a:bodyPr vert="horz" lIns="0" tIns="0" rIns="0" bIns="0"/>
          <a:lstStyle>
            <a:lvl1pPr marL="0" indent="0" algn="ctr">
              <a:buFontTx/>
              <a:buNone/>
              <a:defRPr sz="1050"/>
            </a:lvl1pPr>
            <a:lvl2pPr marL="0" indent="0" algn="ctr">
              <a:buFontTx/>
              <a:buNone/>
              <a:tabLst/>
              <a:defRPr sz="1050"/>
            </a:lvl2pPr>
            <a:lvl3pPr algn="ctr">
              <a:defRPr sz="1050"/>
            </a:lvl3pPr>
            <a:lvl4pPr algn="ctr">
              <a:defRPr sz="1050" b="0">
                <a:solidFill>
                  <a:schemeClr val="tx2"/>
                </a:solidFill>
              </a:defRPr>
            </a:lvl4pPr>
            <a:lvl5pPr marL="0" indent="0" algn="ctr">
              <a:buFontTx/>
              <a:buNone/>
              <a:defRPr sz="1050"/>
            </a:lvl5pPr>
            <a:lvl6pPr marL="0" indent="0" algn="ctr">
              <a:buFontTx/>
              <a:buNone/>
              <a:defRPr sz="1050"/>
            </a:lvl6pPr>
            <a:lvl7pPr marL="0" indent="0" algn="ctr">
              <a:buFontTx/>
              <a:buNone/>
              <a:defRPr sz="1050"/>
            </a:lvl7pPr>
            <a:lvl8pPr algn="ctr">
              <a:defRPr sz="1050"/>
            </a:lvl8pPr>
            <a:lvl9pPr algn="ctr">
              <a:defRPr sz="1050" b="0">
                <a:solidFill>
                  <a:schemeClr val="tx2"/>
                </a:solidFill>
              </a:defRPr>
            </a:lvl9pPr>
          </a:lstStyle>
          <a:p>
            <a:pPr lvl="0"/>
            <a:r>
              <a:rPr lang="nl-NL"/>
              <a:t>    </a:t>
            </a:r>
          </a:p>
        </p:txBody>
      </p:sp>
    </p:spTree>
    <p:extLst>
      <p:ext uri="{BB962C8B-B14F-4D97-AF65-F5344CB8AC3E}">
        <p14:creationId xmlns:p14="http://schemas.microsoft.com/office/powerpoint/2010/main" val="259849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apportage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06566E-B001-4644-86A4-1AF32C03423F}"/>
              </a:ext>
            </a:extLst>
          </p:cNvPr>
          <p:cNvGraphicFramePr>
            <a:graphicFrameLocks noChangeAspect="1"/>
          </p:cNvGraphicFramePr>
          <p:nvPr userDrawn="1">
            <p:custDataLst>
              <p:tags r:id="rId1"/>
            </p:custDataLst>
            <p:extLst>
              <p:ext uri="{D42A27DB-BD31-4B8C-83A1-F6EECF244321}">
                <p14:modId xmlns:p14="http://schemas.microsoft.com/office/powerpoint/2010/main" val="191008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C06566E-B001-4644-86A4-1AF32C0342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ACEC9AB6-7704-47D0-B086-2D2C75A65AE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400" b="1" i="0" baseline="0">
              <a:latin typeface="Arial" panose="020B0604020202020204" pitchFamily="34" charset="0"/>
              <a:ea typeface="+mj-ea"/>
              <a:cs typeface="+mj-cs"/>
              <a:sym typeface="Arial" panose="020B0604020202020204" pitchFamily="34" charset="0"/>
            </a:endParaRPr>
          </a:p>
        </p:txBody>
      </p:sp>
      <p:sp>
        <p:nvSpPr>
          <p:cNvPr id="8" name="Rechthoek 7">
            <a:extLst>
              <a:ext uri="{FF2B5EF4-FFF2-40B4-BE49-F238E27FC236}">
                <a16:creationId xmlns:a16="http://schemas.microsoft.com/office/drawing/2014/main" id="{7B4865A0-DBEF-46F5-A66C-8F0BED176B92}"/>
              </a:ext>
            </a:extLst>
          </p:cNvPr>
          <p:cNvSpPr/>
          <p:nvPr userDrawn="1"/>
        </p:nvSpPr>
        <p:spPr>
          <a:xfrm>
            <a:off x="528638" y="517525"/>
            <a:ext cx="3528000" cy="5822949"/>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708739" y="708553"/>
            <a:ext cx="3167798" cy="726548"/>
          </a:xfrm>
        </p:spPr>
        <p:txBody>
          <a:bodyPr lIns="0" tIns="0" rIns="0" bIns="0"/>
          <a:lstStyle>
            <a:lvl1pPr algn="l">
              <a:defRPr sz="2400"/>
            </a:lvl1pPr>
          </a:lstStyle>
          <a:p>
            <a:r>
              <a:rPr lang="nl-NL"/>
              <a:t>Plaats hier titel Rapportage</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9" name="Tijdelijke aanduiding voor verticale tekst 2">
            <a:extLst>
              <a:ext uri="{FF2B5EF4-FFF2-40B4-BE49-F238E27FC236}">
                <a16:creationId xmlns:a16="http://schemas.microsoft.com/office/drawing/2014/main" id="{6BFA70BD-01A4-4541-BD75-C9816FD3ADC9}"/>
              </a:ext>
            </a:extLst>
          </p:cNvPr>
          <p:cNvSpPr>
            <a:spLocks noGrp="1"/>
          </p:cNvSpPr>
          <p:nvPr>
            <p:ph type="body" orient="vert" idx="1" hasCustomPrompt="1"/>
          </p:nvPr>
        </p:nvSpPr>
        <p:spPr>
          <a:xfrm>
            <a:off x="727555" y="1626129"/>
            <a:ext cx="3130166" cy="4518719"/>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50" name="Tijdelijke aanduiding voor verticale tekst 2">
            <a:extLst>
              <a:ext uri="{FF2B5EF4-FFF2-40B4-BE49-F238E27FC236}">
                <a16:creationId xmlns:a16="http://schemas.microsoft.com/office/drawing/2014/main" id="{11D2EC00-3DD8-4172-8AAA-ABDA3F6FA6E4}"/>
              </a:ext>
            </a:extLst>
          </p:cNvPr>
          <p:cNvSpPr>
            <a:spLocks noGrp="1"/>
          </p:cNvSpPr>
          <p:nvPr>
            <p:ph type="body" orient="vert" idx="13" hasCustomPrompt="1"/>
          </p:nvPr>
        </p:nvSpPr>
        <p:spPr>
          <a:xfrm>
            <a:off x="4331100" y="713150"/>
            <a:ext cx="3528000" cy="5431699"/>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51" name="Tijdelijke aanduiding voor verticale tekst 2">
            <a:extLst>
              <a:ext uri="{FF2B5EF4-FFF2-40B4-BE49-F238E27FC236}">
                <a16:creationId xmlns:a16="http://schemas.microsoft.com/office/drawing/2014/main" id="{DB0269CB-BA54-47DF-9353-A01581FDC7FF}"/>
              </a:ext>
            </a:extLst>
          </p:cNvPr>
          <p:cNvSpPr>
            <a:spLocks noGrp="1"/>
          </p:cNvSpPr>
          <p:nvPr>
            <p:ph type="body" orient="vert" idx="14" hasCustomPrompt="1"/>
          </p:nvPr>
        </p:nvSpPr>
        <p:spPr>
          <a:xfrm>
            <a:off x="8127187" y="713150"/>
            <a:ext cx="3528747" cy="5431699"/>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Tree>
    <p:extLst>
      <p:ext uri="{BB962C8B-B14F-4D97-AF65-F5344CB8AC3E}">
        <p14:creationId xmlns:p14="http://schemas.microsoft.com/office/powerpoint/2010/main" val="1255150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Rapportag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904A0C-82DD-46B0-8A35-CBB45779679B}"/>
              </a:ext>
            </a:extLst>
          </p:cNvPr>
          <p:cNvGraphicFramePr>
            <a:graphicFrameLocks noChangeAspect="1"/>
          </p:cNvGraphicFramePr>
          <p:nvPr userDrawn="1">
            <p:custDataLst>
              <p:tags r:id="rId1"/>
            </p:custDataLst>
            <p:extLst>
              <p:ext uri="{D42A27DB-BD31-4B8C-83A1-F6EECF244321}">
                <p14:modId xmlns:p14="http://schemas.microsoft.com/office/powerpoint/2010/main" val="3923073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EE904A0C-82DD-46B0-8A35-CBB4577967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DA893CEF-BCA8-4422-B6DC-54C1DD1B768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400" b="1" i="0" baseline="0">
              <a:latin typeface="Arial" panose="020B0604020202020204" pitchFamily="34" charset="0"/>
              <a:ea typeface="+mj-ea"/>
              <a:cs typeface="+mj-cs"/>
              <a:sym typeface="Arial" panose="020B0604020202020204" pitchFamily="34" charset="0"/>
            </a:endParaRPr>
          </a:p>
        </p:txBody>
      </p:sp>
      <p:sp>
        <p:nvSpPr>
          <p:cNvPr id="71" name="Rechthoek 70">
            <a:extLst>
              <a:ext uri="{FF2B5EF4-FFF2-40B4-BE49-F238E27FC236}">
                <a16:creationId xmlns:a16="http://schemas.microsoft.com/office/drawing/2014/main" id="{57EA739E-BA1C-43B3-B385-D4369C95C413}"/>
              </a:ext>
            </a:extLst>
          </p:cNvPr>
          <p:cNvSpPr/>
          <p:nvPr userDrawn="1"/>
        </p:nvSpPr>
        <p:spPr>
          <a:xfrm>
            <a:off x="0" y="-1"/>
            <a:ext cx="121920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Vrije vorm: vorm 71">
            <a:extLst>
              <a:ext uri="{FF2B5EF4-FFF2-40B4-BE49-F238E27FC236}">
                <a16:creationId xmlns:a16="http://schemas.microsoft.com/office/drawing/2014/main" id="{A77FB3BD-AD6F-4AA0-8DC4-BF9326BE914B}"/>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710506" y="708553"/>
            <a:ext cx="10960794" cy="497948"/>
          </a:xfrm>
        </p:spPr>
        <p:txBody>
          <a:bodyPr lIns="0" tIns="0" rIns="0" bIns="0"/>
          <a:lstStyle>
            <a:lvl1pPr algn="l">
              <a:defRPr sz="2400"/>
            </a:lvl1pPr>
          </a:lstStyle>
          <a:p>
            <a:r>
              <a:rPr lang="nl-NL"/>
              <a:t>Plaats hier titel Rapportage</a:t>
            </a:r>
          </a:p>
        </p:txBody>
      </p:sp>
      <p:sp>
        <p:nvSpPr>
          <p:cNvPr id="212" name="Tijdelijke aanduiding voor verticale tekst 2">
            <a:extLst>
              <a:ext uri="{FF2B5EF4-FFF2-40B4-BE49-F238E27FC236}">
                <a16:creationId xmlns:a16="http://schemas.microsoft.com/office/drawing/2014/main" id="{8651385C-9AF1-41A0-939A-3DECE619DC38}"/>
              </a:ext>
            </a:extLst>
          </p:cNvPr>
          <p:cNvSpPr>
            <a:spLocks noGrp="1"/>
          </p:cNvSpPr>
          <p:nvPr>
            <p:ph type="body" orient="vert" idx="13" hasCustomPrompt="1"/>
          </p:nvPr>
        </p:nvSpPr>
        <p:spPr>
          <a:xfrm>
            <a:off x="730634" y="2082799"/>
            <a:ext cx="5251066" cy="4252913"/>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sz="1200"/>
            </a:lvl6pPr>
            <a:lvl7pPr>
              <a:defRPr sz="1200"/>
            </a:lvl7pPr>
            <a:lvl8pPr>
              <a:defRPr sz="1200"/>
            </a:lvl8pPr>
            <a:lvl9pPr>
              <a:defRPr sz="1800"/>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13" name="Tijdelijke aanduiding voor verticale tekst 2">
            <a:extLst>
              <a:ext uri="{FF2B5EF4-FFF2-40B4-BE49-F238E27FC236}">
                <a16:creationId xmlns:a16="http://schemas.microsoft.com/office/drawing/2014/main" id="{94134BE1-BD98-46A7-B432-9858433835EF}"/>
              </a:ext>
            </a:extLst>
          </p:cNvPr>
          <p:cNvSpPr>
            <a:spLocks noGrp="1"/>
          </p:cNvSpPr>
          <p:nvPr>
            <p:ph type="body" orient="vert" idx="14" hasCustomPrompt="1"/>
          </p:nvPr>
        </p:nvSpPr>
        <p:spPr>
          <a:xfrm>
            <a:off x="6420234" y="2082799"/>
            <a:ext cx="5251066" cy="4252913"/>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sz="1200"/>
            </a:lvl6pPr>
            <a:lvl7pPr>
              <a:defRPr sz="1200"/>
            </a:lvl7pPr>
            <a:lvl8pPr>
              <a:defRPr sz="1200"/>
            </a:lvl8pPr>
            <a:lvl9pPr>
              <a:defRPr sz="1800"/>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14" name="Tijdelijke aanduiding voor tekst 3">
            <a:extLst>
              <a:ext uri="{FF2B5EF4-FFF2-40B4-BE49-F238E27FC236}">
                <a16:creationId xmlns:a16="http://schemas.microsoft.com/office/drawing/2014/main" id="{62579BB9-B505-4055-85B8-30511F5974A5}"/>
              </a:ext>
            </a:extLst>
          </p:cNvPr>
          <p:cNvSpPr>
            <a:spLocks noGrp="1"/>
          </p:cNvSpPr>
          <p:nvPr>
            <p:ph type="body" sz="quarter" idx="15" hasCustomPrompt="1"/>
          </p:nvPr>
        </p:nvSpPr>
        <p:spPr>
          <a:xfrm>
            <a:off x="730634" y="1293813"/>
            <a:ext cx="10940666" cy="570455"/>
          </a:xfrm>
        </p:spPr>
        <p:txBody>
          <a:bodyPr/>
          <a:lstStyle>
            <a:lvl1pPr marL="0" indent="0">
              <a:spcAft>
                <a:spcPts val="0"/>
              </a:spcAft>
              <a:buNone/>
              <a:defRPr sz="1600" b="1">
                <a:solidFill>
                  <a:schemeClr val="tx2"/>
                </a:solidFill>
              </a:defRPr>
            </a:lvl1pPr>
          </a:lstStyle>
          <a:p>
            <a:pPr lvl="0"/>
            <a:r>
              <a:rPr lang="nl-NL"/>
              <a:t>Subtitel </a:t>
            </a:r>
            <a:br>
              <a:rPr lang="nl-NL"/>
            </a:br>
            <a:r>
              <a:rPr lang="nl-NL"/>
              <a:t>maximaal 2 regels </a:t>
            </a:r>
          </a:p>
        </p:txBody>
      </p:sp>
    </p:spTree>
    <p:extLst>
      <p:ext uri="{BB962C8B-B14F-4D97-AF65-F5344CB8AC3E}">
        <p14:creationId xmlns:p14="http://schemas.microsoft.com/office/powerpoint/2010/main" val="116108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Algemeen met afbeelding">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27680045-D6AD-4AC7-8CD2-071C22C8D674}"/>
              </a:ext>
            </a:extLst>
          </p:cNvPr>
          <p:cNvSpPr>
            <a:spLocks noGrp="1"/>
          </p:cNvSpPr>
          <p:nvPr>
            <p:ph type="pic" sz="quarter" idx="11"/>
          </p:nvPr>
        </p:nvSpPr>
        <p:spPr>
          <a:xfrm>
            <a:off x="6337958" y="2212703"/>
            <a:ext cx="5403731" cy="3385341"/>
          </a:xfrm>
          <a:prstGeom prst="rect">
            <a:avLst/>
          </a:prstGeom>
        </p:spPr>
        <p:txBody>
          <a:bodyPr/>
          <a:lstStyle/>
          <a:p>
            <a:r>
              <a:rPr lang="nl-NL"/>
              <a:t>Klik op het pictogram als u een afbeelding wilt toevoegen</a:t>
            </a:r>
          </a:p>
        </p:txBody>
      </p:sp>
      <p:sp>
        <p:nvSpPr>
          <p:cNvPr id="9" name="Tijdelijke aanduiding voor tekst 7">
            <a:extLst>
              <a:ext uri="{FF2B5EF4-FFF2-40B4-BE49-F238E27FC236}">
                <a16:creationId xmlns:a16="http://schemas.microsoft.com/office/drawing/2014/main" id="{EA284B9E-A9DE-478E-93E5-4220A1145F5E}"/>
              </a:ext>
            </a:extLst>
          </p:cNvPr>
          <p:cNvSpPr>
            <a:spLocks noGrp="1"/>
          </p:cNvSpPr>
          <p:nvPr>
            <p:ph type="body" sz="quarter" idx="12" hasCustomPrompt="1"/>
          </p:nvPr>
        </p:nvSpPr>
        <p:spPr>
          <a:xfrm>
            <a:off x="450664" y="390509"/>
            <a:ext cx="11291025" cy="725430"/>
          </a:xfrm>
          <a:prstGeom prst="rect">
            <a:avLst/>
          </a:prstGeom>
        </p:spPr>
        <p:txBody>
          <a:bodyPr/>
          <a:lstStyle>
            <a:lvl1pPr>
              <a:defRPr sz="4231">
                <a:solidFill>
                  <a:srgbClr val="58595B"/>
                </a:solidFill>
                <a:latin typeface="Calibri" panose="020F0502020204030204" pitchFamily="34" charset="0"/>
                <a:cs typeface="Calibri" panose="020F0502020204030204" pitchFamily="34" charset="0"/>
              </a:defRPr>
            </a:lvl1pPr>
          </a:lstStyle>
          <a:p>
            <a:pPr lvl="0"/>
            <a:r>
              <a:rPr lang="nl-NL" dirty="0"/>
              <a:t>Titel</a:t>
            </a:r>
          </a:p>
        </p:txBody>
      </p:sp>
      <p:sp>
        <p:nvSpPr>
          <p:cNvPr id="10" name="Tijdelijke aanduiding voor tekst 9">
            <a:extLst>
              <a:ext uri="{FF2B5EF4-FFF2-40B4-BE49-F238E27FC236}">
                <a16:creationId xmlns:a16="http://schemas.microsoft.com/office/drawing/2014/main" id="{27D1644D-C2C1-4462-9D04-333A34A77D99}"/>
              </a:ext>
            </a:extLst>
          </p:cNvPr>
          <p:cNvSpPr>
            <a:spLocks noGrp="1"/>
          </p:cNvSpPr>
          <p:nvPr>
            <p:ph type="body" sz="quarter" idx="13" hasCustomPrompt="1"/>
          </p:nvPr>
        </p:nvSpPr>
        <p:spPr>
          <a:xfrm>
            <a:off x="450664" y="1091504"/>
            <a:ext cx="11291025" cy="1047843"/>
          </a:xfrm>
          <a:prstGeom prst="rect">
            <a:avLst/>
          </a:prstGeom>
        </p:spPr>
        <p:txBody>
          <a:bodyPr/>
          <a:lstStyle>
            <a:lvl1pPr>
              <a:defRPr sz="2539">
                <a:solidFill>
                  <a:srgbClr val="00849E"/>
                </a:solidFill>
                <a:latin typeface="Calibri" panose="020F0502020204030204" pitchFamily="34" charset="0"/>
                <a:cs typeface="Calibri" panose="020F0502020204030204" pitchFamily="34" charset="0"/>
              </a:defRPr>
            </a:lvl1pPr>
          </a:lstStyle>
          <a:p>
            <a:pPr lvl="0"/>
            <a:r>
              <a:rPr lang="nl-NL" dirty="0"/>
              <a:t>Subtitel</a:t>
            </a:r>
          </a:p>
        </p:txBody>
      </p:sp>
      <p:sp>
        <p:nvSpPr>
          <p:cNvPr id="11" name="Tijdelijke aanduiding voor tekst 11">
            <a:extLst>
              <a:ext uri="{FF2B5EF4-FFF2-40B4-BE49-F238E27FC236}">
                <a16:creationId xmlns:a16="http://schemas.microsoft.com/office/drawing/2014/main" id="{5F6CCCCB-D3EC-4DB0-AFE8-BC672B7BD649}"/>
              </a:ext>
            </a:extLst>
          </p:cNvPr>
          <p:cNvSpPr>
            <a:spLocks noGrp="1"/>
          </p:cNvSpPr>
          <p:nvPr>
            <p:ph type="body" sz="quarter" idx="14"/>
          </p:nvPr>
        </p:nvSpPr>
        <p:spPr>
          <a:xfrm>
            <a:off x="450311" y="2212703"/>
            <a:ext cx="5645689" cy="3385340"/>
          </a:xfrm>
          <a:prstGeom prst="rect">
            <a:avLst/>
          </a:prstGeom>
        </p:spPr>
        <p:txBody>
          <a:bodyPr/>
          <a:lstStyle>
            <a:lvl1pPr>
              <a:defRPr sz="2116">
                <a:solidFill>
                  <a:srgbClr val="58595B"/>
                </a:solidFill>
                <a:latin typeface="Calibri" panose="020F0502020204030204" pitchFamily="34" charset="0"/>
                <a:cs typeface="Calibri" panose="020F0502020204030204" pitchFamily="34" charset="0"/>
              </a:defRPr>
            </a:lvl1pPr>
            <a:lvl2pPr>
              <a:defRPr sz="1481">
                <a:solidFill>
                  <a:srgbClr val="58595B"/>
                </a:solidFill>
                <a:latin typeface="Calibri" panose="020F0502020204030204" pitchFamily="34" charset="0"/>
                <a:cs typeface="Calibri" panose="020F0502020204030204" pitchFamily="34" charset="0"/>
              </a:defRPr>
            </a:lvl2pPr>
            <a:lvl3pPr>
              <a:defRPr sz="1481">
                <a:solidFill>
                  <a:srgbClr val="58595B"/>
                </a:solidFill>
                <a:latin typeface="Calibri" panose="020F0502020204030204" pitchFamily="34" charset="0"/>
                <a:cs typeface="Calibri" panose="020F0502020204030204" pitchFamily="34" charset="0"/>
              </a:defRPr>
            </a:lvl3pPr>
            <a:lvl4pPr>
              <a:defRPr sz="1481">
                <a:solidFill>
                  <a:srgbClr val="58595B"/>
                </a:solidFill>
                <a:latin typeface="Calibri" panose="020F0502020204030204" pitchFamily="34" charset="0"/>
                <a:cs typeface="Calibri" panose="020F0502020204030204" pitchFamily="34" charset="0"/>
              </a:defRPr>
            </a:lvl4pPr>
            <a:lvl5pPr>
              <a:defRPr sz="1481">
                <a:solidFill>
                  <a:srgbClr val="58595B"/>
                </a:solidFill>
                <a:latin typeface="Calibri" panose="020F0502020204030204" pitchFamily="34" charset="0"/>
                <a:cs typeface="Calibri" panose="020F0502020204030204" pitchFamily="34" charset="0"/>
              </a:defRPr>
            </a:lvl5pPr>
          </a:lstStyle>
          <a:p>
            <a:pPr lvl="0"/>
            <a:r>
              <a:rPr lang="nl-NL"/>
              <a:t>Tekststijl van het model bewerken</a:t>
            </a:r>
          </a:p>
        </p:txBody>
      </p:sp>
      <p:sp>
        <p:nvSpPr>
          <p:cNvPr id="12" name="Tijdelijke aanduiding voor dianummer 6">
            <a:extLst>
              <a:ext uri="{FF2B5EF4-FFF2-40B4-BE49-F238E27FC236}">
                <a16:creationId xmlns:a16="http://schemas.microsoft.com/office/drawing/2014/main" id="{C0F9DDF4-A190-4537-A7C7-56A2751B7000}"/>
              </a:ext>
            </a:extLst>
          </p:cNvPr>
          <p:cNvSpPr>
            <a:spLocks noGrp="1"/>
          </p:cNvSpPr>
          <p:nvPr>
            <p:ph type="sldNum" sz="quarter" idx="4"/>
          </p:nvPr>
        </p:nvSpPr>
        <p:spPr>
          <a:xfrm>
            <a:off x="450311" y="6355909"/>
            <a:ext cx="645222" cy="366073"/>
          </a:xfrm>
          <a:prstGeom prst="rect">
            <a:avLst/>
          </a:prstGeom>
        </p:spPr>
        <p:txBody>
          <a:bodyPr vert="horz" lIns="91440" tIns="45720" rIns="91440" bIns="45720" rtlCol="0" anchor="ctr"/>
          <a:lstStyle>
            <a:lvl1pPr algn="l">
              <a:defRPr sz="952" b="1">
                <a:solidFill>
                  <a:schemeClr val="tx1">
                    <a:tint val="75000"/>
                  </a:schemeClr>
                </a:solidFill>
              </a:defRPr>
            </a:lvl1pPr>
          </a:lstStyle>
          <a:p>
            <a:fld id="{DEA48755-53D4-44E1-85A2-5F5774932B7A}" type="slidenum">
              <a:rPr lang="nl-NL" smtClean="0"/>
              <a:pPr/>
              <a:t>‹nr.›</a:t>
            </a:fld>
            <a:endParaRPr lang="nl-NL" dirty="0"/>
          </a:p>
        </p:txBody>
      </p:sp>
    </p:spTree>
    <p:extLst>
      <p:ext uri="{BB962C8B-B14F-4D97-AF65-F5344CB8AC3E}">
        <p14:creationId xmlns:p14="http://schemas.microsoft.com/office/powerpoint/2010/main" val="1958274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apportage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83F5BA-F0E6-40DB-BF99-790C4132C583}"/>
              </a:ext>
            </a:extLst>
          </p:cNvPr>
          <p:cNvGraphicFramePr>
            <a:graphicFrameLocks noChangeAspect="1"/>
          </p:cNvGraphicFramePr>
          <p:nvPr userDrawn="1">
            <p:custDataLst>
              <p:tags r:id="rId1"/>
            </p:custDataLst>
            <p:extLst>
              <p:ext uri="{D42A27DB-BD31-4B8C-83A1-F6EECF244321}">
                <p14:modId xmlns:p14="http://schemas.microsoft.com/office/powerpoint/2010/main" val="2671464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B283F5BA-F0E6-40DB-BF99-790C4132C5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FC090B62-6F33-4C92-8952-B4A58EA400C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2400" b="1" i="0" baseline="0">
              <a:latin typeface="Arial" panose="020B0604020202020204" pitchFamily="34" charset="0"/>
              <a:ea typeface="+mj-ea"/>
              <a:cs typeface="+mj-cs"/>
              <a:sym typeface="Arial" panose="020B0604020202020204" pitchFamily="34" charset="0"/>
            </a:endParaRPr>
          </a:p>
        </p:txBody>
      </p:sp>
      <p:sp>
        <p:nvSpPr>
          <p:cNvPr id="71" name="Rechthoek 70">
            <a:extLst>
              <a:ext uri="{FF2B5EF4-FFF2-40B4-BE49-F238E27FC236}">
                <a16:creationId xmlns:a16="http://schemas.microsoft.com/office/drawing/2014/main" id="{57EA739E-BA1C-43B3-B385-D4369C95C413}"/>
              </a:ext>
            </a:extLst>
          </p:cNvPr>
          <p:cNvSpPr/>
          <p:nvPr userDrawn="1"/>
        </p:nvSpPr>
        <p:spPr>
          <a:xfrm>
            <a:off x="0" y="-1"/>
            <a:ext cx="61087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2" name="Vrije vorm: vorm 71">
            <a:extLst>
              <a:ext uri="{FF2B5EF4-FFF2-40B4-BE49-F238E27FC236}">
                <a16:creationId xmlns:a16="http://schemas.microsoft.com/office/drawing/2014/main" id="{A77FB3BD-AD6F-4AA0-8DC4-BF9326BE914B}"/>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710506" y="708553"/>
            <a:ext cx="4891749" cy="497948"/>
          </a:xfrm>
        </p:spPr>
        <p:txBody>
          <a:bodyPr lIns="0" tIns="0" rIns="0" bIns="0"/>
          <a:lstStyle>
            <a:lvl1pPr algn="l">
              <a:defRPr sz="2400"/>
            </a:lvl1pPr>
          </a:lstStyle>
          <a:p>
            <a:r>
              <a:rPr lang="nl-NL"/>
              <a:t>Plaats hier titel Rapportage</a:t>
            </a:r>
          </a:p>
        </p:txBody>
      </p:sp>
      <p:sp>
        <p:nvSpPr>
          <p:cNvPr id="212" name="Tijdelijke aanduiding voor verticale tekst 2">
            <a:extLst>
              <a:ext uri="{FF2B5EF4-FFF2-40B4-BE49-F238E27FC236}">
                <a16:creationId xmlns:a16="http://schemas.microsoft.com/office/drawing/2014/main" id="{8651385C-9AF1-41A0-939A-3DECE619DC38}"/>
              </a:ext>
            </a:extLst>
          </p:cNvPr>
          <p:cNvSpPr>
            <a:spLocks noGrp="1"/>
          </p:cNvSpPr>
          <p:nvPr>
            <p:ph type="body" orient="vert" idx="13" hasCustomPrompt="1"/>
          </p:nvPr>
        </p:nvSpPr>
        <p:spPr>
          <a:xfrm>
            <a:off x="730634" y="2082799"/>
            <a:ext cx="4882766" cy="4252913"/>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sz="1200"/>
            </a:lvl6pPr>
            <a:lvl7pPr>
              <a:defRPr sz="1200"/>
            </a:lvl7pPr>
            <a:lvl8pPr>
              <a:defRPr sz="1200"/>
            </a:lvl8pPr>
            <a:lvl9pPr>
              <a:defRPr sz="1800"/>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13" name="Tijdelijke aanduiding voor verticale tekst 2">
            <a:extLst>
              <a:ext uri="{FF2B5EF4-FFF2-40B4-BE49-F238E27FC236}">
                <a16:creationId xmlns:a16="http://schemas.microsoft.com/office/drawing/2014/main" id="{94134BE1-BD98-46A7-B432-9858433835EF}"/>
              </a:ext>
            </a:extLst>
          </p:cNvPr>
          <p:cNvSpPr>
            <a:spLocks noGrp="1"/>
          </p:cNvSpPr>
          <p:nvPr>
            <p:ph type="body" orient="vert" idx="14" hasCustomPrompt="1"/>
          </p:nvPr>
        </p:nvSpPr>
        <p:spPr>
          <a:xfrm>
            <a:off x="6578600" y="2082799"/>
            <a:ext cx="5092700" cy="4252913"/>
          </a:xfrm>
        </p:spPr>
        <p:txBody>
          <a:bodyPr vert="horz" lIns="0" tIns="0" rIns="0" bIns="0"/>
          <a:lstStyle>
            <a:lvl1pPr>
              <a:defRPr sz="1200"/>
            </a:lvl1pPr>
            <a:lvl2pPr>
              <a:defRPr sz="1200"/>
            </a:lvl2pPr>
            <a:lvl3pPr>
              <a:defRPr sz="1200"/>
            </a:lvl3pPr>
            <a:lvl4pPr>
              <a:defRPr sz="1600">
                <a:solidFill>
                  <a:schemeClr val="tx2"/>
                </a:solidFill>
              </a:defRPr>
            </a:lvl4pPr>
            <a:lvl5pPr>
              <a:defRPr sz="1200"/>
            </a:lvl5pPr>
            <a:lvl6pPr>
              <a:defRPr sz="1200"/>
            </a:lvl6pPr>
            <a:lvl7pPr>
              <a:defRPr sz="1200"/>
            </a:lvl7pPr>
            <a:lvl8pPr>
              <a:defRPr sz="1200"/>
            </a:lvl8pPr>
            <a:lvl9pPr>
              <a:defRPr sz="1800"/>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14" name="Tijdelijke aanduiding voor tekst 3">
            <a:extLst>
              <a:ext uri="{FF2B5EF4-FFF2-40B4-BE49-F238E27FC236}">
                <a16:creationId xmlns:a16="http://schemas.microsoft.com/office/drawing/2014/main" id="{62579BB9-B505-4055-85B8-30511F5974A5}"/>
              </a:ext>
            </a:extLst>
          </p:cNvPr>
          <p:cNvSpPr>
            <a:spLocks noGrp="1"/>
          </p:cNvSpPr>
          <p:nvPr>
            <p:ph type="body" sz="quarter" idx="15" hasCustomPrompt="1"/>
          </p:nvPr>
        </p:nvSpPr>
        <p:spPr>
          <a:xfrm>
            <a:off x="730634" y="1293813"/>
            <a:ext cx="4882766" cy="570455"/>
          </a:xfrm>
        </p:spPr>
        <p:txBody>
          <a:bodyPr/>
          <a:lstStyle>
            <a:lvl1pPr marL="0" indent="0">
              <a:spcAft>
                <a:spcPts val="0"/>
              </a:spcAft>
              <a:buNone/>
              <a:defRPr sz="1600" b="1">
                <a:solidFill>
                  <a:schemeClr val="tx2"/>
                </a:solidFill>
              </a:defRPr>
            </a:lvl1pPr>
          </a:lstStyle>
          <a:p>
            <a:pPr lvl="0"/>
            <a:r>
              <a:rPr lang="nl-NL"/>
              <a:t>Subtitel </a:t>
            </a:r>
            <a:br>
              <a:rPr lang="nl-NL"/>
            </a:br>
            <a:r>
              <a:rPr lang="nl-NL"/>
              <a:t>maximaal 2 regels </a:t>
            </a:r>
          </a:p>
        </p:txBody>
      </p:sp>
      <p:sp>
        <p:nvSpPr>
          <p:cNvPr id="70" name="Tijdelijke aanduiding voor tekst 3">
            <a:extLst>
              <a:ext uri="{FF2B5EF4-FFF2-40B4-BE49-F238E27FC236}">
                <a16:creationId xmlns:a16="http://schemas.microsoft.com/office/drawing/2014/main" id="{943E0BC7-DB32-4DCF-B0AA-7CC1B836C9B6}"/>
              </a:ext>
            </a:extLst>
          </p:cNvPr>
          <p:cNvSpPr>
            <a:spLocks noGrp="1"/>
          </p:cNvSpPr>
          <p:nvPr>
            <p:ph type="body" sz="quarter" idx="16" hasCustomPrompt="1"/>
          </p:nvPr>
        </p:nvSpPr>
        <p:spPr>
          <a:xfrm>
            <a:off x="6578600" y="1293813"/>
            <a:ext cx="5092700" cy="570455"/>
          </a:xfrm>
        </p:spPr>
        <p:txBody>
          <a:bodyPr/>
          <a:lstStyle>
            <a:lvl1pPr marL="0" indent="0">
              <a:spcAft>
                <a:spcPts val="0"/>
              </a:spcAft>
              <a:buNone/>
              <a:defRPr sz="1600" b="1">
                <a:solidFill>
                  <a:schemeClr val="tx2"/>
                </a:solidFill>
              </a:defRPr>
            </a:lvl1pPr>
          </a:lstStyle>
          <a:p>
            <a:pPr lvl="0"/>
            <a:r>
              <a:rPr lang="nl-NL"/>
              <a:t>Subtitel </a:t>
            </a:r>
            <a:br>
              <a:rPr lang="nl-NL"/>
            </a:br>
            <a:r>
              <a:rPr lang="nl-NL"/>
              <a:t>maximaal 2 regels </a:t>
            </a:r>
          </a:p>
        </p:txBody>
      </p:sp>
      <p:sp>
        <p:nvSpPr>
          <p:cNvPr id="73" name="Tijdelijke aanduiding voor tekst 3">
            <a:extLst>
              <a:ext uri="{FF2B5EF4-FFF2-40B4-BE49-F238E27FC236}">
                <a16:creationId xmlns:a16="http://schemas.microsoft.com/office/drawing/2014/main" id="{DE1879D9-F982-406F-BCAD-B30DF1EDFFC8}"/>
              </a:ext>
            </a:extLst>
          </p:cNvPr>
          <p:cNvSpPr>
            <a:spLocks noGrp="1"/>
          </p:cNvSpPr>
          <p:nvPr>
            <p:ph type="body" sz="quarter" idx="17" hasCustomPrompt="1"/>
          </p:nvPr>
        </p:nvSpPr>
        <p:spPr>
          <a:xfrm>
            <a:off x="6578600" y="696913"/>
            <a:ext cx="5092700" cy="570455"/>
          </a:xfrm>
        </p:spPr>
        <p:txBody>
          <a:bodyPr/>
          <a:lstStyle>
            <a:lvl1pPr marL="0" indent="0">
              <a:spcAft>
                <a:spcPts val="0"/>
              </a:spcAft>
              <a:buNone/>
              <a:defRPr sz="2400" b="1">
                <a:solidFill>
                  <a:schemeClr val="tx2"/>
                </a:solidFill>
              </a:defRPr>
            </a:lvl1pPr>
          </a:lstStyle>
          <a:p>
            <a:pPr lvl="0"/>
            <a:r>
              <a:rPr lang="nl-NL"/>
              <a:t>Plaats hier titel Rapportage</a:t>
            </a:r>
          </a:p>
        </p:txBody>
      </p:sp>
    </p:spTree>
    <p:extLst>
      <p:ext uri="{BB962C8B-B14F-4D97-AF65-F5344CB8AC3E}">
        <p14:creationId xmlns:p14="http://schemas.microsoft.com/office/powerpoint/2010/main" val="99267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oorwoord instructies template-set">
    <p:bg>
      <p:bgPr>
        <a:solidFill>
          <a:srgbClr val="E2EED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C377EC-ABD9-4B2E-8362-A16711C93CFF}"/>
              </a:ext>
            </a:extLst>
          </p:cNvPr>
          <p:cNvGraphicFramePr>
            <a:graphicFrameLocks noChangeAspect="1"/>
          </p:cNvGraphicFramePr>
          <p:nvPr userDrawn="1">
            <p:custDataLst>
              <p:tags r:id="rId1"/>
            </p:custDataLst>
            <p:extLst>
              <p:ext uri="{D42A27DB-BD31-4B8C-83A1-F6EECF244321}">
                <p14:modId xmlns:p14="http://schemas.microsoft.com/office/powerpoint/2010/main" val="64450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EAC377EC-ABD9-4B2E-8362-A16711C93C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4" name="Titel 5">
            <a:extLst>
              <a:ext uri="{FF2B5EF4-FFF2-40B4-BE49-F238E27FC236}">
                <a16:creationId xmlns:a16="http://schemas.microsoft.com/office/drawing/2014/main" id="{048A83A0-A855-4816-AC35-52EEAD79C035}"/>
              </a:ext>
            </a:extLst>
          </p:cNvPr>
          <p:cNvSpPr txBox="1">
            <a:spLocks/>
          </p:cNvSpPr>
          <p:nvPr userDrawn="1"/>
        </p:nvSpPr>
        <p:spPr>
          <a:xfrm>
            <a:off x="1349118" y="1856658"/>
            <a:ext cx="10093324" cy="890050"/>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tabLst>
                <a:tab pos="1255713" algn="l"/>
              </a:tabLst>
              <a:defRPr sz="40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tab pos="1255713" algn="l"/>
              </a:tabLst>
              <a:defRPr/>
            </a:pPr>
            <a:r>
              <a:rPr lang="nl-NL" sz="4000">
                <a:solidFill>
                  <a:schemeClr val="tx2"/>
                </a:solidFill>
              </a:rPr>
              <a:t>Hulp nodig? </a:t>
            </a:r>
            <a:br>
              <a:rPr lang="nl-NL" sz="4000">
                <a:solidFill>
                  <a:schemeClr val="tx2"/>
                </a:solidFill>
              </a:rPr>
            </a:br>
            <a:r>
              <a:rPr lang="nl-NL" sz="4000" b="0" i="1">
                <a:solidFill>
                  <a:schemeClr val="tx2"/>
                </a:solidFill>
              </a:rPr>
              <a:t>- </a:t>
            </a:r>
            <a:r>
              <a:rPr lang="nl-NL" sz="4000" b="0" i="1" u="none">
                <a:solidFill>
                  <a:schemeClr val="tx2"/>
                </a:solidFill>
              </a:rPr>
              <a:t>Bekijk de instructies PowerPoint</a:t>
            </a:r>
            <a:endParaRPr kumimoji="0" lang="nl-NL" sz="4000" b="0" i="1" u="none" strike="noStrike" kern="1200" cap="none" spc="0" normalizeH="0" baseline="0" noProof="0">
              <a:ln>
                <a:noFill/>
              </a:ln>
              <a:solidFill>
                <a:schemeClr val="tx2"/>
              </a:solidFill>
              <a:effectLst/>
              <a:uLnTx/>
              <a:uFillTx/>
              <a:latin typeface="Arial"/>
              <a:ea typeface="+mj-ea"/>
              <a:cs typeface="+mj-cs"/>
            </a:endParaRPr>
          </a:p>
        </p:txBody>
      </p:sp>
      <p:sp>
        <p:nvSpPr>
          <p:cNvPr id="8" name="Vrije vorm: vorm 7">
            <a:extLst>
              <a:ext uri="{FF2B5EF4-FFF2-40B4-BE49-F238E27FC236}">
                <a16:creationId xmlns:a16="http://schemas.microsoft.com/office/drawing/2014/main" id="{AC65FF0F-A4A6-4F80-A807-6DD09071E609}"/>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Tijdelijke aanduiding voor verticale tekst 6">
            <a:extLst>
              <a:ext uri="{FF2B5EF4-FFF2-40B4-BE49-F238E27FC236}">
                <a16:creationId xmlns:a16="http://schemas.microsoft.com/office/drawing/2014/main" id="{BCDF448C-5D40-4DB8-9EE4-3A3B6366604C}"/>
              </a:ext>
            </a:extLst>
          </p:cNvPr>
          <p:cNvSpPr txBox="1">
            <a:spLocks/>
          </p:cNvSpPr>
          <p:nvPr userDrawn="1"/>
        </p:nvSpPr>
        <p:spPr>
          <a:xfrm>
            <a:off x="1349118" y="3088188"/>
            <a:ext cx="10093325" cy="284919"/>
          </a:xfrm>
          <a:prstGeom prst="rect">
            <a:avLst/>
          </a:prstGeom>
        </p:spPr>
        <p:txBody>
          <a:bodyPr vert="horz" lIns="0" tIns="0" rIns="0" bIns="0" rtlCol="0">
            <a:noAutofit/>
          </a:bodyPr>
          <a:lstStyle>
            <a:lvl1pPr marL="0" indent="0" algn="l" defTabSz="719138" rtl="0" eaLnBrk="1" latinLnBrk="0" hangingPunct="1">
              <a:lnSpc>
                <a:spcPct val="90000"/>
              </a:lnSpc>
              <a:spcBef>
                <a:spcPts val="0"/>
              </a:spcBef>
              <a:spcAft>
                <a:spcPts val="1200"/>
              </a:spcAft>
              <a:buClrTx/>
              <a:buSzPct val="100000"/>
              <a:buFontTx/>
              <a:buNone/>
              <a:defRPr sz="1800" kern="1200">
                <a:solidFill>
                  <a:schemeClr val="bg1"/>
                </a:solidFill>
                <a:latin typeface="+mn-lt"/>
                <a:ea typeface="+mn-ea"/>
                <a:cs typeface="+mn-cs"/>
              </a:defRPr>
            </a:lvl1pPr>
            <a:lvl2pPr marL="538163" indent="-274638" algn="l" defTabSz="719138" rtl="0" eaLnBrk="1" latinLnBrk="0" hangingPunct="1">
              <a:lnSpc>
                <a:spcPct val="90000"/>
              </a:lnSpc>
              <a:spcBef>
                <a:spcPts val="0"/>
              </a:spcBef>
              <a:spcAft>
                <a:spcPts val="1200"/>
              </a:spcAft>
              <a:buClrTx/>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90000"/>
              </a:lnSpc>
              <a:spcBef>
                <a:spcPts val="0"/>
              </a:spcBef>
              <a:spcAft>
                <a:spcPts val="12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90000"/>
              </a:lnSpc>
              <a:spcBef>
                <a:spcPts val="0"/>
              </a:spcBef>
              <a:spcAft>
                <a:spcPts val="1200"/>
              </a:spcAft>
              <a:buFont typeface="Arial" panose="020B0604020202020204" pitchFamily="34" charset="0"/>
              <a:buNone/>
              <a:defRPr sz="2000" b="1" kern="1200" cap="none" spc="30" baseline="0">
                <a:solidFill>
                  <a:schemeClr val="accent1"/>
                </a:solidFill>
                <a:latin typeface="+mj-lt"/>
                <a:ea typeface="+mn-ea"/>
                <a:cs typeface="Calibri" panose="020F0502020204030204" pitchFamily="34" charset="0"/>
              </a:defRPr>
            </a:lvl4pPr>
            <a:lvl5pPr marL="263525" indent="-263525" algn="l" defTabSz="719138" rtl="0" eaLnBrk="1" latinLnBrk="0" hangingPunct="1">
              <a:lnSpc>
                <a:spcPct val="90000"/>
              </a:lnSpc>
              <a:spcBef>
                <a:spcPts val="0"/>
              </a:spcBef>
              <a:spcAft>
                <a:spcPts val="12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90000"/>
              </a:lnSpc>
              <a:spcBef>
                <a:spcPts val="0"/>
              </a:spcBef>
              <a:spcAft>
                <a:spcPts val="1200"/>
              </a:spcAft>
              <a:buClrTx/>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90000"/>
              </a:lnSpc>
              <a:spcBef>
                <a:spcPts val="0"/>
              </a:spcBef>
              <a:spcAft>
                <a:spcPts val="1200"/>
              </a:spcAft>
              <a:buClrTx/>
              <a:buFont typeface="Arial" panose="020B0604020202020204" pitchFamily="34" charset="0"/>
              <a:buChar char="•"/>
              <a:defRPr sz="1600" b="0" i="0" kern="1200">
                <a:solidFill>
                  <a:schemeClr val="tx2"/>
                </a:solidFill>
                <a:latin typeface="+mn-lt"/>
                <a:ea typeface="+mn-ea"/>
                <a:cs typeface="+mn-cs"/>
              </a:defRPr>
            </a:lvl7pPr>
            <a:lvl8pPr marL="266700" indent="-266700" algn="l" defTabSz="914400" rtl="0" eaLnBrk="1" latinLnBrk="0" hangingPunct="1">
              <a:lnSpc>
                <a:spcPct val="90000"/>
              </a:lnSpc>
              <a:spcBef>
                <a:spcPts val="0"/>
              </a:spcBef>
              <a:spcAft>
                <a:spcPts val="1200"/>
              </a:spcAft>
              <a:buFont typeface="Arial" panose="020B0604020202020204" pitchFamily="34" charset="0"/>
              <a:buChar char="•"/>
              <a:defRPr sz="1600" i="0" kern="1200">
                <a:solidFill>
                  <a:schemeClr val="tx2"/>
                </a:solidFill>
                <a:latin typeface="+mn-lt"/>
                <a:ea typeface="+mn-ea"/>
                <a:cs typeface="+mn-cs"/>
              </a:defRPr>
            </a:lvl8pPr>
            <a:lvl9pPr marL="542925" indent="-276225" algn="l" defTabSz="914400" rtl="0" eaLnBrk="1" latinLnBrk="0" hangingPunct="1">
              <a:lnSpc>
                <a:spcPct val="90000"/>
              </a:lnSpc>
              <a:spcBef>
                <a:spcPts val="0"/>
              </a:spcBef>
              <a:spcAft>
                <a:spcPts val="1200"/>
              </a:spcAft>
              <a:buFont typeface="Calibri Light" panose="020F0302020204030204" pitchFamily="34" charset="0"/>
              <a:buChar char="─"/>
              <a:defRPr sz="1600" b="0" kern="1200">
                <a:solidFill>
                  <a:schemeClr val="tx2"/>
                </a:solidFill>
                <a:latin typeface="+mj-lt"/>
                <a:ea typeface="+mn-ea"/>
                <a:cs typeface="+mn-cs"/>
              </a:defRPr>
            </a:lvl9pPr>
          </a:lstStyle>
          <a:p>
            <a:r>
              <a:rPr lang="nl-NL" sz="1800" b="1" kern="1200">
                <a:solidFill>
                  <a:schemeClr val="tx2"/>
                </a:solidFill>
                <a:latin typeface="+mn-lt"/>
                <a:ea typeface="+mn-ea"/>
                <a:cs typeface="+mn-cs"/>
              </a:rPr>
              <a:t>Maak het jezelf makkelijk en bekijk de instructies PowerPoint op Achmeanet.</a:t>
            </a:r>
          </a:p>
        </p:txBody>
      </p:sp>
      <p:sp>
        <p:nvSpPr>
          <p:cNvPr id="21" name="Tijdelijke aanduiding voor verticale tekst 6">
            <a:extLst>
              <a:ext uri="{FF2B5EF4-FFF2-40B4-BE49-F238E27FC236}">
                <a16:creationId xmlns:a16="http://schemas.microsoft.com/office/drawing/2014/main" id="{F48F8A35-F12B-4F30-BABD-8735FC069CD0}"/>
              </a:ext>
            </a:extLst>
          </p:cNvPr>
          <p:cNvSpPr txBox="1">
            <a:spLocks/>
          </p:cNvSpPr>
          <p:nvPr userDrawn="1"/>
        </p:nvSpPr>
        <p:spPr>
          <a:xfrm>
            <a:off x="1349119" y="3510014"/>
            <a:ext cx="8433494" cy="1957335"/>
          </a:xfrm>
          <a:prstGeom prst="rect">
            <a:avLst/>
          </a:prstGeom>
        </p:spPr>
        <p:txBody>
          <a:bodyPr vert="horz" lIns="0" tIns="0" rIns="0" bIns="0" numCol="2" rtlCol="0">
            <a:noAutofit/>
          </a:bodyPr>
          <a:lstStyle>
            <a:lvl1pPr marL="0" indent="0" algn="l" defTabSz="719138" rtl="0" eaLnBrk="1" latinLnBrk="0" hangingPunct="1">
              <a:lnSpc>
                <a:spcPct val="90000"/>
              </a:lnSpc>
              <a:spcBef>
                <a:spcPts val="0"/>
              </a:spcBef>
              <a:spcAft>
                <a:spcPts val="1200"/>
              </a:spcAft>
              <a:buClrTx/>
              <a:buSzPct val="100000"/>
              <a:buFontTx/>
              <a:buNone/>
              <a:defRPr sz="1800" kern="1200">
                <a:solidFill>
                  <a:schemeClr val="bg1"/>
                </a:solidFill>
                <a:latin typeface="+mn-lt"/>
                <a:ea typeface="+mn-ea"/>
                <a:cs typeface="+mn-cs"/>
              </a:defRPr>
            </a:lvl1pPr>
            <a:lvl2pPr marL="538163" indent="-274638" algn="l" defTabSz="719138" rtl="0" eaLnBrk="1" latinLnBrk="0" hangingPunct="1">
              <a:lnSpc>
                <a:spcPct val="90000"/>
              </a:lnSpc>
              <a:spcBef>
                <a:spcPts val="0"/>
              </a:spcBef>
              <a:spcAft>
                <a:spcPts val="1200"/>
              </a:spcAft>
              <a:buClrTx/>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90000"/>
              </a:lnSpc>
              <a:spcBef>
                <a:spcPts val="0"/>
              </a:spcBef>
              <a:spcAft>
                <a:spcPts val="12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90000"/>
              </a:lnSpc>
              <a:spcBef>
                <a:spcPts val="0"/>
              </a:spcBef>
              <a:spcAft>
                <a:spcPts val="1200"/>
              </a:spcAft>
              <a:buFont typeface="Arial" panose="020B0604020202020204" pitchFamily="34" charset="0"/>
              <a:buNone/>
              <a:defRPr sz="2000" b="1" kern="1200" cap="none" spc="30" baseline="0">
                <a:solidFill>
                  <a:schemeClr val="accent1"/>
                </a:solidFill>
                <a:latin typeface="+mj-lt"/>
                <a:ea typeface="+mn-ea"/>
                <a:cs typeface="Calibri" panose="020F0502020204030204" pitchFamily="34" charset="0"/>
              </a:defRPr>
            </a:lvl4pPr>
            <a:lvl5pPr marL="263525" indent="-263525" algn="l" defTabSz="719138" rtl="0" eaLnBrk="1" latinLnBrk="0" hangingPunct="1">
              <a:lnSpc>
                <a:spcPct val="90000"/>
              </a:lnSpc>
              <a:spcBef>
                <a:spcPts val="0"/>
              </a:spcBef>
              <a:spcAft>
                <a:spcPts val="12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90000"/>
              </a:lnSpc>
              <a:spcBef>
                <a:spcPts val="0"/>
              </a:spcBef>
              <a:spcAft>
                <a:spcPts val="1200"/>
              </a:spcAft>
              <a:buClrTx/>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90000"/>
              </a:lnSpc>
              <a:spcBef>
                <a:spcPts val="0"/>
              </a:spcBef>
              <a:spcAft>
                <a:spcPts val="1200"/>
              </a:spcAft>
              <a:buClrTx/>
              <a:buFont typeface="Arial" panose="020B0604020202020204" pitchFamily="34" charset="0"/>
              <a:buChar char="•"/>
              <a:defRPr sz="1600" b="0" i="0" kern="1200">
                <a:solidFill>
                  <a:schemeClr val="tx2"/>
                </a:solidFill>
                <a:latin typeface="+mn-lt"/>
                <a:ea typeface="+mn-ea"/>
                <a:cs typeface="+mn-cs"/>
              </a:defRPr>
            </a:lvl7pPr>
            <a:lvl8pPr marL="266700" indent="-266700" algn="l" defTabSz="914400" rtl="0" eaLnBrk="1" latinLnBrk="0" hangingPunct="1">
              <a:lnSpc>
                <a:spcPct val="90000"/>
              </a:lnSpc>
              <a:spcBef>
                <a:spcPts val="0"/>
              </a:spcBef>
              <a:spcAft>
                <a:spcPts val="1200"/>
              </a:spcAft>
              <a:buFont typeface="Arial" panose="020B0604020202020204" pitchFamily="34" charset="0"/>
              <a:buChar char="•"/>
              <a:defRPr sz="1600" i="0" kern="1200">
                <a:solidFill>
                  <a:schemeClr val="tx2"/>
                </a:solidFill>
                <a:latin typeface="+mn-lt"/>
                <a:ea typeface="+mn-ea"/>
                <a:cs typeface="+mn-cs"/>
              </a:defRPr>
            </a:lvl8pPr>
            <a:lvl9pPr marL="542925" indent="-276225" algn="l" defTabSz="914400" rtl="0" eaLnBrk="1" latinLnBrk="0" hangingPunct="1">
              <a:lnSpc>
                <a:spcPct val="90000"/>
              </a:lnSpc>
              <a:spcBef>
                <a:spcPts val="0"/>
              </a:spcBef>
              <a:spcAft>
                <a:spcPts val="1200"/>
              </a:spcAft>
              <a:buFont typeface="Calibri Light" panose="020F0302020204030204" pitchFamily="34" charset="0"/>
              <a:buChar char="─"/>
              <a:defRPr sz="1600" b="0" kern="1200">
                <a:solidFill>
                  <a:schemeClr val="tx2"/>
                </a:solidFill>
                <a:latin typeface="+mj-lt"/>
                <a:ea typeface="+mn-ea"/>
                <a:cs typeface="+mn-cs"/>
              </a:defRPr>
            </a:lvl9pPr>
          </a:lstStyle>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Uitleg video’s</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Oude template overnem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Tekst niveaus kiez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Afbeelding invoegen, </a:t>
            </a:r>
            <a:br>
              <a:rPr lang="nl-NL" sz="1800" kern="1200">
                <a:solidFill>
                  <a:schemeClr val="tx2"/>
                </a:solidFill>
                <a:latin typeface="+mn-lt"/>
                <a:ea typeface="+mn-ea"/>
                <a:cs typeface="+mn-cs"/>
              </a:rPr>
            </a:br>
            <a:r>
              <a:rPr lang="nl-NL" sz="1800" kern="1200">
                <a:solidFill>
                  <a:schemeClr val="tx2"/>
                </a:solidFill>
                <a:latin typeface="+mn-lt"/>
                <a:ea typeface="+mn-ea"/>
                <a:cs typeface="+mn-cs"/>
              </a:rPr>
              <a:t>dia herstellen, beeld bijsnijd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Video invoeg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Grafiek invoegen/verander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Tabel invoegen /verander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Kleur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Themakleuren</a:t>
            </a:r>
          </a:p>
          <a:p>
            <a:pPr marL="285750" indent="-285750">
              <a:spcAft>
                <a:spcPts val="900"/>
              </a:spcAft>
              <a:buFont typeface="Arial" panose="020B0604020202020204" pitchFamily="34" charset="0"/>
              <a:buChar char="•"/>
            </a:pPr>
            <a:r>
              <a:rPr lang="nl-NL" sz="1800" kern="1200">
                <a:solidFill>
                  <a:schemeClr val="tx2"/>
                </a:solidFill>
                <a:latin typeface="+mn-lt"/>
                <a:ea typeface="+mn-ea"/>
                <a:cs typeface="+mn-cs"/>
              </a:rPr>
              <a:t>Voettekst wijzigen</a:t>
            </a:r>
          </a:p>
        </p:txBody>
      </p:sp>
      <p:sp>
        <p:nvSpPr>
          <p:cNvPr id="10" name="Tijdelijke aanduiding voor verticale tekst 2">
            <a:extLst>
              <a:ext uri="{FF2B5EF4-FFF2-40B4-BE49-F238E27FC236}">
                <a16:creationId xmlns:a16="http://schemas.microsoft.com/office/drawing/2014/main" id="{234F6205-2DEC-4E93-A900-6E2E641CD8C7}"/>
              </a:ext>
            </a:extLst>
          </p:cNvPr>
          <p:cNvSpPr>
            <a:spLocks noGrp="1"/>
          </p:cNvSpPr>
          <p:nvPr>
            <p:ph type="body" orient="vert" idx="13" hasCustomPrompt="1"/>
          </p:nvPr>
        </p:nvSpPr>
        <p:spPr>
          <a:xfrm>
            <a:off x="710506" y="713151"/>
            <a:ext cx="2217600" cy="7020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399152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3_grafieke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1034687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jdelijke aanduiding voor dianummer 5"/>
          <p:cNvSpPr txBox="1">
            <a:spLocks/>
          </p:cNvSpPr>
          <p:nvPr/>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chemeClr val="bg1"/>
                </a:solidFill>
              </a:rPr>
              <a:pPr/>
              <a:t>‹nr.›</a:t>
            </a:fld>
            <a:endParaRPr lang="nl-NL" sz="1201">
              <a:solidFill>
                <a:schemeClr val="bg1"/>
              </a:solidFill>
            </a:endParaRPr>
          </a:p>
        </p:txBody>
      </p:sp>
      <p:sp>
        <p:nvSpPr>
          <p:cNvPr id="4" name="Text Placeholder 3"/>
          <p:cNvSpPr>
            <a:spLocks noGrp="1"/>
          </p:cNvSpPr>
          <p:nvPr>
            <p:ph type="body" sz="quarter" idx="10" hasCustomPrompt="1"/>
          </p:nvPr>
        </p:nvSpPr>
        <p:spPr>
          <a:xfrm>
            <a:off x="623888" y="476250"/>
            <a:ext cx="10944225" cy="677108"/>
          </a:xfrm>
          <a:prstGeom prst="rect">
            <a:avLst/>
          </a:prstGeom>
        </p:spPr>
        <p:txBody>
          <a:bodyPr wrap="square" lIns="0" tIns="0" rIns="0" bIns="0">
            <a:spAutoFit/>
          </a:bodyPr>
          <a:lstStyle>
            <a:lvl1pPr marL="0" marR="0" indent="0" algn="l" defTabSz="914394" rtl="0" eaLnBrk="1" fontAlgn="auto" latinLnBrk="0" hangingPunct="1">
              <a:lnSpc>
                <a:spcPct val="100000"/>
              </a:lnSpc>
              <a:spcBef>
                <a:spcPts val="0"/>
              </a:spcBef>
              <a:spcAft>
                <a:spcPts val="0"/>
              </a:spcAft>
              <a:buClrTx/>
              <a:buSzTx/>
              <a:buFont typeface="Arial" panose="020B0604020202020204" pitchFamily="34" charset="0"/>
              <a:buNone/>
              <a:tabLst/>
              <a:defRPr sz="2200" b="1"/>
            </a:lvl1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lang="nl-NL"/>
              <a:t>Titel- gebruik volzinnen, zorg dat de boodschap aansluit op de slide, max. 15 woorden, geen punt  - </a:t>
            </a:r>
            <a:r>
              <a:rPr lang="nl-NL" err="1"/>
              <a:t>Arial</a:t>
            </a:r>
            <a:r>
              <a:rPr lang="nl-NL"/>
              <a:t> 22 </a:t>
            </a:r>
            <a:r>
              <a:rPr lang="nl-NL" err="1"/>
              <a:t>Bold</a:t>
            </a:r>
            <a:endParaRPr lang="nl-NL"/>
          </a:p>
        </p:txBody>
      </p:sp>
      <p:sp>
        <p:nvSpPr>
          <p:cNvPr id="3" name="Text Placeholder 2"/>
          <p:cNvSpPr>
            <a:spLocks noGrp="1"/>
          </p:cNvSpPr>
          <p:nvPr>
            <p:ph type="body" sz="quarter" idx="11" hasCustomPrompt="1"/>
          </p:nvPr>
        </p:nvSpPr>
        <p:spPr>
          <a:xfrm>
            <a:off x="623888"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6" name="Straight Connector 5"/>
          <p:cNvCxnSpPr/>
          <p:nvPr/>
        </p:nvCxnSpPr>
        <p:spPr>
          <a:xfrm>
            <a:off x="623888"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hasCustomPrompt="1"/>
          </p:nvPr>
        </p:nvSpPr>
        <p:spPr>
          <a:xfrm>
            <a:off x="623888" y="6495892"/>
            <a:ext cx="10944225" cy="246221"/>
          </a:xfrm>
          <a:prstGeom prst="rect">
            <a:avLst/>
          </a:prstGeom>
        </p:spPr>
        <p:txBody>
          <a:bodyPr lIns="0" tIns="0" rIns="0" bIns="0" anchor="b">
            <a:noAutofit/>
          </a:bodyPr>
          <a:lstStyle>
            <a:lvl1pPr>
              <a:spcBef>
                <a:spcPts val="0"/>
              </a:spcBef>
              <a:defRPr lang="en-US" sz="1000" baseline="0" smtClean="0"/>
            </a:lvl1pPr>
            <a:lvl2pPr>
              <a:defRPr lang="en-US" smtClean="0"/>
            </a:lvl2pPr>
            <a:lvl3pPr>
              <a:defRPr lang="en-US" smtClean="0"/>
            </a:lvl3pPr>
            <a:lvl4pPr>
              <a:defRPr lang="en-US" smtClean="0"/>
            </a:lvl4pPr>
            <a:lvl5pPr>
              <a:defRPr lang="en-US"/>
            </a:lvl5pPr>
          </a:lstStyle>
          <a:p>
            <a:pPr lvl="0"/>
            <a:r>
              <a:rPr lang="nl-NL"/>
              <a:t>Voetnoot en bron – </a:t>
            </a:r>
            <a:r>
              <a:rPr lang="nl-NL" err="1"/>
              <a:t>Arial</a:t>
            </a:r>
            <a:r>
              <a:rPr lang="nl-NL"/>
              <a:t> 10</a:t>
            </a:r>
          </a:p>
        </p:txBody>
      </p:sp>
      <p:sp>
        <p:nvSpPr>
          <p:cNvPr id="12" name="Text Placeholder 2"/>
          <p:cNvSpPr>
            <a:spLocks noGrp="1"/>
          </p:cNvSpPr>
          <p:nvPr>
            <p:ph type="body" sz="quarter" idx="13" hasCustomPrompt="1"/>
          </p:nvPr>
        </p:nvSpPr>
        <p:spPr>
          <a:xfrm>
            <a:off x="4336702"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3" name="Straight Connector 12"/>
          <p:cNvCxnSpPr/>
          <p:nvPr/>
        </p:nvCxnSpPr>
        <p:spPr>
          <a:xfrm>
            <a:off x="4336702"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4" hasCustomPrompt="1"/>
          </p:nvPr>
        </p:nvSpPr>
        <p:spPr>
          <a:xfrm>
            <a:off x="8049517"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5" name="Straight Connector 14"/>
          <p:cNvCxnSpPr/>
          <p:nvPr/>
        </p:nvCxnSpPr>
        <p:spPr>
          <a:xfrm>
            <a:off x="8049517"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628005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Opsomm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21"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21" y="1592"/>
                        <a:ext cx="2116" cy="1587"/>
                      </a:xfrm>
                      <a:prstGeom prst="rect">
                        <a:avLst/>
                      </a:prstGeom>
                    </p:spPr>
                  </p:pic>
                </p:oleObj>
              </mc:Fallback>
            </mc:AlternateContent>
          </a:graphicData>
        </a:graphic>
      </p:graphicFrame>
      <p:sp>
        <p:nvSpPr>
          <p:cNvPr id="36" name="Tekstvak 35"/>
          <p:cNvSpPr txBox="1"/>
          <p:nvPr/>
        </p:nvSpPr>
        <p:spPr>
          <a:xfrm>
            <a:off x="8886845" y="-905263"/>
            <a:ext cx="3305175" cy="276999"/>
          </a:xfrm>
          <a:prstGeom prst="rect">
            <a:avLst/>
          </a:prstGeom>
          <a:noFill/>
        </p:spPr>
        <p:txBody>
          <a:bodyPr wrap="square" lIns="0" tIns="0" rIns="0" bIns="0" rtlCol="0">
            <a:spAutoFit/>
          </a:bodyPr>
          <a:lstStyle/>
          <a:p>
            <a:pPr algn="r"/>
            <a:r>
              <a:rPr lang="nl-NL">
                <a:solidFill>
                  <a:srgbClr val="113E82"/>
                </a:solidFill>
                <a:cs typeface="Arial"/>
                <a:sym typeface="Arial"/>
              </a:rPr>
              <a:t>100% tekst zonder subtitels</a:t>
            </a:r>
          </a:p>
        </p:txBody>
      </p:sp>
      <p:sp>
        <p:nvSpPr>
          <p:cNvPr id="9" name="Text Placeholder 2"/>
          <p:cNvSpPr>
            <a:spLocks noGrp="1"/>
          </p:cNvSpPr>
          <p:nvPr>
            <p:ph type="body" sz="quarter" idx="20" hasCustomPrompt="1"/>
          </p:nvPr>
        </p:nvSpPr>
        <p:spPr>
          <a:xfrm>
            <a:off x="839415" y="692695"/>
            <a:ext cx="10512000" cy="677108"/>
          </a:xfrm>
          <a:prstGeom prst="rect">
            <a:avLst/>
          </a:prstGeom>
        </p:spPr>
        <p:txBody>
          <a:bodyPr wrap="square" lIns="0" tIns="0" rIns="0" bIns="0">
            <a:spAutoFit/>
          </a:bodyPr>
          <a:lstStyle>
            <a:lvl1pPr>
              <a:defRPr lang="nl-NL" sz="2200" b="1" baseline="0" dirty="0">
                <a:solidFill>
                  <a:schemeClr val="accent2"/>
                </a:solidFill>
                <a:latin typeface="Arial"/>
                <a:cs typeface="Arial"/>
                <a:sym typeface="Arial"/>
              </a:defRPr>
            </a:lvl1pPr>
          </a:lstStyle>
          <a:p>
            <a:pPr lvl="0">
              <a:spcBef>
                <a:spcPts val="0"/>
              </a:spcBef>
            </a:pPr>
            <a:r>
              <a:rPr lang="nl-NL"/>
              <a:t>Titel- gebruik volzinnen, zorg dat de boodschap aansluit op de slide, max. 15 woorden, geen punt  - </a:t>
            </a:r>
            <a:r>
              <a:rPr lang="nl-NL" err="1"/>
              <a:t>Arial</a:t>
            </a:r>
            <a:r>
              <a:rPr lang="nl-NL"/>
              <a:t> 22 </a:t>
            </a:r>
            <a:r>
              <a:rPr lang="nl-NL" err="1"/>
              <a:t>Bold</a:t>
            </a:r>
            <a:endParaRPr lang="nl-NL"/>
          </a:p>
        </p:txBody>
      </p:sp>
      <p:sp>
        <p:nvSpPr>
          <p:cNvPr id="13" name="Tijdelijke aanduiding voor tekst 5"/>
          <p:cNvSpPr>
            <a:spLocks noGrp="1"/>
          </p:cNvSpPr>
          <p:nvPr>
            <p:ph type="body" sz="quarter" idx="15" hasCustomPrompt="1"/>
          </p:nvPr>
        </p:nvSpPr>
        <p:spPr>
          <a:xfrm>
            <a:off x="839415" y="6309350"/>
            <a:ext cx="10512000" cy="200025"/>
          </a:xfrm>
        </p:spPr>
        <p:txBody>
          <a:bodyPr/>
          <a:lstStyle>
            <a:lvl1pPr>
              <a:defRPr sz="1000" baseline="0">
                <a:solidFill>
                  <a:schemeClr val="accent2"/>
                </a:solidFill>
                <a:latin typeface="Arial"/>
                <a:cs typeface="Arial"/>
                <a:sym typeface="Arial"/>
              </a:defRPr>
            </a:lvl1pPr>
          </a:lstStyle>
          <a:p>
            <a:pPr lvl="0"/>
            <a:r>
              <a:rPr lang="nl-NL"/>
              <a:t>Voetnoot en bron – </a:t>
            </a:r>
            <a:r>
              <a:rPr lang="nl-NL" err="1"/>
              <a:t>Arial</a:t>
            </a:r>
            <a:r>
              <a:rPr lang="nl-NL"/>
              <a:t> 10</a:t>
            </a:r>
          </a:p>
        </p:txBody>
      </p:sp>
      <p:sp>
        <p:nvSpPr>
          <p:cNvPr id="11" name="Text Placeholder 2"/>
          <p:cNvSpPr>
            <a:spLocks noGrp="1"/>
          </p:cNvSpPr>
          <p:nvPr>
            <p:ph type="body" sz="quarter" idx="21" hasCustomPrompt="1"/>
          </p:nvPr>
        </p:nvSpPr>
        <p:spPr>
          <a:xfrm>
            <a:off x="839415" y="2205068"/>
            <a:ext cx="10512000" cy="1118255"/>
          </a:xfrm>
          <a:prstGeom prst="rect">
            <a:avLst/>
          </a:prstGeom>
        </p:spPr>
        <p:txBody>
          <a:bodyPr>
            <a:spAutoFit/>
          </a:bodyPr>
          <a:lstStyle>
            <a:lvl1pPr marL="285750" indent="-285750">
              <a:buClr>
                <a:schemeClr val="accent2"/>
              </a:buClr>
              <a:buFont typeface="Wingdings" panose="05000000000000000000" pitchFamily="2" charset="2"/>
              <a:buChar char="§"/>
              <a:defRPr sz="1400" baseline="0">
                <a:latin typeface="Arial"/>
                <a:cs typeface="Arial"/>
                <a:sym typeface="Arial"/>
              </a:defRPr>
            </a:lvl1pPr>
            <a:lvl2pPr marL="285750" indent="-285750">
              <a:buFont typeface="Arial" panose="020B0604020202020204" pitchFamily="34" charset="0"/>
              <a:buChar char="•"/>
              <a:defRPr sz="1400" b="0"/>
            </a:lvl2pPr>
            <a:lvl3pPr marL="174623" indent="-174623">
              <a:buFont typeface="Arial" panose="020B0604020202020204" pitchFamily="34" charset="0"/>
              <a:buChar char="•"/>
              <a:defRPr baseline="0"/>
            </a:lvl3pPr>
            <a:lvl4pPr marL="363535" indent="-188912">
              <a:buFont typeface="Arial" panose="020B0604020202020204" pitchFamily="34" charset="0"/>
              <a:buChar char="•"/>
              <a:defRPr sz="1400">
                <a:latin typeface="Arial"/>
                <a:cs typeface="Arial"/>
                <a:sym typeface="Arial"/>
              </a:defRPr>
            </a:lvl4pPr>
            <a:lvl5pPr marL="536572" indent="-173036">
              <a:buFont typeface="Arial" panose="020B0604020202020204" pitchFamily="34" charset="0"/>
              <a:buChar char="•"/>
              <a:defRPr sz="1400">
                <a:latin typeface="Arial"/>
                <a:cs typeface="Arial"/>
                <a:sym typeface="Arial"/>
              </a:defRPr>
            </a:lvl5pPr>
            <a:lvl6pPr marL="285750" indent="-285750">
              <a:buFont typeface="Arial" panose="020B0604020202020204" pitchFamily="34" charset="0"/>
              <a:buChar char="•"/>
              <a:defRPr lang="nl-NL" sz="1400" kern="1200" baseline="0" dirty="0" smtClean="0">
                <a:solidFill>
                  <a:schemeClr val="accent2"/>
                </a:solidFill>
                <a:latin typeface="+mn-lt"/>
                <a:ea typeface="+mn-ea"/>
                <a:cs typeface="+mn-cs"/>
              </a:defRPr>
            </a:lvl6pPr>
          </a:lstStyle>
          <a:p>
            <a:pPr lvl="0"/>
            <a:r>
              <a:rPr lang="nl-NL" err="1"/>
              <a:t>Arial</a:t>
            </a:r>
            <a:r>
              <a:rPr lang="nl-NL"/>
              <a:t> 14</a:t>
            </a:r>
          </a:p>
          <a:p>
            <a:pPr lvl="3"/>
            <a:r>
              <a:rPr lang="nl-NL"/>
              <a:t>Tekst2</a:t>
            </a:r>
          </a:p>
          <a:p>
            <a:pPr lvl="4"/>
            <a:r>
              <a:rPr lang="nl-NL"/>
              <a:t>Tekst 3</a:t>
            </a:r>
          </a:p>
          <a:p>
            <a:pPr lvl="0"/>
            <a:r>
              <a:rPr lang="nl-NL"/>
              <a:t>Gevulde cirkels met felblauwe kleur als opsommingstekens</a:t>
            </a:r>
          </a:p>
        </p:txBody>
      </p:sp>
    </p:spTree>
    <p:extLst>
      <p:ext uri="{BB962C8B-B14F-4D97-AF65-F5344CB8AC3E}">
        <p14:creationId xmlns:p14="http://schemas.microsoft.com/office/powerpoint/2010/main" val="575757886"/>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tro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804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3600" b="1" i="0" baseline="0">
              <a:latin typeface="Arial"/>
              <a:ea typeface="+mj-ea"/>
              <a:cs typeface="+mj-cs"/>
              <a:sym typeface="Arial"/>
            </a:endParaRPr>
          </a:p>
        </p:txBody>
      </p:sp>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accent3"/>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pictogram als u een afbeelding wilt toevoegen</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1349574" y="2316401"/>
            <a:ext cx="9482420" cy="2288285"/>
          </a:xfrm>
        </p:spPr>
        <p:txBody>
          <a:bodyPr anchor="ctr" anchorCtr="0"/>
          <a:lstStyle>
            <a:lvl1pPr algn="ctr">
              <a:defRPr sz="3600">
                <a:solidFill>
                  <a:schemeClr val="tx2"/>
                </a:solidFill>
              </a:defRPr>
            </a:lvl1pPr>
          </a:lstStyle>
          <a:p>
            <a:r>
              <a:rPr lang="nl-NL"/>
              <a:t>Plaats hier naam presentatie, max. 2 regels</a:t>
            </a:r>
          </a:p>
        </p:txBody>
      </p:sp>
    </p:spTree>
    <p:extLst>
      <p:ext uri="{BB962C8B-B14F-4D97-AF65-F5344CB8AC3E}">
        <p14:creationId xmlns:p14="http://schemas.microsoft.com/office/powerpoint/2010/main" val="2840139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houdsopgave">
    <p:spTree>
      <p:nvGrpSpPr>
        <p:cNvPr id="1" name=""/>
        <p:cNvGrpSpPr/>
        <p:nvPr/>
      </p:nvGrpSpPr>
      <p:grpSpPr>
        <a:xfrm>
          <a:off x="0" y="0"/>
          <a:ext cx="0" cy="0"/>
          <a:chOff x="0" y="0"/>
          <a:chExt cx="0" cy="0"/>
        </a:xfrm>
      </p:grpSpPr>
      <p:sp>
        <p:nvSpPr>
          <p:cNvPr id="24" name="Vrije vorm: vorm 23">
            <a:extLst>
              <a:ext uri="{FF2B5EF4-FFF2-40B4-BE49-F238E27FC236}">
                <a16:creationId xmlns:a16="http://schemas.microsoft.com/office/drawing/2014/main" id="{1A88944A-4CF2-45B8-9B1B-0645279B74C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3" name="Tijdelijke aanduiding voor verticale tekst 2"/>
          <p:cNvSpPr>
            <a:spLocks noGrp="1"/>
          </p:cNvSpPr>
          <p:nvPr>
            <p:ph type="body" orient="vert" idx="1" hasCustomPrompt="1"/>
          </p:nvPr>
        </p:nvSpPr>
        <p:spPr>
          <a:xfrm>
            <a:off x="515940" y="13507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bij voorkeur titels van de slides in de presentatie en zorg voor herkenbare piramide – zorg dat de blokken samen een logisch oplopende samenvatting van je verhaal zijn</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71" name="Tijdelijke aanduiding voor verticale tekst 2">
            <a:extLst>
              <a:ext uri="{FF2B5EF4-FFF2-40B4-BE49-F238E27FC236}">
                <a16:creationId xmlns:a16="http://schemas.microsoft.com/office/drawing/2014/main" id="{FE290CDF-749E-45F0-844F-4806A956D0AA}"/>
              </a:ext>
            </a:extLst>
          </p:cNvPr>
          <p:cNvSpPr>
            <a:spLocks noGrp="1"/>
          </p:cNvSpPr>
          <p:nvPr>
            <p:ph type="body" orient="vert" idx="13" hasCustomPrompt="1"/>
          </p:nvPr>
        </p:nvSpPr>
        <p:spPr>
          <a:xfrm>
            <a:off x="515940" y="23739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deze slide en accentueer het te bespreken onderwerp (lichtblauw)</a:t>
            </a:r>
          </a:p>
        </p:txBody>
      </p:sp>
      <p:sp>
        <p:nvSpPr>
          <p:cNvPr id="173" name="Tijdelijke aanduiding voor verticale tekst 2">
            <a:extLst>
              <a:ext uri="{FF2B5EF4-FFF2-40B4-BE49-F238E27FC236}">
                <a16:creationId xmlns:a16="http://schemas.microsoft.com/office/drawing/2014/main" id="{8C347347-F4D9-4B0A-B408-EE867EE63246}"/>
              </a:ext>
            </a:extLst>
          </p:cNvPr>
          <p:cNvSpPr>
            <a:spLocks noGrp="1"/>
          </p:cNvSpPr>
          <p:nvPr>
            <p:ph type="body" orient="vert" idx="14" hasCustomPrompt="1"/>
          </p:nvPr>
        </p:nvSpPr>
        <p:spPr>
          <a:xfrm>
            <a:off x="515940" y="33971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ebruik volzinnen van maximaal 15 woorden in de titel, gebruik geen punten</a:t>
            </a:r>
          </a:p>
        </p:txBody>
      </p:sp>
      <p:sp>
        <p:nvSpPr>
          <p:cNvPr id="174" name="Tijdelijke aanduiding voor verticale tekst 2">
            <a:extLst>
              <a:ext uri="{FF2B5EF4-FFF2-40B4-BE49-F238E27FC236}">
                <a16:creationId xmlns:a16="http://schemas.microsoft.com/office/drawing/2014/main" id="{3B6ACEE2-7D5F-4223-B109-7E58AD9898E2}"/>
              </a:ext>
            </a:extLst>
          </p:cNvPr>
          <p:cNvSpPr>
            <a:spLocks noGrp="1"/>
          </p:cNvSpPr>
          <p:nvPr>
            <p:ph type="body" orient="vert" idx="15" hasCustomPrompt="1"/>
          </p:nvPr>
        </p:nvSpPr>
        <p:spPr>
          <a:xfrm>
            <a:off x="515940" y="44203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Lettertype grootte is Arial 14pt</a:t>
            </a:r>
          </a:p>
        </p:txBody>
      </p:sp>
      <p:sp>
        <p:nvSpPr>
          <p:cNvPr id="175" name="Tijdelijke aanduiding voor verticale tekst 2">
            <a:extLst>
              <a:ext uri="{FF2B5EF4-FFF2-40B4-BE49-F238E27FC236}">
                <a16:creationId xmlns:a16="http://schemas.microsoft.com/office/drawing/2014/main" id="{6DC1EEB1-7AFB-4F24-B984-79C4741696C5}"/>
              </a:ext>
            </a:extLst>
          </p:cNvPr>
          <p:cNvSpPr>
            <a:spLocks noGrp="1"/>
          </p:cNvSpPr>
          <p:nvPr>
            <p:ph type="body" orient="vert" idx="16" hasCustomPrompt="1"/>
          </p:nvPr>
        </p:nvSpPr>
        <p:spPr>
          <a:xfrm>
            <a:off x="515940" y="5443510"/>
            <a:ext cx="7498975" cy="890063"/>
          </a:xfrm>
          <a:solidFill>
            <a:schemeClr val="bg1"/>
          </a:solidFill>
          <a:ln>
            <a:solidFill>
              <a:srgbClr val="DCEBF3"/>
            </a:solidFill>
          </a:ln>
        </p:spPr>
        <p:txBody>
          <a:bodyPr vert="horz" lIns="144000" tIns="144000" rIns="144000" bIns="144000" anchor="ctr"/>
          <a:lstStyle>
            <a:lvl1pPr marL="0" indent="0">
              <a:buFontTx/>
              <a:buNone/>
              <a:defRPr sz="1400" baseline="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a voor kleuren en iconen naar </a:t>
            </a:r>
            <a:r>
              <a:rPr lang="nl-NL" err="1"/>
              <a:t>frontify</a:t>
            </a:r>
            <a:r>
              <a:rPr lang="nl-NL"/>
              <a:t>. Nog geen toegang? Vraag het aan via </a:t>
            </a:r>
            <a:r>
              <a:rPr lang="nl-NL">
                <a:effectLst/>
                <a:hlinkClick r:id="rId2"/>
              </a:rPr>
              <a:t>huisstijl@zilverenkruis.nl</a:t>
            </a:r>
            <a:endParaRPr lang="nl-NL"/>
          </a:p>
        </p:txBody>
      </p:sp>
    </p:spTree>
    <p:extLst>
      <p:ext uri="{BB962C8B-B14F-4D97-AF65-F5344CB8AC3E}">
        <p14:creationId xmlns:p14="http://schemas.microsoft.com/office/powerpoint/2010/main" val="3501594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28317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4169230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jdelijke aanduiding voor verticale tekst 2"/>
          <p:cNvSpPr>
            <a:spLocks noGrp="1"/>
          </p:cNvSpPr>
          <p:nvPr>
            <p:ph type="body" orient="vert" idx="1" hasCustomPrompt="1"/>
          </p:nvPr>
        </p:nvSpPr>
        <p:spPr>
          <a:xfrm>
            <a:off x="515940" y="1808162"/>
            <a:ext cx="11155359" cy="4527551"/>
          </a:xfrm>
        </p:spPr>
        <p:txBody>
          <a:bodyPr vert="horz" lIns="0" tIns="0" rIns="0" bIns="0"/>
          <a:lstStyle>
            <a:lvl1pPr marL="263525" indent="-263525">
              <a:lnSpc>
                <a:spcPct val="150000"/>
              </a:lnSpc>
              <a:spcAft>
                <a:spcPts val="0"/>
              </a:spcAft>
              <a:buFont typeface="Arial" panose="020B0604020202020204" pitchFamily="34" charset="0"/>
              <a:buChar char="•"/>
              <a:defRPr sz="1400" b="0" baseline="0">
                <a:solidFill>
                  <a:schemeClr val="tx2"/>
                </a:solidFill>
                <a:latin typeface="+mj-lt"/>
              </a:defRPr>
            </a:lvl1pPr>
            <a:lvl2pPr marL="538163" indent="-274638">
              <a:lnSpc>
                <a:spcPct val="150000"/>
              </a:lnSpc>
              <a:spcAft>
                <a:spcPts val="0"/>
              </a:spcAft>
              <a:buFont typeface="Arial" panose="020B0604020202020204" pitchFamily="34" charset="0"/>
              <a:buChar char="•"/>
              <a:defRPr sz="1400" b="0">
                <a:solidFill>
                  <a:schemeClr val="tx2"/>
                </a:solidFill>
                <a:latin typeface="+mj-lt"/>
              </a:defRPr>
            </a:lvl2pPr>
            <a:lvl3pPr marL="808038" marR="0" indent="-273050" algn="l" defTabSz="719138" rtl="0" eaLnBrk="1" fontAlgn="auto" latinLnBrk="0" hangingPunct="1">
              <a:lnSpc>
                <a:spcPct val="150000"/>
              </a:lnSpc>
              <a:spcBef>
                <a:spcPts val="0"/>
              </a:spcBef>
              <a:spcAft>
                <a:spcPts val="0"/>
              </a:spcAft>
              <a:buClr>
                <a:schemeClr val="tx2"/>
              </a:buClr>
              <a:buSzPct val="100000"/>
              <a:buFont typeface="Arial" panose="020B0604020202020204" pitchFamily="34" charset="0"/>
              <a:buChar char="•"/>
              <a:tabLst/>
              <a:defRPr sz="1400" b="0" baseline="0">
                <a:solidFill>
                  <a:schemeClr val="tx2"/>
                </a:solidFill>
                <a:latin typeface="+mj-lt"/>
              </a:defRPr>
            </a:lvl3pPr>
            <a:lvl4pPr marL="1081088" indent="-273050">
              <a:lnSpc>
                <a:spcPct val="150000"/>
              </a:lnSpc>
              <a:spcAft>
                <a:spcPts val="0"/>
              </a:spcAft>
              <a:buSzPct val="100000"/>
              <a:buFont typeface="Arial" panose="020B0604020202020204" pitchFamily="34" charset="0"/>
              <a:buChar char="•"/>
              <a:defRPr sz="1400" b="0" baseline="0">
                <a:solidFill>
                  <a:schemeClr val="tx2"/>
                </a:solidFill>
                <a:latin typeface="+mj-lt"/>
              </a:defRPr>
            </a:lvl4pPr>
            <a:lvl5pPr marL="1341438" indent="-285750">
              <a:lnSpc>
                <a:spcPct val="150000"/>
              </a:lnSpc>
              <a:buFont typeface="Arial" panose="020B0604020202020204" pitchFamily="34" charset="0"/>
              <a:buChar char="•"/>
              <a:defRPr sz="1400" baseline="0"/>
            </a:lvl5pPr>
            <a:lvl6pPr marL="549275" indent="-285750">
              <a:buFont typeface="Wingdings" panose="05000000000000000000" pitchFamily="2" charset="2"/>
              <a:buChar char="§"/>
              <a:defRPr/>
            </a:lvl6pPr>
            <a:lvl7pPr>
              <a:defRPr/>
            </a:lvl7pPr>
            <a:lvl8pPr>
              <a:defRPr/>
            </a:lvl8pPr>
            <a:lvl9pPr>
              <a:defRPr/>
            </a:lvl9pPr>
          </a:lstStyle>
          <a:p>
            <a:pPr lvl="0"/>
            <a:r>
              <a:rPr lang="nl-NL"/>
              <a:t>Bullet niveau 1</a:t>
            </a:r>
          </a:p>
          <a:p>
            <a:pPr lvl="1"/>
            <a:r>
              <a:rPr lang="nl-NL"/>
              <a:t>Bullet niveau 2</a:t>
            </a:r>
          </a:p>
          <a:p>
            <a:pPr lvl="2"/>
            <a:r>
              <a:rPr lang="nl-NL"/>
              <a:t>Bullet niveau 3</a:t>
            </a:r>
          </a:p>
          <a:p>
            <a:pPr lvl="3"/>
            <a:r>
              <a:rPr lang="nl-NL"/>
              <a:t>Bullet niveau 4</a:t>
            </a:r>
          </a:p>
          <a:p>
            <a:pPr lvl="4"/>
            <a:r>
              <a:rPr lang="nl-NL"/>
              <a:t>Bullet niveau 5</a:t>
            </a:r>
          </a:p>
        </p:txBody>
      </p:sp>
    </p:spTree>
    <p:extLst>
      <p:ext uri="{BB962C8B-B14F-4D97-AF65-F5344CB8AC3E}">
        <p14:creationId xmlns:p14="http://schemas.microsoft.com/office/powerpoint/2010/main" val="3363676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18" name="Rechte verbindingslijn 17"/>
          <p:cNvCxnSpPr/>
          <p:nvPr userDrawn="1"/>
        </p:nvCxnSpPr>
        <p:spPr>
          <a:xfrm>
            <a:off x="524404" y="1801284"/>
            <a:ext cx="111601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520700" y="1585840"/>
            <a:ext cx="11153775" cy="215444"/>
          </a:xfrm>
          <a:ln>
            <a:noFill/>
          </a:ln>
        </p:spPr>
        <p:txBody>
          <a:bodyPr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6565698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ussenslide_korte titel_blauw">
    <p:spTree>
      <p:nvGrpSpPr>
        <p:cNvPr id="1" name=""/>
        <p:cNvGrpSpPr/>
        <p:nvPr/>
      </p:nvGrpSpPr>
      <p:grpSpPr>
        <a:xfrm>
          <a:off x="0" y="0"/>
          <a:ext cx="0" cy="0"/>
          <a:chOff x="0" y="0"/>
          <a:chExt cx="0" cy="0"/>
        </a:xfrm>
      </p:grpSpPr>
      <p:pic>
        <p:nvPicPr>
          <p:cNvPr id="5" name="Afbeelding 4" descr="Afbeelding met binnen, shirt&#10;&#10;&#10;&#10;Automatisch gegenereerde beschrijving">
            <a:extLst>
              <a:ext uri="{FF2B5EF4-FFF2-40B4-BE49-F238E27FC236}">
                <a16:creationId xmlns:a16="http://schemas.microsoft.com/office/drawing/2014/main" id="{4FB96505-D67C-4F09-9A13-F8785F38D32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59"/>
            <a:ext cx="12192000" cy="6851283"/>
          </a:xfrm>
          <a:prstGeom prst="rect">
            <a:avLst/>
          </a:prstGeom>
        </p:spPr>
      </p:pic>
      <p:sp>
        <p:nvSpPr>
          <p:cNvPr id="6" name="Tijdelijke aanduiding voor tekst 4">
            <a:extLst>
              <a:ext uri="{FF2B5EF4-FFF2-40B4-BE49-F238E27FC236}">
                <a16:creationId xmlns:a16="http://schemas.microsoft.com/office/drawing/2014/main" id="{FB4F7EFE-1ABF-4D63-919A-334766E845F1}"/>
              </a:ext>
            </a:extLst>
          </p:cNvPr>
          <p:cNvSpPr>
            <a:spLocks noGrp="1"/>
          </p:cNvSpPr>
          <p:nvPr>
            <p:ph type="body" sz="quarter" idx="12" hasCustomPrompt="1"/>
          </p:nvPr>
        </p:nvSpPr>
        <p:spPr>
          <a:xfrm>
            <a:off x="2627934" y="2312057"/>
            <a:ext cx="6855480" cy="2164786"/>
          </a:xfrm>
          <a:prstGeom prst="rect">
            <a:avLst/>
          </a:prstGeom>
        </p:spPr>
        <p:txBody>
          <a:bodyPr/>
          <a:lstStyle>
            <a:lvl1pPr indent="-483626" algn="ctr">
              <a:lnSpc>
                <a:spcPts val="7616"/>
              </a:lnSpc>
              <a:defRPr sz="7616">
                <a:solidFill>
                  <a:schemeClr val="bg1"/>
                </a:solidFill>
              </a:defRPr>
            </a:lvl1pPr>
            <a:lvl2pPr>
              <a:defRPr sz="7616">
                <a:solidFill>
                  <a:schemeClr val="bg1"/>
                </a:solidFill>
              </a:defRPr>
            </a:lvl2pPr>
            <a:lvl3pPr>
              <a:defRPr sz="7616">
                <a:solidFill>
                  <a:schemeClr val="bg1"/>
                </a:solidFill>
              </a:defRPr>
            </a:lvl3pPr>
            <a:lvl4pPr>
              <a:defRPr sz="7616">
                <a:solidFill>
                  <a:schemeClr val="bg1"/>
                </a:solidFill>
              </a:defRPr>
            </a:lvl4pPr>
            <a:lvl5pPr>
              <a:defRPr sz="7616">
                <a:solidFill>
                  <a:schemeClr val="bg1"/>
                </a:solidFill>
              </a:defRPr>
            </a:lvl5pPr>
          </a:lstStyle>
          <a:p>
            <a:pPr lvl="0"/>
            <a:r>
              <a:rPr lang="nl-NL" dirty="0"/>
              <a:t>Tussenslide met korte titel</a:t>
            </a:r>
          </a:p>
        </p:txBody>
      </p:sp>
    </p:spTree>
    <p:extLst>
      <p:ext uri="{BB962C8B-B14F-4D97-AF65-F5344CB8AC3E}">
        <p14:creationId xmlns:p14="http://schemas.microsoft.com/office/powerpoint/2010/main" val="29220577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1569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6362396"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24" name="Text Placeholder 3"/>
          <p:cNvSpPr>
            <a:spLocks noGrp="1"/>
          </p:cNvSpPr>
          <p:nvPr>
            <p:ph type="body" sz="quarter" idx="14" hasCustomPrompt="1"/>
          </p:nvPr>
        </p:nvSpPr>
        <p:spPr>
          <a:xfrm>
            <a:off x="63500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419135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2021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1" name="Rechte verbindingslijn 20"/>
          <p:cNvCxnSpPr/>
          <p:nvPr userDrawn="1"/>
        </p:nvCxnSpPr>
        <p:spPr>
          <a:xfrm>
            <a:off x="525462"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4309269"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8093075"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 Placeholder 3"/>
          <p:cNvSpPr>
            <a:spLocks noGrp="1"/>
          </p:cNvSpPr>
          <p:nvPr>
            <p:ph type="body" sz="quarter" idx="13" hasCustomPrompt="1"/>
          </p:nvPr>
        </p:nvSpPr>
        <p:spPr>
          <a:xfrm>
            <a:off x="520699"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5" name="Text Placeholder 3"/>
          <p:cNvSpPr>
            <a:spLocks noGrp="1"/>
          </p:cNvSpPr>
          <p:nvPr>
            <p:ph type="body" sz="quarter" idx="14" hasCustomPrompt="1"/>
          </p:nvPr>
        </p:nvSpPr>
        <p:spPr>
          <a:xfrm>
            <a:off x="4306887"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6" name="Text Placeholder 3"/>
          <p:cNvSpPr>
            <a:spLocks noGrp="1"/>
          </p:cNvSpPr>
          <p:nvPr>
            <p:ph type="body" sz="quarter" idx="15" hasCustomPrompt="1"/>
          </p:nvPr>
        </p:nvSpPr>
        <p:spPr>
          <a:xfrm>
            <a:off x="8093075"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387276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5524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3365824"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userDrawn="1"/>
        </p:nvCxnSpPr>
        <p:spPr>
          <a:xfrm>
            <a:off x="6208081"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9050337"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13" hasCustomPrompt="1"/>
          </p:nvPr>
        </p:nvSpPr>
        <p:spPr>
          <a:xfrm>
            <a:off x="520700"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1" name="Text Placeholder 3"/>
          <p:cNvSpPr>
            <a:spLocks noGrp="1"/>
          </p:cNvSpPr>
          <p:nvPr>
            <p:ph type="body" sz="quarter" idx="14" hasCustomPrompt="1"/>
          </p:nvPr>
        </p:nvSpPr>
        <p:spPr>
          <a:xfrm>
            <a:off x="6208081"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2" name="Text Placeholder 3"/>
          <p:cNvSpPr>
            <a:spLocks noGrp="1"/>
          </p:cNvSpPr>
          <p:nvPr>
            <p:ph type="body" sz="quarter" idx="15" hasCustomPrompt="1"/>
          </p:nvPr>
        </p:nvSpPr>
        <p:spPr>
          <a:xfrm>
            <a:off x="3365824"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3" name="Text Placeholder 3"/>
          <p:cNvSpPr>
            <a:spLocks noGrp="1"/>
          </p:cNvSpPr>
          <p:nvPr>
            <p:ph type="body" sz="quarter" idx="16" hasCustomPrompt="1"/>
          </p:nvPr>
        </p:nvSpPr>
        <p:spPr>
          <a:xfrm>
            <a:off x="9050337"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412314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 grafiek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0"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958057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rafiek en tekstblo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39" y="517525"/>
            <a:ext cx="7920000" cy="582850"/>
          </a:xfrm>
        </p:spPr>
        <p:txBody>
          <a:bodyPr lIns="0" tIns="0" rIns="0" bIns="0"/>
          <a:lstStyle>
            <a:lvl1pPr>
              <a:defRPr sz="2200"/>
            </a:lvl1pPr>
          </a:lstStyle>
          <a:p>
            <a:r>
              <a:rPr lang="nl-NL"/>
              <a:t>Titel, gebruik volzinnen, zorg dat de boodschap aansluit op de slide, max. 15 woorden, geen punt – Arial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8" name="Rechthoek 17">
            <a:extLst>
              <a:ext uri="{FF2B5EF4-FFF2-40B4-BE49-F238E27FC236}">
                <a16:creationId xmlns:a16="http://schemas.microsoft.com/office/drawing/2014/main" id="{C525B69E-5D09-42FF-8F54-0BE3F44BAE8B}"/>
              </a:ext>
            </a:extLst>
          </p:cNvPr>
          <p:cNvSpPr/>
          <p:nvPr userDrawn="1"/>
        </p:nvSpPr>
        <p:spPr>
          <a:xfrm>
            <a:off x="8652219" y="517525"/>
            <a:ext cx="3019074" cy="58314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Tijdelijke aanduiding voor tekst 3">
            <a:extLst>
              <a:ext uri="{FF2B5EF4-FFF2-40B4-BE49-F238E27FC236}">
                <a16:creationId xmlns:a16="http://schemas.microsoft.com/office/drawing/2014/main" id="{06E25283-08E7-4282-86E9-576442C89149}"/>
              </a:ext>
            </a:extLst>
          </p:cNvPr>
          <p:cNvSpPr>
            <a:spLocks noGrp="1"/>
          </p:cNvSpPr>
          <p:nvPr>
            <p:ph type="body" sz="quarter" idx="15" hasCustomPrompt="1"/>
          </p:nvPr>
        </p:nvSpPr>
        <p:spPr>
          <a:xfrm>
            <a:off x="8926848" y="807579"/>
            <a:ext cx="2452215" cy="570455"/>
          </a:xfrm>
        </p:spPr>
        <p:txBody>
          <a:bodyPr/>
          <a:lstStyle>
            <a:lvl1pPr marL="0" indent="0">
              <a:spcAft>
                <a:spcPts val="0"/>
              </a:spcAft>
              <a:buNone/>
              <a:defRPr sz="1800" b="1">
                <a:solidFill>
                  <a:schemeClr val="tx2"/>
                </a:solidFill>
              </a:defRPr>
            </a:lvl1pPr>
          </a:lstStyle>
          <a:p>
            <a:pPr lvl="0"/>
            <a:r>
              <a:rPr lang="nl-NL"/>
              <a:t>Subtitel </a:t>
            </a:r>
            <a:br>
              <a:rPr lang="nl-NL"/>
            </a:br>
            <a:r>
              <a:rPr lang="nl-NL"/>
              <a:t>maximaal 2 regels </a:t>
            </a:r>
          </a:p>
        </p:txBody>
      </p:sp>
      <p:sp>
        <p:nvSpPr>
          <p:cNvPr id="29" name="Tijdelijke aanduiding voor verticale tekst 2">
            <a:extLst>
              <a:ext uri="{FF2B5EF4-FFF2-40B4-BE49-F238E27FC236}">
                <a16:creationId xmlns:a16="http://schemas.microsoft.com/office/drawing/2014/main" id="{9F205ACE-098F-4DFA-A6B0-1D838BF5E101}"/>
              </a:ext>
            </a:extLst>
          </p:cNvPr>
          <p:cNvSpPr>
            <a:spLocks noGrp="1"/>
          </p:cNvSpPr>
          <p:nvPr>
            <p:ph type="body" orient="vert" idx="1" hasCustomPrompt="1"/>
          </p:nvPr>
        </p:nvSpPr>
        <p:spPr>
          <a:xfrm>
            <a:off x="8926849" y="1801284"/>
            <a:ext cx="2452214" cy="4293682"/>
          </a:xfrm>
          <a:noFill/>
        </p:spPr>
        <p:txBody>
          <a:bodyPr vert="horz" lIns="0" tIns="0" rIns="0" bIns="0" anchor="t"/>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Plaats hier tekst, Arial 14 pt</a:t>
            </a:r>
          </a:p>
        </p:txBody>
      </p:sp>
      <p:cxnSp>
        <p:nvCxnSpPr>
          <p:cNvPr id="25" name="Rechte verbindingslijn 21"/>
          <p:cNvCxnSpPr/>
          <p:nvPr userDrawn="1"/>
        </p:nvCxnSpPr>
        <p:spPr>
          <a:xfrm>
            <a:off x="525462" y="1801284"/>
            <a:ext cx="794882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3" hasCustomPrompt="1"/>
          </p:nvPr>
        </p:nvSpPr>
        <p:spPr>
          <a:xfrm>
            <a:off x="520700" y="1585840"/>
            <a:ext cx="7948941" cy="215444"/>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4197144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 grote grafiek">
    <p:spTree>
      <p:nvGrpSpPr>
        <p:cNvPr id="1" name=""/>
        <p:cNvGrpSpPr/>
        <p:nvPr/>
      </p:nvGrpSpPr>
      <p:grpSpPr>
        <a:xfrm>
          <a:off x="0" y="0"/>
          <a:ext cx="0" cy="0"/>
          <a:chOff x="0" y="0"/>
          <a:chExt cx="0" cy="0"/>
        </a:xfrm>
      </p:grpSpPr>
      <p:sp>
        <p:nvSpPr>
          <p:cNvPr id="12" name="Tijdelijke aanduiding voor tekst 5"/>
          <p:cNvSpPr>
            <a:spLocks noGrp="1"/>
          </p:cNvSpPr>
          <p:nvPr>
            <p:ph type="body" sz="quarter" idx="23" hasCustomPrompt="1"/>
          </p:nvPr>
        </p:nvSpPr>
        <p:spPr>
          <a:xfrm>
            <a:off x="839788" y="6370737"/>
            <a:ext cx="10512425" cy="153888"/>
          </a:xfrm>
          <a:prstGeom prst="rect">
            <a:avLst/>
          </a:prstGeom>
        </p:spPr>
        <p:txBody>
          <a:bodyPr lIns="0" tIns="0" rIns="0" bIns="0" anchor="b" anchorCtr="0">
            <a:spAutoFit/>
          </a:bodyPr>
          <a:lstStyle>
            <a:lvl1pPr>
              <a:defRPr sz="1000" baseline="0"/>
            </a:lvl1pPr>
          </a:lstStyle>
          <a:p>
            <a:pPr lvl="0"/>
            <a:r>
              <a:rPr lang="nl-NL"/>
              <a:t>Voetnoot en bron – </a:t>
            </a:r>
            <a:r>
              <a:rPr lang="nl-NL" err="1"/>
              <a:t>Arial</a:t>
            </a:r>
            <a:r>
              <a:rPr lang="nl-NL"/>
              <a:t> 10</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81549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0" name="Straight Connector 9"/>
          <p:cNvCxnSpPr/>
          <p:nvPr userDrawn="1"/>
        </p:nvCxnSpPr>
        <p:spPr>
          <a:xfrm>
            <a:off x="839788" y="2204863"/>
            <a:ext cx="1051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ijdelijke aanduiding voor dianummer 5"/>
          <p:cNvSpPr txBox="1">
            <a:spLocks/>
          </p:cNvSpPr>
          <p:nvPr userDrawn="1"/>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rgbClr val="FFFFFF"/>
                </a:solidFill>
                <a:cs typeface="Arial"/>
                <a:sym typeface="Arial"/>
              </a:rPr>
              <a:pPr/>
              <a:t>‹nr.›</a:t>
            </a:fld>
            <a:endParaRPr lang="nl-NL" sz="1201">
              <a:solidFill>
                <a:srgbClr val="FFFFFF"/>
              </a:solidFill>
              <a:cs typeface="Arial"/>
              <a:sym typeface="Arial"/>
            </a:endParaRPr>
          </a:p>
        </p:txBody>
      </p:sp>
      <p:sp>
        <p:nvSpPr>
          <p:cNvPr id="8" name="Tijdelijke aanduiding voor tekst 3"/>
          <p:cNvSpPr>
            <a:spLocks noGrp="1"/>
          </p:cNvSpPr>
          <p:nvPr>
            <p:ph type="body" sz="quarter" idx="22" hasCustomPrompt="1"/>
          </p:nvPr>
        </p:nvSpPr>
        <p:spPr>
          <a:xfrm>
            <a:off x="839788" y="692696"/>
            <a:ext cx="10512425" cy="677108"/>
          </a:xfrm>
          <a:prstGeom prst="rect">
            <a:avLst/>
          </a:prstGeom>
        </p:spPr>
        <p:txBody>
          <a:bodyPr lIns="0" tIns="0" rIns="0" bIns="0">
            <a:spAutoFit/>
          </a:bodyPr>
          <a:lstStyle>
            <a:lvl1pPr>
              <a:defRPr sz="2200" b="1"/>
            </a:lvl1pPr>
            <a:lvl5pPr marL="363536" indent="0">
              <a:buNone/>
              <a:defRPr sz="2200" b="1" baseline="0"/>
            </a:lvl5pPr>
          </a:lstStyle>
          <a:p>
            <a:pPr lvl="0"/>
            <a:r>
              <a:rPr lang="nl-NL"/>
              <a:t>Titel – gebruik volzinnen, zorg dat de boodschap aansluit op de slide, max 15 woorden, geen punt – </a:t>
            </a:r>
            <a:r>
              <a:rPr lang="nl-NL" err="1"/>
              <a:t>Arial</a:t>
            </a:r>
            <a:r>
              <a:rPr lang="nl-NL"/>
              <a:t> 22 </a:t>
            </a:r>
            <a:r>
              <a:rPr lang="nl-NL" err="1"/>
              <a:t>Bold</a:t>
            </a:r>
            <a:endParaRPr lang="nl-NL"/>
          </a:p>
        </p:txBody>
      </p:sp>
      <p:sp>
        <p:nvSpPr>
          <p:cNvPr id="5" name="Tijdelijke aanduiding voor tekst 4"/>
          <p:cNvSpPr>
            <a:spLocks noGrp="1"/>
          </p:cNvSpPr>
          <p:nvPr>
            <p:ph type="body" sz="quarter" idx="24" hasCustomPrompt="1"/>
          </p:nvPr>
        </p:nvSpPr>
        <p:spPr>
          <a:xfrm>
            <a:off x="839788" y="1681644"/>
            <a:ext cx="10510837" cy="523220"/>
          </a:xfrm>
          <a:prstGeom prst="rect">
            <a:avLst/>
          </a:prstGeom>
        </p:spPr>
        <p:txBody>
          <a:bodyPr wrap="square" lIns="0" tIns="46800" rIns="0" bIns="46800" anchor="b">
            <a:spAutoFit/>
          </a:bodyPr>
          <a:lstStyle>
            <a:lvl1pPr>
              <a:defRPr lang="nl-NL" sz="1400" b="1" baseline="0" dirty="0" smtClean="0"/>
            </a:lvl1pPr>
          </a:lstStyle>
          <a:p>
            <a:pPr lvl="0">
              <a:spcBef>
                <a:spcPts val="0"/>
              </a:spcBef>
            </a:pPr>
            <a:r>
              <a:rPr lang="nl-NL"/>
              <a:t>Titel grafiek – alleen zakelijk weergeven wat er in de grafiek staat </a:t>
            </a:r>
          </a:p>
          <a:p>
            <a:pPr lvl="0">
              <a:spcBef>
                <a:spcPts val="0"/>
              </a:spcBef>
            </a:pPr>
            <a:r>
              <a:rPr lang="en-US"/>
              <a:t>[</a:t>
            </a:r>
            <a:r>
              <a:rPr lang="en-US" err="1"/>
              <a:t>eenheid</a:t>
            </a:r>
            <a:r>
              <a:rPr lang="en-US"/>
              <a:t>, </a:t>
            </a:r>
            <a:r>
              <a:rPr lang="en-US" err="1"/>
              <a:t>jaar</a:t>
            </a:r>
            <a:r>
              <a:rPr lang="en-US"/>
              <a:t>] – </a:t>
            </a:r>
            <a:r>
              <a:rPr lang="nl-NL" err="1"/>
              <a:t>Arial</a:t>
            </a:r>
            <a:r>
              <a:rPr lang="nl-NL"/>
              <a:t> 14</a:t>
            </a:r>
          </a:p>
        </p:txBody>
      </p:sp>
    </p:spTree>
    <p:extLst>
      <p:ext uri="{BB962C8B-B14F-4D97-AF65-F5344CB8AC3E}">
        <p14:creationId xmlns:p14="http://schemas.microsoft.com/office/powerpoint/2010/main" val="1401567981"/>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3_grafieke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128924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jdelijke aanduiding voor dianummer 5"/>
          <p:cNvSpPr txBox="1">
            <a:spLocks/>
          </p:cNvSpPr>
          <p:nvPr/>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chemeClr val="bg1"/>
                </a:solidFill>
              </a:rPr>
              <a:pPr/>
              <a:t>‹nr.›</a:t>
            </a:fld>
            <a:endParaRPr lang="nl-NL" sz="1201">
              <a:solidFill>
                <a:schemeClr val="bg1"/>
              </a:solidFill>
            </a:endParaRPr>
          </a:p>
        </p:txBody>
      </p:sp>
      <p:sp>
        <p:nvSpPr>
          <p:cNvPr id="4" name="Text Placeholder 3"/>
          <p:cNvSpPr>
            <a:spLocks noGrp="1"/>
          </p:cNvSpPr>
          <p:nvPr>
            <p:ph type="body" sz="quarter" idx="10" hasCustomPrompt="1"/>
          </p:nvPr>
        </p:nvSpPr>
        <p:spPr>
          <a:xfrm>
            <a:off x="623888" y="476250"/>
            <a:ext cx="10944225" cy="677108"/>
          </a:xfrm>
          <a:prstGeom prst="rect">
            <a:avLst/>
          </a:prstGeom>
        </p:spPr>
        <p:txBody>
          <a:bodyPr wrap="square" lIns="0" tIns="0" rIns="0" bIns="0">
            <a:spAutoFit/>
          </a:bodyPr>
          <a:lstStyle>
            <a:lvl1pPr marL="0" marR="0" indent="0" algn="l" defTabSz="914394" rtl="0" eaLnBrk="1" fontAlgn="auto" latinLnBrk="0" hangingPunct="1">
              <a:lnSpc>
                <a:spcPct val="100000"/>
              </a:lnSpc>
              <a:spcBef>
                <a:spcPts val="0"/>
              </a:spcBef>
              <a:spcAft>
                <a:spcPts val="0"/>
              </a:spcAft>
              <a:buClrTx/>
              <a:buSzTx/>
              <a:buFont typeface="Arial" panose="020B0604020202020204" pitchFamily="34" charset="0"/>
              <a:buNone/>
              <a:tabLst/>
              <a:defRPr sz="2200" b="1"/>
            </a:lvl1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lang="nl-NL"/>
              <a:t>Titel- gebruik volzinnen, zorg dat de boodschap aansluit op de slide, max. 15 woorden, geen punt  - </a:t>
            </a:r>
            <a:r>
              <a:rPr lang="nl-NL" err="1"/>
              <a:t>Arial</a:t>
            </a:r>
            <a:r>
              <a:rPr lang="nl-NL"/>
              <a:t> 22 </a:t>
            </a:r>
            <a:r>
              <a:rPr lang="nl-NL" err="1"/>
              <a:t>Bold</a:t>
            </a:r>
            <a:endParaRPr lang="nl-NL"/>
          </a:p>
        </p:txBody>
      </p:sp>
      <p:sp>
        <p:nvSpPr>
          <p:cNvPr id="3" name="Text Placeholder 2"/>
          <p:cNvSpPr>
            <a:spLocks noGrp="1"/>
          </p:cNvSpPr>
          <p:nvPr>
            <p:ph type="body" sz="quarter" idx="11" hasCustomPrompt="1"/>
          </p:nvPr>
        </p:nvSpPr>
        <p:spPr>
          <a:xfrm>
            <a:off x="623888"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6" name="Straight Connector 5"/>
          <p:cNvCxnSpPr/>
          <p:nvPr/>
        </p:nvCxnSpPr>
        <p:spPr>
          <a:xfrm>
            <a:off x="623888"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hasCustomPrompt="1"/>
          </p:nvPr>
        </p:nvSpPr>
        <p:spPr>
          <a:xfrm>
            <a:off x="623888" y="6495892"/>
            <a:ext cx="10944225" cy="246221"/>
          </a:xfrm>
          <a:prstGeom prst="rect">
            <a:avLst/>
          </a:prstGeom>
        </p:spPr>
        <p:txBody>
          <a:bodyPr lIns="0" tIns="0" rIns="0" bIns="0" anchor="b">
            <a:noAutofit/>
          </a:bodyPr>
          <a:lstStyle>
            <a:lvl1pPr>
              <a:spcBef>
                <a:spcPts val="0"/>
              </a:spcBef>
              <a:defRPr lang="en-US" sz="1000" baseline="0" smtClean="0"/>
            </a:lvl1pPr>
            <a:lvl2pPr>
              <a:defRPr lang="en-US" smtClean="0"/>
            </a:lvl2pPr>
            <a:lvl3pPr>
              <a:defRPr lang="en-US" smtClean="0"/>
            </a:lvl3pPr>
            <a:lvl4pPr>
              <a:defRPr lang="en-US" smtClean="0"/>
            </a:lvl4pPr>
            <a:lvl5pPr>
              <a:defRPr lang="en-US"/>
            </a:lvl5pPr>
          </a:lstStyle>
          <a:p>
            <a:pPr lvl="0"/>
            <a:r>
              <a:rPr lang="nl-NL"/>
              <a:t>Voetnoot en bron – </a:t>
            </a:r>
            <a:r>
              <a:rPr lang="nl-NL" err="1"/>
              <a:t>Arial</a:t>
            </a:r>
            <a:r>
              <a:rPr lang="nl-NL"/>
              <a:t> 10</a:t>
            </a:r>
          </a:p>
        </p:txBody>
      </p:sp>
      <p:sp>
        <p:nvSpPr>
          <p:cNvPr id="12" name="Text Placeholder 2"/>
          <p:cNvSpPr>
            <a:spLocks noGrp="1"/>
          </p:cNvSpPr>
          <p:nvPr>
            <p:ph type="body" sz="quarter" idx="13" hasCustomPrompt="1"/>
          </p:nvPr>
        </p:nvSpPr>
        <p:spPr>
          <a:xfrm>
            <a:off x="4336702"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3" name="Straight Connector 12"/>
          <p:cNvCxnSpPr/>
          <p:nvPr/>
        </p:nvCxnSpPr>
        <p:spPr>
          <a:xfrm>
            <a:off x="4336702"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4" hasCustomPrompt="1"/>
          </p:nvPr>
        </p:nvSpPr>
        <p:spPr>
          <a:xfrm>
            <a:off x="8049517"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5" name="Straight Connector 14"/>
          <p:cNvCxnSpPr/>
          <p:nvPr/>
        </p:nvCxnSpPr>
        <p:spPr>
          <a:xfrm>
            <a:off x="8049517"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45802"/>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logo slide">
    <p:bg>
      <p:bgPr>
        <a:solidFill>
          <a:schemeClr val="bg1"/>
        </a:solidFill>
        <a:effectLst/>
      </p:bgPr>
    </p:bg>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C55560A7-617C-42BB-A2DA-99C56283E2B4}"/>
              </a:ext>
            </a:extLst>
          </p:cNvPr>
          <p:cNvGrpSpPr>
            <a:grpSpLocks noChangeAspect="1"/>
          </p:cNvGrpSpPr>
          <p:nvPr userDrawn="1"/>
        </p:nvGrpSpPr>
        <p:grpSpPr bwMode="auto">
          <a:xfrm>
            <a:off x="3741738" y="2684463"/>
            <a:ext cx="4708525" cy="1489075"/>
            <a:chOff x="2355" y="1691"/>
            <a:chExt cx="2966" cy="938"/>
          </a:xfrm>
          <a:solidFill>
            <a:schemeClr val="accent1"/>
          </a:solidFill>
        </p:grpSpPr>
        <p:sp>
          <p:nvSpPr>
            <p:cNvPr id="9" name="Freeform 5">
              <a:extLst>
                <a:ext uri="{FF2B5EF4-FFF2-40B4-BE49-F238E27FC236}">
                  <a16:creationId xmlns:a16="http://schemas.microsoft.com/office/drawing/2014/main" id="{730E024F-7881-4E68-93FE-2EDBD495757B}"/>
                </a:ext>
              </a:extLst>
            </p:cNvPr>
            <p:cNvSpPr>
              <a:spLocks/>
            </p:cNvSpPr>
            <p:nvPr userDrawn="1"/>
          </p:nvSpPr>
          <p:spPr bwMode="auto">
            <a:xfrm>
              <a:off x="3467" y="1704"/>
              <a:ext cx="258" cy="392"/>
            </a:xfrm>
            <a:custGeom>
              <a:avLst/>
              <a:gdLst>
                <a:gd name="T0" fmla="*/ 0 w 258"/>
                <a:gd name="T1" fmla="*/ 55 h 392"/>
                <a:gd name="T2" fmla="*/ 0 w 258"/>
                <a:gd name="T3" fmla="*/ 0 h 392"/>
                <a:gd name="T4" fmla="*/ 258 w 258"/>
                <a:gd name="T5" fmla="*/ 0 h 392"/>
                <a:gd name="T6" fmla="*/ 258 w 258"/>
                <a:gd name="T7" fmla="*/ 61 h 392"/>
                <a:gd name="T8" fmla="*/ 76 w 258"/>
                <a:gd name="T9" fmla="*/ 324 h 392"/>
                <a:gd name="T10" fmla="*/ 76 w 258"/>
                <a:gd name="T11" fmla="*/ 337 h 392"/>
                <a:gd name="T12" fmla="*/ 258 w 258"/>
                <a:gd name="T13" fmla="*/ 337 h 392"/>
                <a:gd name="T14" fmla="*/ 258 w 258"/>
                <a:gd name="T15" fmla="*/ 392 h 392"/>
                <a:gd name="T16" fmla="*/ 0 w 258"/>
                <a:gd name="T17" fmla="*/ 392 h 392"/>
                <a:gd name="T18" fmla="*/ 0 w 258"/>
                <a:gd name="T19" fmla="*/ 331 h 392"/>
                <a:gd name="T20" fmla="*/ 180 w 258"/>
                <a:gd name="T21" fmla="*/ 67 h 392"/>
                <a:gd name="T22" fmla="*/ 180 w 258"/>
                <a:gd name="T23" fmla="*/ 55 h 392"/>
                <a:gd name="T24" fmla="*/ 0 w 258"/>
                <a:gd name="T25" fmla="*/ 5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 h="392">
                  <a:moveTo>
                    <a:pt x="0" y="55"/>
                  </a:moveTo>
                  <a:lnTo>
                    <a:pt x="0" y="0"/>
                  </a:lnTo>
                  <a:lnTo>
                    <a:pt x="258" y="0"/>
                  </a:lnTo>
                  <a:lnTo>
                    <a:pt x="258" y="61"/>
                  </a:lnTo>
                  <a:lnTo>
                    <a:pt x="76" y="324"/>
                  </a:lnTo>
                  <a:lnTo>
                    <a:pt x="76" y="337"/>
                  </a:lnTo>
                  <a:lnTo>
                    <a:pt x="258" y="337"/>
                  </a:lnTo>
                  <a:lnTo>
                    <a:pt x="258" y="392"/>
                  </a:lnTo>
                  <a:lnTo>
                    <a:pt x="0" y="392"/>
                  </a:lnTo>
                  <a:lnTo>
                    <a:pt x="0" y="331"/>
                  </a:lnTo>
                  <a:lnTo>
                    <a:pt x="180" y="67"/>
                  </a:lnTo>
                  <a:lnTo>
                    <a:pt x="180" y="55"/>
                  </a:lnTo>
                  <a:lnTo>
                    <a:pt x="0"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CAE8FDAF-F9F0-4C67-AF37-20B3A9523639}"/>
                </a:ext>
              </a:extLst>
            </p:cNvPr>
            <p:cNvSpPr>
              <a:spLocks noEditPoints="1"/>
            </p:cNvSpPr>
            <p:nvPr userDrawn="1"/>
          </p:nvSpPr>
          <p:spPr bwMode="auto">
            <a:xfrm>
              <a:off x="3779" y="1695"/>
              <a:ext cx="63" cy="401"/>
            </a:xfrm>
            <a:custGeom>
              <a:avLst/>
              <a:gdLst>
                <a:gd name="T0" fmla="*/ 0 w 63"/>
                <a:gd name="T1" fmla="*/ 0 h 401"/>
                <a:gd name="T2" fmla="*/ 63 w 63"/>
                <a:gd name="T3" fmla="*/ 0 h 401"/>
                <a:gd name="T4" fmla="*/ 63 w 63"/>
                <a:gd name="T5" fmla="*/ 66 h 401"/>
                <a:gd name="T6" fmla="*/ 0 w 63"/>
                <a:gd name="T7" fmla="*/ 66 h 401"/>
                <a:gd name="T8" fmla="*/ 0 w 63"/>
                <a:gd name="T9" fmla="*/ 0 h 401"/>
                <a:gd name="T10" fmla="*/ 0 w 63"/>
                <a:gd name="T11" fmla="*/ 114 h 401"/>
                <a:gd name="T12" fmla="*/ 63 w 63"/>
                <a:gd name="T13" fmla="*/ 114 h 401"/>
                <a:gd name="T14" fmla="*/ 63 w 63"/>
                <a:gd name="T15" fmla="*/ 401 h 401"/>
                <a:gd name="T16" fmla="*/ 0 w 63"/>
                <a:gd name="T17" fmla="*/ 401 h 401"/>
                <a:gd name="T18" fmla="*/ 0 w 63"/>
                <a:gd name="T19"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6"/>
                  </a:lnTo>
                  <a:lnTo>
                    <a:pt x="0" y="66"/>
                  </a:lnTo>
                  <a:lnTo>
                    <a:pt x="0" y="0"/>
                  </a:lnTo>
                  <a:close/>
                  <a:moveTo>
                    <a:pt x="0" y="114"/>
                  </a:moveTo>
                  <a:lnTo>
                    <a:pt x="63" y="114"/>
                  </a:lnTo>
                  <a:lnTo>
                    <a:pt x="63" y="401"/>
                  </a:lnTo>
                  <a:lnTo>
                    <a:pt x="0" y="401"/>
                  </a:lnTo>
                  <a:lnTo>
                    <a:pt x="0"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4B2C3E07-93FC-4083-BC1C-572440AD51A4}"/>
                </a:ext>
              </a:extLst>
            </p:cNvPr>
            <p:cNvSpPr>
              <a:spLocks noChangeArrowheads="1"/>
            </p:cNvSpPr>
            <p:nvPr userDrawn="1"/>
          </p:nvSpPr>
          <p:spPr bwMode="auto">
            <a:xfrm>
              <a:off x="3913" y="1691"/>
              <a:ext cx="63" cy="40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a:extLst>
                <a:ext uri="{FF2B5EF4-FFF2-40B4-BE49-F238E27FC236}">
                  <a16:creationId xmlns:a16="http://schemas.microsoft.com/office/drawing/2014/main" id="{706BC848-822C-4520-8110-EF2E152A8599}"/>
                </a:ext>
              </a:extLst>
            </p:cNvPr>
            <p:cNvSpPr>
              <a:spLocks/>
            </p:cNvSpPr>
            <p:nvPr userDrawn="1"/>
          </p:nvSpPr>
          <p:spPr bwMode="auto">
            <a:xfrm>
              <a:off x="4022" y="1809"/>
              <a:ext cx="258" cy="287"/>
            </a:xfrm>
            <a:custGeom>
              <a:avLst/>
              <a:gdLst>
                <a:gd name="T0" fmla="*/ 0 w 258"/>
                <a:gd name="T1" fmla="*/ 0 h 287"/>
                <a:gd name="T2" fmla="*/ 65 w 258"/>
                <a:gd name="T3" fmla="*/ 0 h 287"/>
                <a:gd name="T4" fmla="*/ 120 w 258"/>
                <a:gd name="T5" fmla="*/ 234 h 287"/>
                <a:gd name="T6" fmla="*/ 139 w 258"/>
                <a:gd name="T7" fmla="*/ 234 h 287"/>
                <a:gd name="T8" fmla="*/ 195 w 258"/>
                <a:gd name="T9" fmla="*/ 0 h 287"/>
                <a:gd name="T10" fmla="*/ 258 w 258"/>
                <a:gd name="T11" fmla="*/ 0 h 287"/>
                <a:gd name="T12" fmla="*/ 185 w 258"/>
                <a:gd name="T13" fmla="*/ 287 h 287"/>
                <a:gd name="T14" fmla="*/ 74 w 258"/>
                <a:gd name="T15" fmla="*/ 287 h 287"/>
                <a:gd name="T16" fmla="*/ 0 w 258"/>
                <a:gd name="T1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87">
                  <a:moveTo>
                    <a:pt x="0" y="0"/>
                  </a:moveTo>
                  <a:lnTo>
                    <a:pt x="65" y="0"/>
                  </a:lnTo>
                  <a:lnTo>
                    <a:pt x="120" y="234"/>
                  </a:lnTo>
                  <a:lnTo>
                    <a:pt x="139" y="234"/>
                  </a:lnTo>
                  <a:lnTo>
                    <a:pt x="195" y="0"/>
                  </a:lnTo>
                  <a:lnTo>
                    <a:pt x="258" y="0"/>
                  </a:lnTo>
                  <a:lnTo>
                    <a:pt x="185" y="287"/>
                  </a:lnTo>
                  <a:lnTo>
                    <a:pt x="74" y="28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B21F6CD9-AF7A-46B8-80D5-E25DA9669C61}"/>
                </a:ext>
              </a:extLst>
            </p:cNvPr>
            <p:cNvSpPr>
              <a:spLocks noEditPoints="1"/>
            </p:cNvSpPr>
            <p:nvPr userDrawn="1"/>
          </p:nvSpPr>
          <p:spPr bwMode="auto">
            <a:xfrm>
              <a:off x="4305" y="1803"/>
              <a:ext cx="243" cy="299"/>
            </a:xfrm>
            <a:custGeom>
              <a:avLst/>
              <a:gdLst>
                <a:gd name="T0" fmla="*/ 103 w 116"/>
                <a:gd name="T1" fmla="*/ 115 h 142"/>
                <a:gd name="T2" fmla="*/ 110 w 116"/>
                <a:gd name="T3" fmla="*/ 114 h 142"/>
                <a:gd name="T4" fmla="*/ 111 w 116"/>
                <a:gd name="T5" fmla="*/ 136 h 142"/>
                <a:gd name="T6" fmla="*/ 56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3 w 116"/>
                <a:gd name="T23" fmla="*/ 116 h 142"/>
                <a:gd name="T24" fmla="*/ 103 w 116"/>
                <a:gd name="T25" fmla="*/ 115 h 142"/>
                <a:gd name="T26" fmla="*/ 87 w 116"/>
                <a:gd name="T27" fmla="*/ 61 h 142"/>
                <a:gd name="T28" fmla="*/ 80 w 116"/>
                <a:gd name="T29" fmla="*/ 33 h 142"/>
                <a:gd name="T30" fmla="*/ 59 w 116"/>
                <a:gd name="T31" fmla="*/ 25 h 142"/>
                <a:gd name="T32" fmla="*/ 37 w 116"/>
                <a:gd name="T33" fmla="*/ 33 h 142"/>
                <a:gd name="T34" fmla="*/ 29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0" y="114"/>
                    <a:pt x="110" y="114"/>
                    <a:pt x="110" y="114"/>
                  </a:cubicBezTo>
                  <a:cubicBezTo>
                    <a:pt x="111" y="136"/>
                    <a:pt x="111" y="136"/>
                    <a:pt x="111" y="136"/>
                  </a:cubicBezTo>
                  <a:cubicBezTo>
                    <a:pt x="90" y="140"/>
                    <a:pt x="72" y="142"/>
                    <a:pt x="56" y="142"/>
                  </a:cubicBezTo>
                  <a:cubicBezTo>
                    <a:pt x="36" y="142"/>
                    <a:pt x="22" y="136"/>
                    <a:pt x="13" y="125"/>
                  </a:cubicBezTo>
                  <a:cubicBezTo>
                    <a:pt x="4" y="114"/>
                    <a:pt x="0" y="97"/>
                    <a:pt x="0" y="72"/>
                  </a:cubicBezTo>
                  <a:cubicBezTo>
                    <a:pt x="0" y="24"/>
                    <a:pt x="19" y="0"/>
                    <a:pt x="59" y="0"/>
                  </a:cubicBezTo>
                  <a:cubicBezTo>
                    <a:pt x="97" y="0"/>
                    <a:pt x="116" y="21"/>
                    <a:pt x="116" y="62"/>
                  </a:cubicBezTo>
                  <a:cubicBezTo>
                    <a:pt x="114" y="84"/>
                    <a:pt x="114" y="84"/>
                    <a:pt x="114" y="84"/>
                  </a:cubicBezTo>
                  <a:cubicBezTo>
                    <a:pt x="30" y="84"/>
                    <a:pt x="30" y="84"/>
                    <a:pt x="30" y="84"/>
                  </a:cubicBezTo>
                  <a:cubicBezTo>
                    <a:pt x="30" y="95"/>
                    <a:pt x="32" y="103"/>
                    <a:pt x="37" y="108"/>
                  </a:cubicBezTo>
                  <a:cubicBezTo>
                    <a:pt x="42" y="114"/>
                    <a:pt x="50" y="116"/>
                    <a:pt x="63" y="116"/>
                  </a:cubicBezTo>
                  <a:cubicBezTo>
                    <a:pt x="76" y="116"/>
                    <a:pt x="89" y="116"/>
                    <a:pt x="103" y="115"/>
                  </a:cubicBezTo>
                  <a:moveTo>
                    <a:pt x="87" y="61"/>
                  </a:moveTo>
                  <a:cubicBezTo>
                    <a:pt x="87" y="47"/>
                    <a:pt x="84" y="38"/>
                    <a:pt x="80" y="33"/>
                  </a:cubicBezTo>
                  <a:cubicBezTo>
                    <a:pt x="76" y="27"/>
                    <a:pt x="69" y="25"/>
                    <a:pt x="59" y="25"/>
                  </a:cubicBezTo>
                  <a:cubicBezTo>
                    <a:pt x="48" y="25"/>
                    <a:pt x="41" y="27"/>
                    <a:pt x="37" y="33"/>
                  </a:cubicBezTo>
                  <a:cubicBezTo>
                    <a:pt x="32" y="39"/>
                    <a:pt x="29" y="48"/>
                    <a:pt x="29"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a:extLst>
                <a:ext uri="{FF2B5EF4-FFF2-40B4-BE49-F238E27FC236}">
                  <a16:creationId xmlns:a16="http://schemas.microsoft.com/office/drawing/2014/main" id="{23BF059E-0C06-44BF-8D8D-8391FB9BAE79}"/>
                </a:ext>
              </a:extLst>
            </p:cNvPr>
            <p:cNvSpPr>
              <a:spLocks/>
            </p:cNvSpPr>
            <p:nvPr userDrawn="1"/>
          </p:nvSpPr>
          <p:spPr bwMode="auto">
            <a:xfrm>
              <a:off x="4600" y="1803"/>
              <a:ext cx="160" cy="293"/>
            </a:xfrm>
            <a:custGeom>
              <a:avLst/>
              <a:gdLst>
                <a:gd name="T0" fmla="*/ 0 w 76"/>
                <a:gd name="T1" fmla="*/ 139 h 139"/>
                <a:gd name="T2" fmla="*/ 0 w 76"/>
                <a:gd name="T3" fmla="*/ 3 h 139"/>
                <a:gd name="T4" fmla="*/ 30 w 76"/>
                <a:gd name="T5" fmla="*/ 3 h 139"/>
                <a:gd name="T6" fmla="*/ 30 w 76"/>
                <a:gd name="T7" fmla="*/ 20 h 139"/>
                <a:gd name="T8" fmla="*/ 76 w 76"/>
                <a:gd name="T9" fmla="*/ 0 h 139"/>
                <a:gd name="T10" fmla="*/ 76 w 76"/>
                <a:gd name="T11" fmla="*/ 30 h 139"/>
                <a:gd name="T12" fmla="*/ 36 w 76"/>
                <a:gd name="T13" fmla="*/ 42 h 139"/>
                <a:gd name="T14" fmla="*/ 30 w 76"/>
                <a:gd name="T15" fmla="*/ 44 h 139"/>
                <a:gd name="T16" fmla="*/ 30 w 76"/>
                <a:gd name="T17" fmla="*/ 139 h 139"/>
                <a:gd name="T18" fmla="*/ 0 w 76"/>
                <a:gd name="T1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9">
                  <a:moveTo>
                    <a:pt x="0" y="139"/>
                  </a:moveTo>
                  <a:cubicBezTo>
                    <a:pt x="0" y="3"/>
                    <a:pt x="0" y="3"/>
                    <a:pt x="0" y="3"/>
                  </a:cubicBezTo>
                  <a:cubicBezTo>
                    <a:pt x="30" y="3"/>
                    <a:pt x="30" y="3"/>
                    <a:pt x="30" y="3"/>
                  </a:cubicBezTo>
                  <a:cubicBezTo>
                    <a:pt x="30" y="20"/>
                    <a:pt x="30" y="20"/>
                    <a:pt x="30" y="20"/>
                  </a:cubicBezTo>
                  <a:cubicBezTo>
                    <a:pt x="45" y="10"/>
                    <a:pt x="60" y="3"/>
                    <a:pt x="76" y="0"/>
                  </a:cubicBezTo>
                  <a:cubicBezTo>
                    <a:pt x="76" y="30"/>
                    <a:pt x="76" y="30"/>
                    <a:pt x="76" y="30"/>
                  </a:cubicBezTo>
                  <a:cubicBezTo>
                    <a:pt x="60" y="33"/>
                    <a:pt x="47" y="37"/>
                    <a:pt x="36" y="42"/>
                  </a:cubicBezTo>
                  <a:cubicBezTo>
                    <a:pt x="30" y="44"/>
                    <a:pt x="30" y="44"/>
                    <a:pt x="30" y="44"/>
                  </a:cubicBezTo>
                  <a:cubicBezTo>
                    <a:pt x="30" y="139"/>
                    <a:pt x="30" y="139"/>
                    <a:pt x="30" y="139"/>
                  </a:cubicBezTo>
                  <a:lnTo>
                    <a:pt x="0"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2C1EEFF2-94D3-4313-A4A9-04AC06C7D753}"/>
                </a:ext>
              </a:extLst>
            </p:cNvPr>
            <p:cNvSpPr>
              <a:spLocks noEditPoints="1"/>
            </p:cNvSpPr>
            <p:nvPr userDrawn="1"/>
          </p:nvSpPr>
          <p:spPr bwMode="auto">
            <a:xfrm>
              <a:off x="4785" y="1803"/>
              <a:ext cx="243" cy="299"/>
            </a:xfrm>
            <a:custGeom>
              <a:avLst/>
              <a:gdLst>
                <a:gd name="T0" fmla="*/ 103 w 116"/>
                <a:gd name="T1" fmla="*/ 115 h 142"/>
                <a:gd name="T2" fmla="*/ 111 w 116"/>
                <a:gd name="T3" fmla="*/ 114 h 142"/>
                <a:gd name="T4" fmla="*/ 111 w 116"/>
                <a:gd name="T5" fmla="*/ 136 h 142"/>
                <a:gd name="T6" fmla="*/ 57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4 w 116"/>
                <a:gd name="T23" fmla="*/ 116 h 142"/>
                <a:gd name="T24" fmla="*/ 103 w 116"/>
                <a:gd name="T25" fmla="*/ 115 h 142"/>
                <a:gd name="T26" fmla="*/ 87 w 116"/>
                <a:gd name="T27" fmla="*/ 61 h 142"/>
                <a:gd name="T28" fmla="*/ 81 w 116"/>
                <a:gd name="T29" fmla="*/ 33 h 142"/>
                <a:gd name="T30" fmla="*/ 59 w 116"/>
                <a:gd name="T31" fmla="*/ 25 h 142"/>
                <a:gd name="T32" fmla="*/ 37 w 116"/>
                <a:gd name="T33" fmla="*/ 33 h 142"/>
                <a:gd name="T34" fmla="*/ 30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1" y="114"/>
                    <a:pt x="111" y="114"/>
                    <a:pt x="111" y="114"/>
                  </a:cubicBezTo>
                  <a:cubicBezTo>
                    <a:pt x="111" y="136"/>
                    <a:pt x="111" y="136"/>
                    <a:pt x="111" y="136"/>
                  </a:cubicBezTo>
                  <a:cubicBezTo>
                    <a:pt x="91" y="140"/>
                    <a:pt x="72" y="142"/>
                    <a:pt x="57" y="142"/>
                  </a:cubicBezTo>
                  <a:cubicBezTo>
                    <a:pt x="36" y="142"/>
                    <a:pt x="22" y="136"/>
                    <a:pt x="13" y="125"/>
                  </a:cubicBezTo>
                  <a:cubicBezTo>
                    <a:pt x="4" y="114"/>
                    <a:pt x="0" y="97"/>
                    <a:pt x="0" y="72"/>
                  </a:cubicBezTo>
                  <a:cubicBezTo>
                    <a:pt x="0" y="24"/>
                    <a:pt x="20" y="0"/>
                    <a:pt x="59" y="0"/>
                  </a:cubicBezTo>
                  <a:cubicBezTo>
                    <a:pt x="97" y="0"/>
                    <a:pt x="116" y="21"/>
                    <a:pt x="116" y="62"/>
                  </a:cubicBezTo>
                  <a:cubicBezTo>
                    <a:pt x="114" y="84"/>
                    <a:pt x="114" y="84"/>
                    <a:pt x="114" y="84"/>
                  </a:cubicBezTo>
                  <a:cubicBezTo>
                    <a:pt x="30" y="84"/>
                    <a:pt x="30" y="84"/>
                    <a:pt x="30" y="84"/>
                  </a:cubicBezTo>
                  <a:cubicBezTo>
                    <a:pt x="30" y="95"/>
                    <a:pt x="33" y="103"/>
                    <a:pt x="37" y="108"/>
                  </a:cubicBezTo>
                  <a:cubicBezTo>
                    <a:pt x="42" y="114"/>
                    <a:pt x="51" y="116"/>
                    <a:pt x="64" y="116"/>
                  </a:cubicBezTo>
                  <a:cubicBezTo>
                    <a:pt x="76" y="116"/>
                    <a:pt x="90" y="116"/>
                    <a:pt x="103" y="115"/>
                  </a:cubicBezTo>
                  <a:moveTo>
                    <a:pt x="87" y="61"/>
                  </a:moveTo>
                  <a:cubicBezTo>
                    <a:pt x="87" y="47"/>
                    <a:pt x="85" y="38"/>
                    <a:pt x="81" y="33"/>
                  </a:cubicBezTo>
                  <a:cubicBezTo>
                    <a:pt x="76" y="27"/>
                    <a:pt x="69" y="25"/>
                    <a:pt x="59" y="25"/>
                  </a:cubicBezTo>
                  <a:cubicBezTo>
                    <a:pt x="49" y="25"/>
                    <a:pt x="41" y="27"/>
                    <a:pt x="37" y="33"/>
                  </a:cubicBezTo>
                  <a:cubicBezTo>
                    <a:pt x="32" y="39"/>
                    <a:pt x="30" y="48"/>
                    <a:pt x="30"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4AE128BA-B69F-44AB-875A-5AA57064FED4}"/>
                </a:ext>
              </a:extLst>
            </p:cNvPr>
            <p:cNvSpPr>
              <a:spLocks/>
            </p:cNvSpPr>
            <p:nvPr userDrawn="1"/>
          </p:nvSpPr>
          <p:spPr bwMode="auto">
            <a:xfrm>
              <a:off x="5082" y="1803"/>
              <a:ext cx="239" cy="293"/>
            </a:xfrm>
            <a:custGeom>
              <a:avLst/>
              <a:gdLst>
                <a:gd name="T0" fmla="*/ 29 w 114"/>
                <a:gd name="T1" fmla="*/ 139 h 139"/>
                <a:gd name="T2" fmla="*/ 0 w 114"/>
                <a:gd name="T3" fmla="*/ 139 h 139"/>
                <a:gd name="T4" fmla="*/ 0 w 114"/>
                <a:gd name="T5" fmla="*/ 3 h 139"/>
                <a:gd name="T6" fmla="*/ 29 w 114"/>
                <a:gd name="T7" fmla="*/ 3 h 139"/>
                <a:gd name="T8" fmla="*/ 29 w 114"/>
                <a:gd name="T9" fmla="*/ 12 h 139"/>
                <a:gd name="T10" fmla="*/ 67 w 114"/>
                <a:gd name="T11" fmla="*/ 0 h 139"/>
                <a:gd name="T12" fmla="*/ 104 w 114"/>
                <a:gd name="T13" fmla="*/ 16 h 139"/>
                <a:gd name="T14" fmla="*/ 114 w 114"/>
                <a:gd name="T15" fmla="*/ 66 h 139"/>
                <a:gd name="T16" fmla="*/ 114 w 114"/>
                <a:gd name="T17" fmla="*/ 139 h 139"/>
                <a:gd name="T18" fmla="*/ 84 w 114"/>
                <a:gd name="T19" fmla="*/ 139 h 139"/>
                <a:gd name="T20" fmla="*/ 84 w 114"/>
                <a:gd name="T21" fmla="*/ 67 h 139"/>
                <a:gd name="T22" fmla="*/ 79 w 114"/>
                <a:gd name="T23" fmla="*/ 36 h 139"/>
                <a:gd name="T24" fmla="*/ 60 w 114"/>
                <a:gd name="T25" fmla="*/ 27 h 139"/>
                <a:gd name="T26" fmla="*/ 33 w 114"/>
                <a:gd name="T27" fmla="*/ 32 h 139"/>
                <a:gd name="T28" fmla="*/ 29 w 114"/>
                <a:gd name="T29" fmla="*/ 34 h 139"/>
                <a:gd name="T30" fmla="*/ 29 w 114"/>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39">
                  <a:moveTo>
                    <a:pt x="29" y="139"/>
                  </a:moveTo>
                  <a:cubicBezTo>
                    <a:pt x="0" y="139"/>
                    <a:pt x="0" y="139"/>
                    <a:pt x="0" y="139"/>
                  </a:cubicBezTo>
                  <a:cubicBezTo>
                    <a:pt x="0" y="3"/>
                    <a:pt x="0" y="3"/>
                    <a:pt x="0" y="3"/>
                  </a:cubicBezTo>
                  <a:cubicBezTo>
                    <a:pt x="29" y="3"/>
                    <a:pt x="29" y="3"/>
                    <a:pt x="29" y="3"/>
                  </a:cubicBezTo>
                  <a:cubicBezTo>
                    <a:pt x="29" y="12"/>
                    <a:pt x="29" y="12"/>
                    <a:pt x="29" y="12"/>
                  </a:cubicBezTo>
                  <a:cubicBezTo>
                    <a:pt x="42" y="4"/>
                    <a:pt x="55" y="0"/>
                    <a:pt x="67" y="0"/>
                  </a:cubicBezTo>
                  <a:cubicBezTo>
                    <a:pt x="85" y="0"/>
                    <a:pt x="97" y="5"/>
                    <a:pt x="104" y="16"/>
                  </a:cubicBezTo>
                  <a:cubicBezTo>
                    <a:pt x="110" y="26"/>
                    <a:pt x="114" y="43"/>
                    <a:pt x="114" y="66"/>
                  </a:cubicBezTo>
                  <a:cubicBezTo>
                    <a:pt x="114" y="139"/>
                    <a:pt x="114" y="139"/>
                    <a:pt x="114" y="139"/>
                  </a:cubicBezTo>
                  <a:cubicBezTo>
                    <a:pt x="84" y="139"/>
                    <a:pt x="84" y="139"/>
                    <a:pt x="84" y="139"/>
                  </a:cubicBezTo>
                  <a:cubicBezTo>
                    <a:pt x="84" y="67"/>
                    <a:pt x="84" y="67"/>
                    <a:pt x="84" y="67"/>
                  </a:cubicBezTo>
                  <a:cubicBezTo>
                    <a:pt x="84" y="52"/>
                    <a:pt x="83" y="42"/>
                    <a:pt x="79" y="36"/>
                  </a:cubicBezTo>
                  <a:cubicBezTo>
                    <a:pt x="76" y="30"/>
                    <a:pt x="70" y="27"/>
                    <a:pt x="60" y="27"/>
                  </a:cubicBezTo>
                  <a:cubicBezTo>
                    <a:pt x="51" y="27"/>
                    <a:pt x="42" y="28"/>
                    <a:pt x="33" y="32"/>
                  </a:cubicBezTo>
                  <a:cubicBezTo>
                    <a:pt x="29" y="34"/>
                    <a:pt x="29" y="34"/>
                    <a:pt x="29" y="34"/>
                  </a:cubicBezTo>
                  <a:lnTo>
                    <a:pt x="29"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3">
              <a:extLst>
                <a:ext uri="{FF2B5EF4-FFF2-40B4-BE49-F238E27FC236}">
                  <a16:creationId xmlns:a16="http://schemas.microsoft.com/office/drawing/2014/main" id="{9DD683FC-C7CB-4024-8208-A38FE8261A87}"/>
                </a:ext>
              </a:extLst>
            </p:cNvPr>
            <p:cNvSpPr>
              <a:spLocks/>
            </p:cNvSpPr>
            <p:nvPr userDrawn="1"/>
          </p:nvSpPr>
          <p:spPr bwMode="auto">
            <a:xfrm>
              <a:off x="3467" y="2231"/>
              <a:ext cx="277" cy="392"/>
            </a:xfrm>
            <a:custGeom>
              <a:avLst/>
              <a:gdLst>
                <a:gd name="T0" fmla="*/ 63 w 277"/>
                <a:gd name="T1" fmla="*/ 392 h 392"/>
                <a:gd name="T2" fmla="*/ 0 w 277"/>
                <a:gd name="T3" fmla="*/ 392 h 392"/>
                <a:gd name="T4" fmla="*/ 0 w 277"/>
                <a:gd name="T5" fmla="*/ 0 h 392"/>
                <a:gd name="T6" fmla="*/ 63 w 277"/>
                <a:gd name="T7" fmla="*/ 0 h 392"/>
                <a:gd name="T8" fmla="*/ 63 w 277"/>
                <a:gd name="T9" fmla="*/ 177 h 392"/>
                <a:gd name="T10" fmla="*/ 120 w 277"/>
                <a:gd name="T11" fmla="*/ 172 h 392"/>
                <a:gd name="T12" fmla="*/ 199 w 277"/>
                <a:gd name="T13" fmla="*/ 0 h 392"/>
                <a:gd name="T14" fmla="*/ 273 w 277"/>
                <a:gd name="T15" fmla="*/ 0 h 392"/>
                <a:gd name="T16" fmla="*/ 176 w 277"/>
                <a:gd name="T17" fmla="*/ 198 h 392"/>
                <a:gd name="T18" fmla="*/ 277 w 277"/>
                <a:gd name="T19" fmla="*/ 392 h 392"/>
                <a:gd name="T20" fmla="*/ 203 w 277"/>
                <a:gd name="T21" fmla="*/ 392 h 392"/>
                <a:gd name="T22" fmla="*/ 120 w 277"/>
                <a:gd name="T23" fmla="*/ 229 h 392"/>
                <a:gd name="T24" fmla="*/ 63 w 277"/>
                <a:gd name="T25" fmla="*/ 234 h 392"/>
                <a:gd name="T26" fmla="*/ 63 w 277"/>
                <a:gd name="T2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2">
                  <a:moveTo>
                    <a:pt x="63" y="392"/>
                  </a:moveTo>
                  <a:lnTo>
                    <a:pt x="0" y="392"/>
                  </a:lnTo>
                  <a:lnTo>
                    <a:pt x="0" y="0"/>
                  </a:lnTo>
                  <a:lnTo>
                    <a:pt x="63" y="0"/>
                  </a:lnTo>
                  <a:lnTo>
                    <a:pt x="63" y="177"/>
                  </a:lnTo>
                  <a:lnTo>
                    <a:pt x="120" y="172"/>
                  </a:lnTo>
                  <a:lnTo>
                    <a:pt x="199" y="0"/>
                  </a:lnTo>
                  <a:lnTo>
                    <a:pt x="273" y="0"/>
                  </a:lnTo>
                  <a:lnTo>
                    <a:pt x="176" y="198"/>
                  </a:lnTo>
                  <a:lnTo>
                    <a:pt x="277" y="392"/>
                  </a:lnTo>
                  <a:lnTo>
                    <a:pt x="203" y="392"/>
                  </a:lnTo>
                  <a:lnTo>
                    <a:pt x="120" y="229"/>
                  </a:lnTo>
                  <a:lnTo>
                    <a:pt x="63" y="234"/>
                  </a:lnTo>
                  <a:lnTo>
                    <a:pt x="63" y="3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4">
              <a:extLst>
                <a:ext uri="{FF2B5EF4-FFF2-40B4-BE49-F238E27FC236}">
                  <a16:creationId xmlns:a16="http://schemas.microsoft.com/office/drawing/2014/main" id="{880B0D20-5523-4C7C-8079-F7E29DAEAD9A}"/>
                </a:ext>
              </a:extLst>
            </p:cNvPr>
            <p:cNvSpPr>
              <a:spLocks/>
            </p:cNvSpPr>
            <p:nvPr userDrawn="1"/>
          </p:nvSpPr>
          <p:spPr bwMode="auto">
            <a:xfrm>
              <a:off x="3781" y="2332"/>
              <a:ext cx="160" cy="291"/>
            </a:xfrm>
            <a:custGeom>
              <a:avLst/>
              <a:gdLst>
                <a:gd name="T0" fmla="*/ 0 w 76"/>
                <a:gd name="T1" fmla="*/ 138 h 138"/>
                <a:gd name="T2" fmla="*/ 0 w 76"/>
                <a:gd name="T3" fmla="*/ 3 h 138"/>
                <a:gd name="T4" fmla="*/ 30 w 76"/>
                <a:gd name="T5" fmla="*/ 3 h 138"/>
                <a:gd name="T6" fmla="*/ 30 w 76"/>
                <a:gd name="T7" fmla="*/ 19 h 138"/>
                <a:gd name="T8" fmla="*/ 76 w 76"/>
                <a:gd name="T9" fmla="*/ 0 h 138"/>
                <a:gd name="T10" fmla="*/ 76 w 76"/>
                <a:gd name="T11" fmla="*/ 29 h 138"/>
                <a:gd name="T12" fmla="*/ 36 w 76"/>
                <a:gd name="T13" fmla="*/ 41 h 138"/>
                <a:gd name="T14" fmla="*/ 30 w 76"/>
                <a:gd name="T15" fmla="*/ 44 h 138"/>
                <a:gd name="T16" fmla="*/ 30 w 76"/>
                <a:gd name="T17" fmla="*/ 138 h 138"/>
                <a:gd name="T18" fmla="*/ 0 w 76"/>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8">
                  <a:moveTo>
                    <a:pt x="0" y="138"/>
                  </a:moveTo>
                  <a:cubicBezTo>
                    <a:pt x="0" y="3"/>
                    <a:pt x="0" y="3"/>
                    <a:pt x="0" y="3"/>
                  </a:cubicBezTo>
                  <a:cubicBezTo>
                    <a:pt x="30" y="3"/>
                    <a:pt x="30" y="3"/>
                    <a:pt x="30" y="3"/>
                  </a:cubicBezTo>
                  <a:cubicBezTo>
                    <a:pt x="30" y="19"/>
                    <a:pt x="30" y="19"/>
                    <a:pt x="30" y="19"/>
                  </a:cubicBezTo>
                  <a:cubicBezTo>
                    <a:pt x="45" y="9"/>
                    <a:pt x="60" y="3"/>
                    <a:pt x="76" y="0"/>
                  </a:cubicBezTo>
                  <a:cubicBezTo>
                    <a:pt x="76" y="29"/>
                    <a:pt x="76" y="29"/>
                    <a:pt x="76" y="29"/>
                  </a:cubicBezTo>
                  <a:cubicBezTo>
                    <a:pt x="60" y="32"/>
                    <a:pt x="47" y="36"/>
                    <a:pt x="36" y="41"/>
                  </a:cubicBezTo>
                  <a:cubicBezTo>
                    <a:pt x="30" y="44"/>
                    <a:pt x="30" y="44"/>
                    <a:pt x="30" y="44"/>
                  </a:cubicBezTo>
                  <a:cubicBezTo>
                    <a:pt x="30" y="138"/>
                    <a:pt x="30" y="138"/>
                    <a:pt x="30" y="138"/>
                  </a:cubicBezTo>
                  <a:lnTo>
                    <a:pt x="0" y="1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5">
              <a:extLst>
                <a:ext uri="{FF2B5EF4-FFF2-40B4-BE49-F238E27FC236}">
                  <a16:creationId xmlns:a16="http://schemas.microsoft.com/office/drawing/2014/main" id="{8C598D77-3D19-476A-BBA9-BA701BBD7220}"/>
                </a:ext>
              </a:extLst>
            </p:cNvPr>
            <p:cNvSpPr>
              <a:spLocks/>
            </p:cNvSpPr>
            <p:nvPr userDrawn="1"/>
          </p:nvSpPr>
          <p:spPr bwMode="auto">
            <a:xfrm>
              <a:off x="3978" y="2338"/>
              <a:ext cx="237" cy="291"/>
            </a:xfrm>
            <a:custGeom>
              <a:avLst/>
              <a:gdLst>
                <a:gd name="T0" fmla="*/ 84 w 113"/>
                <a:gd name="T1" fmla="*/ 0 h 138"/>
                <a:gd name="T2" fmla="*/ 113 w 113"/>
                <a:gd name="T3" fmla="*/ 0 h 138"/>
                <a:gd name="T4" fmla="*/ 113 w 113"/>
                <a:gd name="T5" fmla="*/ 135 h 138"/>
                <a:gd name="T6" fmla="*/ 84 w 113"/>
                <a:gd name="T7" fmla="*/ 135 h 138"/>
                <a:gd name="T8" fmla="*/ 84 w 113"/>
                <a:gd name="T9" fmla="*/ 127 h 138"/>
                <a:gd name="T10" fmla="*/ 47 w 113"/>
                <a:gd name="T11" fmla="*/ 138 h 138"/>
                <a:gd name="T12" fmla="*/ 10 w 113"/>
                <a:gd name="T13" fmla="*/ 123 h 138"/>
                <a:gd name="T14" fmla="*/ 0 w 113"/>
                <a:gd name="T15" fmla="*/ 71 h 138"/>
                <a:gd name="T16" fmla="*/ 0 w 113"/>
                <a:gd name="T17" fmla="*/ 0 h 138"/>
                <a:gd name="T18" fmla="*/ 30 w 113"/>
                <a:gd name="T19" fmla="*/ 0 h 138"/>
                <a:gd name="T20" fmla="*/ 30 w 113"/>
                <a:gd name="T21" fmla="*/ 71 h 138"/>
                <a:gd name="T22" fmla="*/ 34 w 113"/>
                <a:gd name="T23" fmla="*/ 104 h 138"/>
                <a:gd name="T24" fmla="*/ 53 w 113"/>
                <a:gd name="T25" fmla="*/ 112 h 138"/>
                <a:gd name="T26" fmla="*/ 80 w 113"/>
                <a:gd name="T27" fmla="*/ 107 h 138"/>
                <a:gd name="T28" fmla="*/ 84 w 113"/>
                <a:gd name="T29" fmla="*/ 105 h 138"/>
                <a:gd name="T30" fmla="*/ 84 w 113"/>
                <a:gd name="T3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8">
                  <a:moveTo>
                    <a:pt x="84" y="0"/>
                  </a:moveTo>
                  <a:cubicBezTo>
                    <a:pt x="113" y="0"/>
                    <a:pt x="113" y="0"/>
                    <a:pt x="113" y="0"/>
                  </a:cubicBezTo>
                  <a:cubicBezTo>
                    <a:pt x="113" y="135"/>
                    <a:pt x="113" y="135"/>
                    <a:pt x="113" y="135"/>
                  </a:cubicBezTo>
                  <a:cubicBezTo>
                    <a:pt x="84" y="135"/>
                    <a:pt x="84" y="135"/>
                    <a:pt x="84" y="135"/>
                  </a:cubicBezTo>
                  <a:cubicBezTo>
                    <a:pt x="84" y="127"/>
                    <a:pt x="84" y="127"/>
                    <a:pt x="84" y="127"/>
                  </a:cubicBezTo>
                  <a:cubicBezTo>
                    <a:pt x="71" y="135"/>
                    <a:pt x="58" y="138"/>
                    <a:pt x="47" y="138"/>
                  </a:cubicBezTo>
                  <a:cubicBezTo>
                    <a:pt x="28" y="138"/>
                    <a:pt x="16" y="133"/>
                    <a:pt x="10" y="123"/>
                  </a:cubicBezTo>
                  <a:cubicBezTo>
                    <a:pt x="3" y="113"/>
                    <a:pt x="0" y="96"/>
                    <a:pt x="0" y="71"/>
                  </a:cubicBezTo>
                  <a:cubicBezTo>
                    <a:pt x="0" y="0"/>
                    <a:pt x="0" y="0"/>
                    <a:pt x="0" y="0"/>
                  </a:cubicBezTo>
                  <a:cubicBezTo>
                    <a:pt x="30" y="0"/>
                    <a:pt x="30" y="0"/>
                    <a:pt x="30" y="0"/>
                  </a:cubicBezTo>
                  <a:cubicBezTo>
                    <a:pt x="30" y="71"/>
                    <a:pt x="30" y="71"/>
                    <a:pt x="30" y="71"/>
                  </a:cubicBezTo>
                  <a:cubicBezTo>
                    <a:pt x="30" y="87"/>
                    <a:pt x="31" y="98"/>
                    <a:pt x="34" y="104"/>
                  </a:cubicBezTo>
                  <a:cubicBezTo>
                    <a:pt x="37" y="109"/>
                    <a:pt x="43" y="112"/>
                    <a:pt x="53" y="112"/>
                  </a:cubicBezTo>
                  <a:cubicBezTo>
                    <a:pt x="63" y="112"/>
                    <a:pt x="72" y="110"/>
                    <a:pt x="80" y="107"/>
                  </a:cubicBezTo>
                  <a:cubicBezTo>
                    <a:pt x="84" y="105"/>
                    <a:pt x="84" y="105"/>
                    <a:pt x="84" y="105"/>
                  </a:cubicBezTo>
                  <a:lnTo>
                    <a:pt x="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
              <a:extLst>
                <a:ext uri="{FF2B5EF4-FFF2-40B4-BE49-F238E27FC236}">
                  <a16:creationId xmlns:a16="http://schemas.microsoft.com/office/drawing/2014/main" id="{99B0AA94-CD20-454F-9688-BC3727935EAB}"/>
                </a:ext>
              </a:extLst>
            </p:cNvPr>
            <p:cNvSpPr>
              <a:spLocks noEditPoints="1"/>
            </p:cNvSpPr>
            <p:nvPr userDrawn="1"/>
          </p:nvSpPr>
          <p:spPr bwMode="auto">
            <a:xfrm>
              <a:off x="4284" y="2222"/>
              <a:ext cx="63" cy="401"/>
            </a:xfrm>
            <a:custGeom>
              <a:avLst/>
              <a:gdLst>
                <a:gd name="T0" fmla="*/ 0 w 63"/>
                <a:gd name="T1" fmla="*/ 0 h 401"/>
                <a:gd name="T2" fmla="*/ 63 w 63"/>
                <a:gd name="T3" fmla="*/ 0 h 401"/>
                <a:gd name="T4" fmla="*/ 63 w 63"/>
                <a:gd name="T5" fmla="*/ 68 h 401"/>
                <a:gd name="T6" fmla="*/ 0 w 63"/>
                <a:gd name="T7" fmla="*/ 68 h 401"/>
                <a:gd name="T8" fmla="*/ 0 w 63"/>
                <a:gd name="T9" fmla="*/ 0 h 401"/>
                <a:gd name="T10" fmla="*/ 0 w 63"/>
                <a:gd name="T11" fmla="*/ 116 h 401"/>
                <a:gd name="T12" fmla="*/ 63 w 63"/>
                <a:gd name="T13" fmla="*/ 116 h 401"/>
                <a:gd name="T14" fmla="*/ 63 w 63"/>
                <a:gd name="T15" fmla="*/ 401 h 401"/>
                <a:gd name="T16" fmla="*/ 0 w 63"/>
                <a:gd name="T17" fmla="*/ 401 h 401"/>
                <a:gd name="T18" fmla="*/ 0 w 63"/>
                <a:gd name="T19" fmla="*/ 11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8"/>
                  </a:lnTo>
                  <a:lnTo>
                    <a:pt x="0" y="68"/>
                  </a:lnTo>
                  <a:lnTo>
                    <a:pt x="0" y="0"/>
                  </a:lnTo>
                  <a:close/>
                  <a:moveTo>
                    <a:pt x="0" y="116"/>
                  </a:moveTo>
                  <a:lnTo>
                    <a:pt x="63" y="116"/>
                  </a:lnTo>
                  <a:lnTo>
                    <a:pt x="63" y="401"/>
                  </a:lnTo>
                  <a:lnTo>
                    <a:pt x="0" y="401"/>
                  </a:lnTo>
                  <a:lnTo>
                    <a:pt x="0"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7">
              <a:extLst>
                <a:ext uri="{FF2B5EF4-FFF2-40B4-BE49-F238E27FC236}">
                  <a16:creationId xmlns:a16="http://schemas.microsoft.com/office/drawing/2014/main" id="{41E34058-80CB-46DE-8EF7-1C3C57F77172}"/>
                </a:ext>
              </a:extLst>
            </p:cNvPr>
            <p:cNvSpPr>
              <a:spLocks/>
            </p:cNvSpPr>
            <p:nvPr userDrawn="1"/>
          </p:nvSpPr>
          <p:spPr bwMode="auto">
            <a:xfrm>
              <a:off x="4401" y="2332"/>
              <a:ext cx="222" cy="297"/>
            </a:xfrm>
            <a:custGeom>
              <a:avLst/>
              <a:gdLst>
                <a:gd name="T0" fmla="*/ 101 w 106"/>
                <a:gd name="T1" fmla="*/ 31 h 141"/>
                <a:gd name="T2" fmla="*/ 55 w 106"/>
                <a:gd name="T3" fmla="*/ 26 h 141"/>
                <a:gd name="T4" fmla="*/ 35 w 106"/>
                <a:gd name="T5" fmla="*/ 30 h 141"/>
                <a:gd name="T6" fmla="*/ 29 w 106"/>
                <a:gd name="T7" fmla="*/ 40 h 141"/>
                <a:gd name="T8" fmla="*/ 35 w 106"/>
                <a:gd name="T9" fmla="*/ 51 h 141"/>
                <a:gd name="T10" fmla="*/ 64 w 106"/>
                <a:gd name="T11" fmla="*/ 58 h 141"/>
                <a:gd name="T12" fmla="*/ 96 w 106"/>
                <a:gd name="T13" fmla="*/ 70 h 141"/>
                <a:gd name="T14" fmla="*/ 106 w 106"/>
                <a:gd name="T15" fmla="*/ 100 h 141"/>
                <a:gd name="T16" fmla="*/ 92 w 106"/>
                <a:gd name="T17" fmla="*/ 131 h 141"/>
                <a:gd name="T18" fmla="*/ 52 w 106"/>
                <a:gd name="T19" fmla="*/ 141 h 141"/>
                <a:gd name="T20" fmla="*/ 10 w 106"/>
                <a:gd name="T21" fmla="*/ 137 h 141"/>
                <a:gd name="T22" fmla="*/ 2 w 106"/>
                <a:gd name="T23" fmla="*/ 135 h 141"/>
                <a:gd name="T24" fmla="*/ 3 w 106"/>
                <a:gd name="T25" fmla="*/ 111 h 141"/>
                <a:gd name="T26" fmla="*/ 50 w 106"/>
                <a:gd name="T27" fmla="*/ 115 h 141"/>
                <a:gd name="T28" fmla="*/ 70 w 106"/>
                <a:gd name="T29" fmla="*/ 112 h 141"/>
                <a:gd name="T30" fmla="*/ 76 w 106"/>
                <a:gd name="T31" fmla="*/ 100 h 141"/>
                <a:gd name="T32" fmla="*/ 71 w 106"/>
                <a:gd name="T33" fmla="*/ 89 h 141"/>
                <a:gd name="T34" fmla="*/ 43 w 106"/>
                <a:gd name="T35" fmla="*/ 82 h 141"/>
                <a:gd name="T36" fmla="*/ 10 w 106"/>
                <a:gd name="T37" fmla="*/ 70 h 141"/>
                <a:gd name="T38" fmla="*/ 0 w 106"/>
                <a:gd name="T39" fmla="*/ 41 h 141"/>
                <a:gd name="T40" fmla="*/ 14 w 106"/>
                <a:gd name="T41" fmla="*/ 10 h 141"/>
                <a:gd name="T42" fmla="*/ 51 w 106"/>
                <a:gd name="T43" fmla="*/ 0 h 141"/>
                <a:gd name="T44" fmla="*/ 93 w 106"/>
                <a:gd name="T45" fmla="*/ 4 h 141"/>
                <a:gd name="T46" fmla="*/ 102 w 106"/>
                <a:gd name="T47" fmla="*/ 6 h 141"/>
                <a:gd name="T48" fmla="*/ 101 w 106"/>
                <a:gd name="T49" fmla="*/ 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41">
                  <a:moveTo>
                    <a:pt x="101" y="31"/>
                  </a:moveTo>
                  <a:cubicBezTo>
                    <a:pt x="80" y="28"/>
                    <a:pt x="64" y="26"/>
                    <a:pt x="55" y="26"/>
                  </a:cubicBezTo>
                  <a:cubicBezTo>
                    <a:pt x="45" y="26"/>
                    <a:pt x="38" y="27"/>
                    <a:pt x="35" y="30"/>
                  </a:cubicBezTo>
                  <a:cubicBezTo>
                    <a:pt x="31" y="32"/>
                    <a:pt x="29" y="36"/>
                    <a:pt x="29" y="40"/>
                  </a:cubicBezTo>
                  <a:cubicBezTo>
                    <a:pt x="29" y="45"/>
                    <a:pt x="31" y="49"/>
                    <a:pt x="35" y="51"/>
                  </a:cubicBezTo>
                  <a:cubicBezTo>
                    <a:pt x="39" y="53"/>
                    <a:pt x="49" y="55"/>
                    <a:pt x="64" y="58"/>
                  </a:cubicBezTo>
                  <a:cubicBezTo>
                    <a:pt x="79" y="60"/>
                    <a:pt x="90" y="64"/>
                    <a:pt x="96" y="70"/>
                  </a:cubicBezTo>
                  <a:cubicBezTo>
                    <a:pt x="103" y="76"/>
                    <a:pt x="106" y="86"/>
                    <a:pt x="106" y="100"/>
                  </a:cubicBezTo>
                  <a:cubicBezTo>
                    <a:pt x="106" y="114"/>
                    <a:pt x="101" y="125"/>
                    <a:pt x="92" y="131"/>
                  </a:cubicBezTo>
                  <a:cubicBezTo>
                    <a:pt x="83" y="138"/>
                    <a:pt x="70" y="141"/>
                    <a:pt x="52" y="141"/>
                  </a:cubicBezTo>
                  <a:cubicBezTo>
                    <a:pt x="41" y="141"/>
                    <a:pt x="27" y="140"/>
                    <a:pt x="10" y="137"/>
                  </a:cubicBezTo>
                  <a:cubicBezTo>
                    <a:pt x="2" y="135"/>
                    <a:pt x="2" y="135"/>
                    <a:pt x="2" y="135"/>
                  </a:cubicBezTo>
                  <a:cubicBezTo>
                    <a:pt x="3" y="111"/>
                    <a:pt x="3" y="111"/>
                    <a:pt x="3" y="111"/>
                  </a:cubicBezTo>
                  <a:cubicBezTo>
                    <a:pt x="25" y="114"/>
                    <a:pt x="40" y="115"/>
                    <a:pt x="50" y="115"/>
                  </a:cubicBezTo>
                  <a:cubicBezTo>
                    <a:pt x="59" y="115"/>
                    <a:pt x="66" y="114"/>
                    <a:pt x="70" y="112"/>
                  </a:cubicBezTo>
                  <a:cubicBezTo>
                    <a:pt x="74" y="109"/>
                    <a:pt x="76" y="105"/>
                    <a:pt x="76" y="100"/>
                  </a:cubicBezTo>
                  <a:cubicBezTo>
                    <a:pt x="76" y="94"/>
                    <a:pt x="74" y="91"/>
                    <a:pt x="71" y="89"/>
                  </a:cubicBezTo>
                  <a:cubicBezTo>
                    <a:pt x="67" y="87"/>
                    <a:pt x="57" y="84"/>
                    <a:pt x="43" y="82"/>
                  </a:cubicBezTo>
                  <a:cubicBezTo>
                    <a:pt x="28" y="79"/>
                    <a:pt x="17" y="76"/>
                    <a:pt x="10" y="70"/>
                  </a:cubicBezTo>
                  <a:cubicBezTo>
                    <a:pt x="3" y="65"/>
                    <a:pt x="0" y="55"/>
                    <a:pt x="0" y="41"/>
                  </a:cubicBezTo>
                  <a:cubicBezTo>
                    <a:pt x="0" y="28"/>
                    <a:pt x="5" y="17"/>
                    <a:pt x="14" y="10"/>
                  </a:cubicBezTo>
                  <a:cubicBezTo>
                    <a:pt x="24" y="3"/>
                    <a:pt x="36" y="0"/>
                    <a:pt x="51" y="0"/>
                  </a:cubicBezTo>
                  <a:cubicBezTo>
                    <a:pt x="62" y="0"/>
                    <a:pt x="76" y="1"/>
                    <a:pt x="93" y="4"/>
                  </a:cubicBezTo>
                  <a:cubicBezTo>
                    <a:pt x="102" y="6"/>
                    <a:pt x="102" y="6"/>
                    <a:pt x="102" y="6"/>
                  </a:cubicBezTo>
                  <a:lnTo>
                    <a:pt x="101"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a:extLst>
                <a:ext uri="{FF2B5EF4-FFF2-40B4-BE49-F238E27FC236}">
                  <a16:creationId xmlns:a16="http://schemas.microsoft.com/office/drawing/2014/main" id="{108F29F8-F753-476C-B26B-DE8CC77897E0}"/>
                </a:ext>
              </a:extLst>
            </p:cNvPr>
            <p:cNvSpPr>
              <a:spLocks/>
            </p:cNvSpPr>
            <p:nvPr userDrawn="1"/>
          </p:nvSpPr>
          <p:spPr bwMode="auto">
            <a:xfrm>
              <a:off x="2640" y="1887"/>
              <a:ext cx="356" cy="91"/>
            </a:xfrm>
            <a:custGeom>
              <a:avLst/>
              <a:gdLst>
                <a:gd name="T0" fmla="*/ 111 w 170"/>
                <a:gd name="T1" fmla="*/ 40 h 43"/>
                <a:gd name="T2" fmla="*/ 170 w 170"/>
                <a:gd name="T3" fmla="*/ 43 h 43"/>
                <a:gd name="T4" fmla="*/ 170 w 170"/>
                <a:gd name="T5" fmla="*/ 28 h 43"/>
                <a:gd name="T6" fmla="*/ 114 w 170"/>
                <a:gd name="T7" fmla="*/ 23 h 43"/>
                <a:gd name="T8" fmla="*/ 0 w 170"/>
                <a:gd name="T9" fmla="*/ 0 h 43"/>
                <a:gd name="T10" fmla="*/ 0 w 170"/>
                <a:gd name="T11" fmla="*/ 21 h 43"/>
                <a:gd name="T12" fmla="*/ 111 w 170"/>
                <a:gd name="T13" fmla="*/ 40 h 43"/>
              </a:gdLst>
              <a:ahLst/>
              <a:cxnLst>
                <a:cxn ang="0">
                  <a:pos x="T0" y="T1"/>
                </a:cxn>
                <a:cxn ang="0">
                  <a:pos x="T2" y="T3"/>
                </a:cxn>
                <a:cxn ang="0">
                  <a:pos x="T4" y="T5"/>
                </a:cxn>
                <a:cxn ang="0">
                  <a:pos x="T6" y="T7"/>
                </a:cxn>
                <a:cxn ang="0">
                  <a:pos x="T8" y="T9"/>
                </a:cxn>
                <a:cxn ang="0">
                  <a:pos x="T10" y="T11"/>
                </a:cxn>
                <a:cxn ang="0">
                  <a:pos x="T12" y="T13"/>
                </a:cxn>
              </a:cxnLst>
              <a:rect l="0" t="0" r="r" b="b"/>
              <a:pathLst>
                <a:path w="170" h="43">
                  <a:moveTo>
                    <a:pt x="111" y="40"/>
                  </a:moveTo>
                  <a:cubicBezTo>
                    <a:pt x="132" y="42"/>
                    <a:pt x="151" y="43"/>
                    <a:pt x="170" y="43"/>
                  </a:cubicBezTo>
                  <a:cubicBezTo>
                    <a:pt x="170" y="28"/>
                    <a:pt x="170" y="28"/>
                    <a:pt x="170" y="28"/>
                  </a:cubicBezTo>
                  <a:cubicBezTo>
                    <a:pt x="151" y="27"/>
                    <a:pt x="133" y="26"/>
                    <a:pt x="114" y="23"/>
                  </a:cubicBezTo>
                  <a:cubicBezTo>
                    <a:pt x="77" y="19"/>
                    <a:pt x="38" y="11"/>
                    <a:pt x="0" y="0"/>
                  </a:cubicBezTo>
                  <a:cubicBezTo>
                    <a:pt x="0" y="21"/>
                    <a:pt x="0" y="21"/>
                    <a:pt x="0" y="21"/>
                  </a:cubicBezTo>
                  <a:cubicBezTo>
                    <a:pt x="40" y="31"/>
                    <a:pt x="77" y="37"/>
                    <a:pt x="111" y="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a:extLst>
                <a:ext uri="{FF2B5EF4-FFF2-40B4-BE49-F238E27FC236}">
                  <a16:creationId xmlns:a16="http://schemas.microsoft.com/office/drawing/2014/main" id="{439F0E8C-968E-4CEB-BBE6-A090F9AA4AB1}"/>
                </a:ext>
              </a:extLst>
            </p:cNvPr>
            <p:cNvSpPr>
              <a:spLocks/>
            </p:cNvSpPr>
            <p:nvPr userDrawn="1"/>
          </p:nvSpPr>
          <p:spPr bwMode="auto">
            <a:xfrm>
              <a:off x="2640" y="1811"/>
              <a:ext cx="356" cy="104"/>
            </a:xfrm>
            <a:custGeom>
              <a:avLst/>
              <a:gdLst>
                <a:gd name="T0" fmla="*/ 128 w 170"/>
                <a:gd name="T1" fmla="*/ 46 h 49"/>
                <a:gd name="T2" fmla="*/ 170 w 170"/>
                <a:gd name="T3" fmla="*/ 49 h 49"/>
                <a:gd name="T4" fmla="*/ 170 w 170"/>
                <a:gd name="T5" fmla="*/ 34 h 49"/>
                <a:gd name="T6" fmla="*/ 114 w 170"/>
                <a:gd name="T7" fmla="*/ 27 h 49"/>
                <a:gd name="T8" fmla="*/ 0 w 170"/>
                <a:gd name="T9" fmla="*/ 0 h 49"/>
                <a:gd name="T10" fmla="*/ 0 w 170"/>
                <a:gd name="T11" fmla="*/ 21 h 49"/>
                <a:gd name="T12" fmla="*/ 128 w 170"/>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170" h="49">
                  <a:moveTo>
                    <a:pt x="128" y="46"/>
                  </a:moveTo>
                  <a:cubicBezTo>
                    <a:pt x="142" y="47"/>
                    <a:pt x="156" y="48"/>
                    <a:pt x="170" y="49"/>
                  </a:cubicBezTo>
                  <a:cubicBezTo>
                    <a:pt x="170" y="34"/>
                    <a:pt x="170" y="34"/>
                    <a:pt x="170" y="34"/>
                  </a:cubicBezTo>
                  <a:cubicBezTo>
                    <a:pt x="151" y="32"/>
                    <a:pt x="133" y="30"/>
                    <a:pt x="114" y="27"/>
                  </a:cubicBezTo>
                  <a:cubicBezTo>
                    <a:pt x="77" y="21"/>
                    <a:pt x="38" y="12"/>
                    <a:pt x="0" y="0"/>
                  </a:cubicBezTo>
                  <a:cubicBezTo>
                    <a:pt x="0" y="21"/>
                    <a:pt x="0" y="21"/>
                    <a:pt x="0" y="21"/>
                  </a:cubicBezTo>
                  <a:cubicBezTo>
                    <a:pt x="46" y="34"/>
                    <a:pt x="89" y="42"/>
                    <a:pt x="128" y="4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a:extLst>
                <a:ext uri="{FF2B5EF4-FFF2-40B4-BE49-F238E27FC236}">
                  <a16:creationId xmlns:a16="http://schemas.microsoft.com/office/drawing/2014/main" id="{50287170-DF6C-4612-8E0C-1CA865A58A75}"/>
                </a:ext>
              </a:extLst>
            </p:cNvPr>
            <p:cNvSpPr>
              <a:spLocks/>
            </p:cNvSpPr>
            <p:nvPr userDrawn="1"/>
          </p:nvSpPr>
          <p:spPr bwMode="auto">
            <a:xfrm>
              <a:off x="2640" y="1735"/>
              <a:ext cx="356" cy="114"/>
            </a:xfrm>
            <a:custGeom>
              <a:avLst/>
              <a:gdLst>
                <a:gd name="T0" fmla="*/ 0 w 170"/>
                <a:gd name="T1" fmla="*/ 21 h 54"/>
                <a:gd name="T2" fmla="*/ 144 w 170"/>
                <a:gd name="T3" fmla="*/ 52 h 54"/>
                <a:gd name="T4" fmla="*/ 170 w 170"/>
                <a:gd name="T5" fmla="*/ 54 h 54"/>
                <a:gd name="T6" fmla="*/ 170 w 170"/>
                <a:gd name="T7" fmla="*/ 39 h 54"/>
                <a:gd name="T8" fmla="*/ 114 w 170"/>
                <a:gd name="T9" fmla="*/ 31 h 54"/>
                <a:gd name="T10" fmla="*/ 0 w 170"/>
                <a:gd name="T11" fmla="*/ 0 h 54"/>
                <a:gd name="T12" fmla="*/ 0 w 170"/>
                <a:gd name="T13" fmla="*/ 21 h 54"/>
              </a:gdLst>
              <a:ahLst/>
              <a:cxnLst>
                <a:cxn ang="0">
                  <a:pos x="T0" y="T1"/>
                </a:cxn>
                <a:cxn ang="0">
                  <a:pos x="T2" y="T3"/>
                </a:cxn>
                <a:cxn ang="0">
                  <a:pos x="T4" y="T5"/>
                </a:cxn>
                <a:cxn ang="0">
                  <a:pos x="T6" y="T7"/>
                </a:cxn>
                <a:cxn ang="0">
                  <a:pos x="T8" y="T9"/>
                </a:cxn>
                <a:cxn ang="0">
                  <a:pos x="T10" y="T11"/>
                </a:cxn>
                <a:cxn ang="0">
                  <a:pos x="T12" y="T13"/>
                </a:cxn>
              </a:cxnLst>
              <a:rect l="0" t="0" r="r" b="b"/>
              <a:pathLst>
                <a:path w="170" h="54">
                  <a:moveTo>
                    <a:pt x="0" y="21"/>
                  </a:moveTo>
                  <a:cubicBezTo>
                    <a:pt x="53" y="37"/>
                    <a:pt x="101" y="47"/>
                    <a:pt x="144" y="52"/>
                  </a:cubicBezTo>
                  <a:cubicBezTo>
                    <a:pt x="153" y="53"/>
                    <a:pt x="161" y="54"/>
                    <a:pt x="170" y="54"/>
                  </a:cubicBezTo>
                  <a:cubicBezTo>
                    <a:pt x="170" y="39"/>
                    <a:pt x="170" y="39"/>
                    <a:pt x="170" y="39"/>
                  </a:cubicBezTo>
                  <a:cubicBezTo>
                    <a:pt x="151" y="37"/>
                    <a:pt x="133" y="34"/>
                    <a:pt x="114" y="31"/>
                  </a:cubicBezTo>
                  <a:cubicBezTo>
                    <a:pt x="77" y="24"/>
                    <a:pt x="38" y="13"/>
                    <a:pt x="0" y="0"/>
                  </a:cubicBezTo>
                  <a:lnTo>
                    <a:pt x="0"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a:extLst>
                <a:ext uri="{FF2B5EF4-FFF2-40B4-BE49-F238E27FC236}">
                  <a16:creationId xmlns:a16="http://schemas.microsoft.com/office/drawing/2014/main" id="{D6ECA75F-E520-4953-9E3D-F802B34777DB}"/>
                </a:ext>
              </a:extLst>
            </p:cNvPr>
            <p:cNvSpPr>
              <a:spLocks/>
            </p:cNvSpPr>
            <p:nvPr userDrawn="1"/>
          </p:nvSpPr>
          <p:spPr bwMode="auto">
            <a:xfrm>
              <a:off x="2535" y="1963"/>
              <a:ext cx="746" cy="112"/>
            </a:xfrm>
            <a:custGeom>
              <a:avLst/>
              <a:gdLst>
                <a:gd name="T0" fmla="*/ 356 w 356"/>
                <a:gd name="T1" fmla="*/ 16 h 53"/>
                <a:gd name="T2" fmla="*/ 356 w 356"/>
                <a:gd name="T3" fmla="*/ 14 h 53"/>
                <a:gd name="T4" fmla="*/ 351 w 356"/>
                <a:gd name="T5" fmla="*/ 10 h 53"/>
                <a:gd name="T6" fmla="*/ 350 w 356"/>
                <a:gd name="T7" fmla="*/ 10 h 53"/>
                <a:gd name="T8" fmla="*/ 342 w 356"/>
                <a:gd name="T9" fmla="*/ 10 h 53"/>
                <a:gd name="T10" fmla="*/ 50 w 356"/>
                <a:gd name="T11" fmla="*/ 0 h 53"/>
                <a:gd name="T12" fmla="*/ 50 w 356"/>
                <a:gd name="T13" fmla="*/ 10 h 53"/>
                <a:gd name="T14" fmla="*/ 50 w 356"/>
                <a:gd name="T15" fmla="*/ 10 h 53"/>
                <a:gd name="T16" fmla="*/ 0 w 356"/>
                <a:gd name="T17" fmla="*/ 10 h 53"/>
                <a:gd name="T18" fmla="*/ 356 w 356"/>
                <a:gd name="T1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53">
                  <a:moveTo>
                    <a:pt x="356" y="16"/>
                  </a:moveTo>
                  <a:cubicBezTo>
                    <a:pt x="356" y="14"/>
                    <a:pt x="356" y="14"/>
                    <a:pt x="356" y="14"/>
                  </a:cubicBezTo>
                  <a:cubicBezTo>
                    <a:pt x="355" y="12"/>
                    <a:pt x="353" y="11"/>
                    <a:pt x="351" y="10"/>
                  </a:cubicBezTo>
                  <a:cubicBezTo>
                    <a:pt x="351" y="10"/>
                    <a:pt x="350" y="10"/>
                    <a:pt x="350" y="10"/>
                  </a:cubicBezTo>
                  <a:cubicBezTo>
                    <a:pt x="342" y="10"/>
                    <a:pt x="342" y="10"/>
                    <a:pt x="342" y="10"/>
                  </a:cubicBezTo>
                  <a:cubicBezTo>
                    <a:pt x="251" y="31"/>
                    <a:pt x="151" y="25"/>
                    <a:pt x="50" y="0"/>
                  </a:cubicBezTo>
                  <a:cubicBezTo>
                    <a:pt x="50" y="10"/>
                    <a:pt x="50" y="10"/>
                    <a:pt x="50" y="10"/>
                  </a:cubicBezTo>
                  <a:cubicBezTo>
                    <a:pt x="50" y="10"/>
                    <a:pt x="50" y="10"/>
                    <a:pt x="50" y="10"/>
                  </a:cubicBezTo>
                  <a:cubicBezTo>
                    <a:pt x="0" y="10"/>
                    <a:pt x="0" y="10"/>
                    <a:pt x="0" y="10"/>
                  </a:cubicBezTo>
                  <a:cubicBezTo>
                    <a:pt x="157" y="53"/>
                    <a:pt x="279" y="39"/>
                    <a:pt x="356" y="1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a:extLst>
                <a:ext uri="{FF2B5EF4-FFF2-40B4-BE49-F238E27FC236}">
                  <a16:creationId xmlns:a16="http://schemas.microsoft.com/office/drawing/2014/main" id="{F67C081B-928D-4716-932A-D0BFBA8752BC}"/>
                </a:ext>
              </a:extLst>
            </p:cNvPr>
            <p:cNvSpPr>
              <a:spLocks/>
            </p:cNvSpPr>
            <p:nvPr userDrawn="1"/>
          </p:nvSpPr>
          <p:spPr bwMode="auto">
            <a:xfrm>
              <a:off x="2355" y="2125"/>
              <a:ext cx="926" cy="173"/>
            </a:xfrm>
            <a:custGeom>
              <a:avLst/>
              <a:gdLst>
                <a:gd name="T0" fmla="*/ 442 w 442"/>
                <a:gd name="T1" fmla="*/ 17 h 82"/>
                <a:gd name="T2" fmla="*/ 442 w 442"/>
                <a:gd name="T3" fmla="*/ 8 h 82"/>
                <a:gd name="T4" fmla="*/ 229 w 442"/>
                <a:gd name="T5" fmla="*/ 40 h 82"/>
                <a:gd name="T6" fmla="*/ 0 w 442"/>
                <a:gd name="T7" fmla="*/ 0 h 82"/>
                <a:gd name="T8" fmla="*/ 0 w 442"/>
                <a:gd name="T9" fmla="*/ 24 h 82"/>
                <a:gd name="T10" fmla="*/ 442 w 442"/>
                <a:gd name="T11" fmla="*/ 17 h 82"/>
              </a:gdLst>
              <a:ahLst/>
              <a:cxnLst>
                <a:cxn ang="0">
                  <a:pos x="T0" y="T1"/>
                </a:cxn>
                <a:cxn ang="0">
                  <a:pos x="T2" y="T3"/>
                </a:cxn>
                <a:cxn ang="0">
                  <a:pos x="T4" y="T5"/>
                </a:cxn>
                <a:cxn ang="0">
                  <a:pos x="T6" y="T7"/>
                </a:cxn>
                <a:cxn ang="0">
                  <a:pos x="T8" y="T9"/>
                </a:cxn>
                <a:cxn ang="0">
                  <a:pos x="T10" y="T11"/>
                </a:cxn>
              </a:cxnLst>
              <a:rect l="0" t="0" r="r" b="b"/>
              <a:pathLst>
                <a:path w="442" h="82">
                  <a:moveTo>
                    <a:pt x="442" y="17"/>
                  </a:moveTo>
                  <a:cubicBezTo>
                    <a:pt x="442" y="8"/>
                    <a:pt x="442" y="8"/>
                    <a:pt x="442" y="8"/>
                  </a:cubicBezTo>
                  <a:cubicBezTo>
                    <a:pt x="374" y="32"/>
                    <a:pt x="303" y="42"/>
                    <a:pt x="229" y="40"/>
                  </a:cubicBezTo>
                  <a:cubicBezTo>
                    <a:pt x="154" y="38"/>
                    <a:pt x="77" y="24"/>
                    <a:pt x="0" y="0"/>
                  </a:cubicBezTo>
                  <a:cubicBezTo>
                    <a:pt x="0" y="24"/>
                    <a:pt x="0" y="24"/>
                    <a:pt x="0" y="24"/>
                  </a:cubicBezTo>
                  <a:cubicBezTo>
                    <a:pt x="204" y="82"/>
                    <a:pt x="351" y="54"/>
                    <a:pt x="442"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a:extLst>
                <a:ext uri="{FF2B5EF4-FFF2-40B4-BE49-F238E27FC236}">
                  <a16:creationId xmlns:a16="http://schemas.microsoft.com/office/drawing/2014/main" id="{027829CF-3388-44A0-A16C-CD5EA77B6D25}"/>
                </a:ext>
              </a:extLst>
            </p:cNvPr>
            <p:cNvSpPr>
              <a:spLocks/>
            </p:cNvSpPr>
            <p:nvPr userDrawn="1"/>
          </p:nvSpPr>
          <p:spPr bwMode="auto">
            <a:xfrm>
              <a:off x="2355" y="2041"/>
              <a:ext cx="926" cy="139"/>
            </a:xfrm>
            <a:custGeom>
              <a:avLst/>
              <a:gdLst>
                <a:gd name="T0" fmla="*/ 442 w 442"/>
                <a:gd name="T1" fmla="*/ 31 h 66"/>
                <a:gd name="T2" fmla="*/ 442 w 442"/>
                <a:gd name="T3" fmla="*/ 22 h 66"/>
                <a:gd name="T4" fmla="*/ 255 w 442"/>
                <a:gd name="T5" fmla="*/ 48 h 66"/>
                <a:gd name="T6" fmla="*/ 0 w 442"/>
                <a:gd name="T7" fmla="*/ 0 h 66"/>
                <a:gd name="T8" fmla="*/ 0 w 442"/>
                <a:gd name="T9" fmla="*/ 23 h 66"/>
                <a:gd name="T10" fmla="*/ 235 w 442"/>
                <a:gd name="T11" fmla="*/ 64 h 66"/>
                <a:gd name="T12" fmla="*/ 442 w 442"/>
                <a:gd name="T13" fmla="*/ 31 h 66"/>
              </a:gdLst>
              <a:ahLst/>
              <a:cxnLst>
                <a:cxn ang="0">
                  <a:pos x="T0" y="T1"/>
                </a:cxn>
                <a:cxn ang="0">
                  <a:pos x="T2" y="T3"/>
                </a:cxn>
                <a:cxn ang="0">
                  <a:pos x="T4" y="T5"/>
                </a:cxn>
                <a:cxn ang="0">
                  <a:pos x="T6" y="T7"/>
                </a:cxn>
                <a:cxn ang="0">
                  <a:pos x="T8" y="T9"/>
                </a:cxn>
                <a:cxn ang="0">
                  <a:pos x="T10" y="T11"/>
                </a:cxn>
                <a:cxn ang="0">
                  <a:pos x="T12" y="T13"/>
                </a:cxn>
              </a:cxnLst>
              <a:rect l="0" t="0" r="r" b="b"/>
              <a:pathLst>
                <a:path w="442" h="66">
                  <a:moveTo>
                    <a:pt x="442" y="31"/>
                  </a:moveTo>
                  <a:cubicBezTo>
                    <a:pt x="442" y="22"/>
                    <a:pt x="442" y="22"/>
                    <a:pt x="442" y="22"/>
                  </a:cubicBezTo>
                  <a:cubicBezTo>
                    <a:pt x="382" y="41"/>
                    <a:pt x="320" y="49"/>
                    <a:pt x="255" y="48"/>
                  </a:cubicBezTo>
                  <a:cubicBezTo>
                    <a:pt x="172" y="46"/>
                    <a:pt x="86" y="29"/>
                    <a:pt x="0" y="0"/>
                  </a:cubicBezTo>
                  <a:cubicBezTo>
                    <a:pt x="0" y="23"/>
                    <a:pt x="0" y="23"/>
                    <a:pt x="0" y="23"/>
                  </a:cubicBezTo>
                  <a:cubicBezTo>
                    <a:pt x="89" y="52"/>
                    <a:pt x="168" y="63"/>
                    <a:pt x="235" y="64"/>
                  </a:cubicBezTo>
                  <a:cubicBezTo>
                    <a:pt x="322" y="66"/>
                    <a:pt x="391" y="50"/>
                    <a:pt x="442" y="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a:extLst>
                <a:ext uri="{FF2B5EF4-FFF2-40B4-BE49-F238E27FC236}">
                  <a16:creationId xmlns:a16="http://schemas.microsoft.com/office/drawing/2014/main" id="{CDCF9890-E587-4F5C-A83B-1F7C58FA3D53}"/>
                </a:ext>
              </a:extLst>
            </p:cNvPr>
            <p:cNvSpPr>
              <a:spLocks/>
            </p:cNvSpPr>
            <p:nvPr userDrawn="1"/>
          </p:nvSpPr>
          <p:spPr bwMode="auto">
            <a:xfrm>
              <a:off x="2355" y="2294"/>
              <a:ext cx="188" cy="36"/>
            </a:xfrm>
            <a:custGeom>
              <a:avLst/>
              <a:gdLst>
                <a:gd name="T0" fmla="*/ 6 w 90"/>
                <a:gd name="T1" fmla="*/ 17 h 17"/>
                <a:gd name="T2" fmla="*/ 90 w 90"/>
                <a:gd name="T3" fmla="*/ 17 h 17"/>
                <a:gd name="T4" fmla="*/ 14 w 90"/>
                <a:gd name="T5" fmla="*/ 3 h 17"/>
                <a:gd name="T6" fmla="*/ 0 w 90"/>
                <a:gd name="T7" fmla="*/ 0 h 17"/>
                <a:gd name="T8" fmla="*/ 0 w 90"/>
                <a:gd name="T9" fmla="*/ 11 h 17"/>
                <a:gd name="T10" fmla="*/ 0 w 90"/>
                <a:gd name="T11" fmla="*/ 13 h 17"/>
                <a:gd name="T12" fmla="*/ 6 w 9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0" h="17">
                  <a:moveTo>
                    <a:pt x="6" y="17"/>
                  </a:moveTo>
                  <a:cubicBezTo>
                    <a:pt x="90" y="17"/>
                    <a:pt x="90" y="17"/>
                    <a:pt x="90" y="17"/>
                  </a:cubicBezTo>
                  <a:cubicBezTo>
                    <a:pt x="67" y="14"/>
                    <a:pt x="39" y="9"/>
                    <a:pt x="14" y="3"/>
                  </a:cubicBezTo>
                  <a:cubicBezTo>
                    <a:pt x="9" y="2"/>
                    <a:pt x="4" y="1"/>
                    <a:pt x="0" y="0"/>
                  </a:cubicBezTo>
                  <a:cubicBezTo>
                    <a:pt x="0" y="11"/>
                    <a:pt x="0" y="11"/>
                    <a:pt x="0" y="11"/>
                  </a:cubicBezTo>
                  <a:cubicBezTo>
                    <a:pt x="0" y="12"/>
                    <a:pt x="0" y="13"/>
                    <a:pt x="0" y="13"/>
                  </a:cubicBezTo>
                  <a:cubicBezTo>
                    <a:pt x="1" y="16"/>
                    <a:pt x="3" y="17"/>
                    <a:pt x="6"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a:extLst>
                <a:ext uri="{FF2B5EF4-FFF2-40B4-BE49-F238E27FC236}">
                  <a16:creationId xmlns:a16="http://schemas.microsoft.com/office/drawing/2014/main" id="{6100225C-4DAE-4446-9AB2-705B57A820E7}"/>
                </a:ext>
              </a:extLst>
            </p:cNvPr>
            <p:cNvSpPr>
              <a:spLocks/>
            </p:cNvSpPr>
            <p:nvPr userDrawn="1"/>
          </p:nvSpPr>
          <p:spPr bwMode="auto">
            <a:xfrm>
              <a:off x="2355" y="2197"/>
              <a:ext cx="926" cy="141"/>
            </a:xfrm>
            <a:custGeom>
              <a:avLst/>
              <a:gdLst>
                <a:gd name="T0" fmla="*/ 442 w 442"/>
                <a:gd name="T1" fmla="*/ 9 h 67"/>
                <a:gd name="T2" fmla="*/ 442 w 442"/>
                <a:gd name="T3" fmla="*/ 0 h 67"/>
                <a:gd name="T4" fmla="*/ 228 w 442"/>
                <a:gd name="T5" fmla="*/ 39 h 67"/>
                <a:gd name="T6" fmla="*/ 0 w 442"/>
                <a:gd name="T7" fmla="*/ 7 h 67"/>
                <a:gd name="T8" fmla="*/ 0 w 442"/>
                <a:gd name="T9" fmla="*/ 30 h 67"/>
                <a:gd name="T10" fmla="*/ 126 w 442"/>
                <a:gd name="T11" fmla="*/ 53 h 67"/>
                <a:gd name="T12" fmla="*/ 442 w 442"/>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442" h="67">
                  <a:moveTo>
                    <a:pt x="442" y="9"/>
                  </a:moveTo>
                  <a:cubicBezTo>
                    <a:pt x="442" y="0"/>
                    <a:pt x="442" y="0"/>
                    <a:pt x="442" y="0"/>
                  </a:cubicBezTo>
                  <a:cubicBezTo>
                    <a:pt x="374" y="26"/>
                    <a:pt x="302" y="38"/>
                    <a:pt x="228" y="39"/>
                  </a:cubicBezTo>
                  <a:cubicBezTo>
                    <a:pt x="153" y="39"/>
                    <a:pt x="76" y="27"/>
                    <a:pt x="0" y="7"/>
                  </a:cubicBezTo>
                  <a:cubicBezTo>
                    <a:pt x="0" y="30"/>
                    <a:pt x="0" y="30"/>
                    <a:pt x="0" y="30"/>
                  </a:cubicBezTo>
                  <a:cubicBezTo>
                    <a:pt x="45" y="42"/>
                    <a:pt x="87" y="49"/>
                    <a:pt x="126" y="53"/>
                  </a:cubicBezTo>
                  <a:cubicBezTo>
                    <a:pt x="266" y="67"/>
                    <a:pt x="371" y="40"/>
                    <a:pt x="442"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a:extLst>
                <a:ext uri="{FF2B5EF4-FFF2-40B4-BE49-F238E27FC236}">
                  <a16:creationId xmlns:a16="http://schemas.microsoft.com/office/drawing/2014/main" id="{6FDF4628-D975-455E-A94D-7C0F5FF64998}"/>
                </a:ext>
              </a:extLst>
            </p:cNvPr>
            <p:cNvSpPr>
              <a:spLocks/>
            </p:cNvSpPr>
            <p:nvPr userDrawn="1"/>
          </p:nvSpPr>
          <p:spPr bwMode="auto">
            <a:xfrm>
              <a:off x="2355" y="1984"/>
              <a:ext cx="926" cy="127"/>
            </a:xfrm>
            <a:custGeom>
              <a:avLst/>
              <a:gdLst>
                <a:gd name="T0" fmla="*/ 260 w 442"/>
                <a:gd name="T1" fmla="*/ 59 h 60"/>
                <a:gd name="T2" fmla="*/ 263 w 442"/>
                <a:gd name="T3" fmla="*/ 59 h 60"/>
                <a:gd name="T4" fmla="*/ 265 w 442"/>
                <a:gd name="T5" fmla="*/ 59 h 60"/>
                <a:gd name="T6" fmla="*/ 442 w 442"/>
                <a:gd name="T7" fmla="*/ 32 h 60"/>
                <a:gd name="T8" fmla="*/ 442 w 442"/>
                <a:gd name="T9" fmla="*/ 23 h 60"/>
                <a:gd name="T10" fmla="*/ 297 w 442"/>
                <a:gd name="T11" fmla="*/ 43 h 60"/>
                <a:gd name="T12" fmla="*/ 272 w 442"/>
                <a:gd name="T13" fmla="*/ 43 h 60"/>
                <a:gd name="T14" fmla="*/ 118 w 442"/>
                <a:gd name="T15" fmla="*/ 22 h 60"/>
                <a:gd name="T16" fmla="*/ 39 w 442"/>
                <a:gd name="T17" fmla="*/ 0 h 60"/>
                <a:gd name="T18" fmla="*/ 6 w 442"/>
                <a:gd name="T19" fmla="*/ 0 h 60"/>
                <a:gd name="T20" fmla="*/ 0 w 442"/>
                <a:gd name="T21" fmla="*/ 6 h 60"/>
                <a:gd name="T22" fmla="*/ 0 w 442"/>
                <a:gd name="T23" fmla="*/ 10 h 60"/>
                <a:gd name="T24" fmla="*/ 260 w 442"/>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 h="60">
                  <a:moveTo>
                    <a:pt x="260" y="59"/>
                  </a:moveTo>
                  <a:cubicBezTo>
                    <a:pt x="261" y="59"/>
                    <a:pt x="262" y="59"/>
                    <a:pt x="263" y="59"/>
                  </a:cubicBezTo>
                  <a:cubicBezTo>
                    <a:pt x="264" y="59"/>
                    <a:pt x="264" y="59"/>
                    <a:pt x="265" y="59"/>
                  </a:cubicBezTo>
                  <a:cubicBezTo>
                    <a:pt x="338" y="60"/>
                    <a:pt x="397" y="47"/>
                    <a:pt x="442" y="32"/>
                  </a:cubicBezTo>
                  <a:cubicBezTo>
                    <a:pt x="442" y="23"/>
                    <a:pt x="442" y="23"/>
                    <a:pt x="442" y="23"/>
                  </a:cubicBezTo>
                  <a:cubicBezTo>
                    <a:pt x="395" y="36"/>
                    <a:pt x="347" y="43"/>
                    <a:pt x="297" y="43"/>
                  </a:cubicBezTo>
                  <a:cubicBezTo>
                    <a:pt x="289" y="43"/>
                    <a:pt x="280" y="43"/>
                    <a:pt x="272" y="43"/>
                  </a:cubicBezTo>
                  <a:cubicBezTo>
                    <a:pt x="222" y="42"/>
                    <a:pt x="170" y="34"/>
                    <a:pt x="118" y="22"/>
                  </a:cubicBezTo>
                  <a:cubicBezTo>
                    <a:pt x="92" y="16"/>
                    <a:pt x="65" y="8"/>
                    <a:pt x="39" y="0"/>
                  </a:cubicBezTo>
                  <a:cubicBezTo>
                    <a:pt x="6" y="0"/>
                    <a:pt x="6" y="0"/>
                    <a:pt x="6" y="0"/>
                  </a:cubicBezTo>
                  <a:cubicBezTo>
                    <a:pt x="2" y="0"/>
                    <a:pt x="0" y="3"/>
                    <a:pt x="0" y="6"/>
                  </a:cubicBezTo>
                  <a:cubicBezTo>
                    <a:pt x="0" y="10"/>
                    <a:pt x="0" y="10"/>
                    <a:pt x="0" y="10"/>
                  </a:cubicBezTo>
                  <a:cubicBezTo>
                    <a:pt x="100" y="45"/>
                    <a:pt x="187" y="58"/>
                    <a:pt x="260" y="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7">
              <a:extLst>
                <a:ext uri="{FF2B5EF4-FFF2-40B4-BE49-F238E27FC236}">
                  <a16:creationId xmlns:a16="http://schemas.microsoft.com/office/drawing/2014/main" id="{B3F1D1A1-0622-49B7-9D75-542664B7A8BF}"/>
                </a:ext>
              </a:extLst>
            </p:cNvPr>
            <p:cNvSpPr>
              <a:spLocks/>
            </p:cNvSpPr>
            <p:nvPr userDrawn="1"/>
          </p:nvSpPr>
          <p:spPr bwMode="auto">
            <a:xfrm>
              <a:off x="2812" y="1691"/>
              <a:ext cx="184" cy="32"/>
            </a:xfrm>
            <a:custGeom>
              <a:avLst/>
              <a:gdLst>
                <a:gd name="T0" fmla="*/ 88 w 88"/>
                <a:gd name="T1" fmla="*/ 6 h 15"/>
                <a:gd name="T2" fmla="*/ 86 w 88"/>
                <a:gd name="T3" fmla="*/ 2 h 15"/>
                <a:gd name="T4" fmla="*/ 84 w 88"/>
                <a:gd name="T5" fmla="*/ 0 h 15"/>
                <a:gd name="T6" fmla="*/ 81 w 88"/>
                <a:gd name="T7" fmla="*/ 0 h 15"/>
                <a:gd name="T8" fmla="*/ 0 w 88"/>
                <a:gd name="T9" fmla="*/ 0 h 15"/>
                <a:gd name="T10" fmla="*/ 88 w 88"/>
                <a:gd name="T11" fmla="*/ 15 h 15"/>
                <a:gd name="T12" fmla="*/ 88 w 88"/>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88" h="15">
                  <a:moveTo>
                    <a:pt x="88" y="6"/>
                  </a:moveTo>
                  <a:cubicBezTo>
                    <a:pt x="88" y="5"/>
                    <a:pt x="87" y="3"/>
                    <a:pt x="86" y="2"/>
                  </a:cubicBezTo>
                  <a:cubicBezTo>
                    <a:pt x="86" y="1"/>
                    <a:pt x="85" y="1"/>
                    <a:pt x="84" y="0"/>
                  </a:cubicBezTo>
                  <a:cubicBezTo>
                    <a:pt x="83" y="0"/>
                    <a:pt x="82" y="0"/>
                    <a:pt x="81" y="0"/>
                  </a:cubicBezTo>
                  <a:cubicBezTo>
                    <a:pt x="0" y="0"/>
                    <a:pt x="0" y="0"/>
                    <a:pt x="0" y="0"/>
                  </a:cubicBezTo>
                  <a:cubicBezTo>
                    <a:pt x="27" y="6"/>
                    <a:pt x="65" y="12"/>
                    <a:pt x="88" y="15"/>
                  </a:cubicBezTo>
                  <a:lnTo>
                    <a:pt x="88" y="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a:extLst>
                <a:ext uri="{FF2B5EF4-FFF2-40B4-BE49-F238E27FC236}">
                  <a16:creationId xmlns:a16="http://schemas.microsoft.com/office/drawing/2014/main" id="{96967A2D-D5EF-4340-BE72-0924081A849A}"/>
                </a:ext>
              </a:extLst>
            </p:cNvPr>
            <p:cNvSpPr>
              <a:spLocks/>
            </p:cNvSpPr>
            <p:nvPr userDrawn="1"/>
          </p:nvSpPr>
          <p:spPr bwMode="auto">
            <a:xfrm>
              <a:off x="2640" y="2332"/>
              <a:ext cx="356" cy="57"/>
            </a:xfrm>
            <a:custGeom>
              <a:avLst/>
              <a:gdLst>
                <a:gd name="T0" fmla="*/ 167 w 170"/>
                <a:gd name="T1" fmla="*/ 1 h 27"/>
                <a:gd name="T2" fmla="*/ 15 w 170"/>
                <a:gd name="T3" fmla="*/ 6 h 27"/>
                <a:gd name="T4" fmla="*/ 0 w 170"/>
                <a:gd name="T5" fmla="*/ 5 h 27"/>
                <a:gd name="T6" fmla="*/ 0 w 170"/>
                <a:gd name="T7" fmla="*/ 26 h 27"/>
                <a:gd name="T8" fmla="*/ 47 w 170"/>
                <a:gd name="T9" fmla="*/ 27 h 27"/>
                <a:gd name="T10" fmla="*/ 170 w 170"/>
                <a:gd name="T11" fmla="*/ 15 h 27"/>
                <a:gd name="T12" fmla="*/ 170 w 170"/>
                <a:gd name="T13" fmla="*/ 0 h 27"/>
                <a:gd name="T14" fmla="*/ 167 w 170"/>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7">
                  <a:moveTo>
                    <a:pt x="167" y="1"/>
                  </a:moveTo>
                  <a:cubicBezTo>
                    <a:pt x="118" y="8"/>
                    <a:pt x="67" y="10"/>
                    <a:pt x="15" y="6"/>
                  </a:cubicBezTo>
                  <a:cubicBezTo>
                    <a:pt x="10" y="6"/>
                    <a:pt x="5" y="6"/>
                    <a:pt x="0" y="5"/>
                  </a:cubicBezTo>
                  <a:cubicBezTo>
                    <a:pt x="0" y="26"/>
                    <a:pt x="0" y="26"/>
                    <a:pt x="0" y="26"/>
                  </a:cubicBezTo>
                  <a:cubicBezTo>
                    <a:pt x="16" y="27"/>
                    <a:pt x="31" y="27"/>
                    <a:pt x="47" y="27"/>
                  </a:cubicBezTo>
                  <a:cubicBezTo>
                    <a:pt x="92" y="27"/>
                    <a:pt x="133" y="22"/>
                    <a:pt x="170" y="15"/>
                  </a:cubicBezTo>
                  <a:cubicBezTo>
                    <a:pt x="170" y="0"/>
                    <a:pt x="170" y="0"/>
                    <a:pt x="170" y="0"/>
                  </a:cubicBezTo>
                  <a:cubicBezTo>
                    <a:pt x="169" y="0"/>
                    <a:pt x="168" y="0"/>
                    <a:pt x="16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a:extLst>
                <a:ext uri="{FF2B5EF4-FFF2-40B4-BE49-F238E27FC236}">
                  <a16:creationId xmlns:a16="http://schemas.microsoft.com/office/drawing/2014/main" id="{F1B89C83-1998-41F5-9619-6437E0847781}"/>
                </a:ext>
              </a:extLst>
            </p:cNvPr>
            <p:cNvSpPr>
              <a:spLocks/>
            </p:cNvSpPr>
            <p:nvPr userDrawn="1"/>
          </p:nvSpPr>
          <p:spPr bwMode="auto">
            <a:xfrm>
              <a:off x="2856" y="2589"/>
              <a:ext cx="140" cy="34"/>
            </a:xfrm>
            <a:custGeom>
              <a:avLst/>
              <a:gdLst>
                <a:gd name="T0" fmla="*/ 67 w 67"/>
                <a:gd name="T1" fmla="*/ 10 h 16"/>
                <a:gd name="T2" fmla="*/ 67 w 67"/>
                <a:gd name="T3" fmla="*/ 0 h 16"/>
                <a:gd name="T4" fmla="*/ 54 w 67"/>
                <a:gd name="T5" fmla="*/ 3 h 16"/>
                <a:gd name="T6" fmla="*/ 14 w 67"/>
                <a:gd name="T7" fmla="*/ 13 h 16"/>
                <a:gd name="T8" fmla="*/ 0 w 67"/>
                <a:gd name="T9" fmla="*/ 16 h 16"/>
                <a:gd name="T10" fmla="*/ 63 w 67"/>
                <a:gd name="T11" fmla="*/ 16 h 16"/>
                <a:gd name="T12" fmla="*/ 67 w 67"/>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7" y="10"/>
                  </a:moveTo>
                  <a:cubicBezTo>
                    <a:pt x="67" y="0"/>
                    <a:pt x="67" y="0"/>
                    <a:pt x="67" y="0"/>
                  </a:cubicBezTo>
                  <a:cubicBezTo>
                    <a:pt x="63" y="1"/>
                    <a:pt x="58" y="2"/>
                    <a:pt x="54" y="3"/>
                  </a:cubicBezTo>
                  <a:cubicBezTo>
                    <a:pt x="41" y="7"/>
                    <a:pt x="27" y="10"/>
                    <a:pt x="14" y="13"/>
                  </a:cubicBezTo>
                  <a:cubicBezTo>
                    <a:pt x="9" y="14"/>
                    <a:pt x="5" y="15"/>
                    <a:pt x="0" y="16"/>
                  </a:cubicBezTo>
                  <a:cubicBezTo>
                    <a:pt x="63" y="16"/>
                    <a:pt x="63" y="16"/>
                    <a:pt x="63" y="16"/>
                  </a:cubicBezTo>
                  <a:cubicBezTo>
                    <a:pt x="65" y="15"/>
                    <a:pt x="67" y="13"/>
                    <a:pt x="67"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0">
              <a:extLst>
                <a:ext uri="{FF2B5EF4-FFF2-40B4-BE49-F238E27FC236}">
                  <a16:creationId xmlns:a16="http://schemas.microsoft.com/office/drawing/2014/main" id="{01525A25-9E72-4EB7-8C68-3E58D1B456B5}"/>
                </a:ext>
              </a:extLst>
            </p:cNvPr>
            <p:cNvSpPr>
              <a:spLocks/>
            </p:cNvSpPr>
            <p:nvPr userDrawn="1"/>
          </p:nvSpPr>
          <p:spPr bwMode="auto">
            <a:xfrm>
              <a:off x="2640" y="1691"/>
              <a:ext cx="356" cy="95"/>
            </a:xfrm>
            <a:custGeom>
              <a:avLst/>
              <a:gdLst>
                <a:gd name="T0" fmla="*/ 4 w 170"/>
                <a:gd name="T1" fmla="*/ 0 h 45"/>
                <a:gd name="T2" fmla="*/ 3 w 170"/>
                <a:gd name="T3" fmla="*/ 1 h 45"/>
                <a:gd name="T4" fmla="*/ 2 w 170"/>
                <a:gd name="T5" fmla="*/ 1 h 45"/>
                <a:gd name="T6" fmla="*/ 1 w 170"/>
                <a:gd name="T7" fmla="*/ 2 h 45"/>
                <a:gd name="T8" fmla="*/ 1 w 170"/>
                <a:gd name="T9" fmla="*/ 3 h 45"/>
                <a:gd name="T10" fmla="*/ 0 w 170"/>
                <a:gd name="T11" fmla="*/ 5 h 45"/>
                <a:gd name="T12" fmla="*/ 111 w 170"/>
                <a:gd name="T13" fmla="*/ 36 h 45"/>
                <a:gd name="T14" fmla="*/ 170 w 170"/>
                <a:gd name="T15" fmla="*/ 45 h 45"/>
                <a:gd name="T16" fmla="*/ 170 w 170"/>
                <a:gd name="T17" fmla="*/ 30 h 45"/>
                <a:gd name="T18" fmla="*/ 124 w 170"/>
                <a:gd name="T19" fmla="*/ 22 h 45"/>
                <a:gd name="T20" fmla="*/ 42 w 170"/>
                <a:gd name="T21" fmla="*/ 0 h 45"/>
                <a:gd name="T22" fmla="*/ 6 w 170"/>
                <a:gd name="T23" fmla="*/ 0 h 45"/>
                <a:gd name="T24" fmla="*/ 4 w 170"/>
                <a:gd name="T25" fmla="*/ 0 h 45"/>
                <a:gd name="T26" fmla="*/ 4 w 170"/>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5">
                  <a:moveTo>
                    <a:pt x="4" y="0"/>
                  </a:moveTo>
                  <a:cubicBezTo>
                    <a:pt x="4" y="0"/>
                    <a:pt x="3" y="1"/>
                    <a:pt x="3" y="1"/>
                  </a:cubicBezTo>
                  <a:cubicBezTo>
                    <a:pt x="3" y="1"/>
                    <a:pt x="2" y="1"/>
                    <a:pt x="2" y="1"/>
                  </a:cubicBezTo>
                  <a:cubicBezTo>
                    <a:pt x="2" y="2"/>
                    <a:pt x="2" y="2"/>
                    <a:pt x="1" y="2"/>
                  </a:cubicBezTo>
                  <a:cubicBezTo>
                    <a:pt x="1" y="3"/>
                    <a:pt x="1" y="3"/>
                    <a:pt x="1" y="3"/>
                  </a:cubicBezTo>
                  <a:cubicBezTo>
                    <a:pt x="0" y="4"/>
                    <a:pt x="0" y="5"/>
                    <a:pt x="0" y="5"/>
                  </a:cubicBezTo>
                  <a:cubicBezTo>
                    <a:pt x="40" y="19"/>
                    <a:pt x="77" y="29"/>
                    <a:pt x="111" y="36"/>
                  </a:cubicBezTo>
                  <a:cubicBezTo>
                    <a:pt x="132" y="40"/>
                    <a:pt x="151" y="43"/>
                    <a:pt x="170" y="45"/>
                  </a:cubicBezTo>
                  <a:cubicBezTo>
                    <a:pt x="170" y="30"/>
                    <a:pt x="170" y="30"/>
                    <a:pt x="170" y="30"/>
                  </a:cubicBezTo>
                  <a:cubicBezTo>
                    <a:pt x="155" y="28"/>
                    <a:pt x="140" y="25"/>
                    <a:pt x="124" y="22"/>
                  </a:cubicBezTo>
                  <a:cubicBezTo>
                    <a:pt x="97" y="16"/>
                    <a:pt x="70" y="9"/>
                    <a:pt x="42" y="0"/>
                  </a:cubicBezTo>
                  <a:cubicBezTo>
                    <a:pt x="6" y="0"/>
                    <a:pt x="6" y="0"/>
                    <a:pt x="6" y="0"/>
                  </a:cubicBezTo>
                  <a:cubicBezTo>
                    <a:pt x="6" y="0"/>
                    <a:pt x="5" y="0"/>
                    <a:pt x="4" y="0"/>
                  </a:cubicBezTo>
                  <a:cubicBezTo>
                    <a:pt x="4" y="0"/>
                    <a:pt x="4"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1">
              <a:extLst>
                <a:ext uri="{FF2B5EF4-FFF2-40B4-BE49-F238E27FC236}">
                  <a16:creationId xmlns:a16="http://schemas.microsoft.com/office/drawing/2014/main" id="{73E7CB31-1DC9-4592-99BE-C9275472EA3A}"/>
                </a:ext>
              </a:extLst>
            </p:cNvPr>
            <p:cNvSpPr>
              <a:spLocks/>
            </p:cNvSpPr>
            <p:nvPr userDrawn="1"/>
          </p:nvSpPr>
          <p:spPr bwMode="auto">
            <a:xfrm>
              <a:off x="3011" y="2252"/>
              <a:ext cx="270" cy="78"/>
            </a:xfrm>
            <a:custGeom>
              <a:avLst/>
              <a:gdLst>
                <a:gd name="T0" fmla="*/ 129 w 129"/>
                <a:gd name="T1" fmla="*/ 0 h 37"/>
                <a:gd name="T2" fmla="*/ 0 w 129"/>
                <a:gd name="T3" fmla="*/ 37 h 37"/>
                <a:gd name="T4" fmla="*/ 57 w 129"/>
                <a:gd name="T5" fmla="*/ 37 h 37"/>
                <a:gd name="T6" fmla="*/ 129 w 129"/>
                <a:gd name="T7" fmla="*/ 10 h 37"/>
                <a:gd name="T8" fmla="*/ 129 w 129"/>
                <a:gd name="T9" fmla="*/ 0 h 37"/>
              </a:gdLst>
              <a:ahLst/>
              <a:cxnLst>
                <a:cxn ang="0">
                  <a:pos x="T0" y="T1"/>
                </a:cxn>
                <a:cxn ang="0">
                  <a:pos x="T2" y="T3"/>
                </a:cxn>
                <a:cxn ang="0">
                  <a:pos x="T4" y="T5"/>
                </a:cxn>
                <a:cxn ang="0">
                  <a:pos x="T6" y="T7"/>
                </a:cxn>
                <a:cxn ang="0">
                  <a:pos x="T8" y="T9"/>
                </a:cxn>
              </a:cxnLst>
              <a:rect l="0" t="0" r="r" b="b"/>
              <a:pathLst>
                <a:path w="129" h="37">
                  <a:moveTo>
                    <a:pt x="129" y="0"/>
                  </a:moveTo>
                  <a:cubicBezTo>
                    <a:pt x="87" y="18"/>
                    <a:pt x="44" y="30"/>
                    <a:pt x="0" y="37"/>
                  </a:cubicBezTo>
                  <a:cubicBezTo>
                    <a:pt x="57" y="37"/>
                    <a:pt x="57" y="37"/>
                    <a:pt x="57" y="37"/>
                  </a:cubicBezTo>
                  <a:cubicBezTo>
                    <a:pt x="84" y="29"/>
                    <a:pt x="108" y="19"/>
                    <a:pt x="129" y="10"/>
                  </a:cubicBezTo>
                  <a:lnTo>
                    <a:pt x="12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2">
              <a:extLst>
                <a:ext uri="{FF2B5EF4-FFF2-40B4-BE49-F238E27FC236}">
                  <a16:creationId xmlns:a16="http://schemas.microsoft.com/office/drawing/2014/main" id="{AFD328DF-43F5-477A-B82F-8AB589EC79F0}"/>
                </a:ext>
              </a:extLst>
            </p:cNvPr>
            <p:cNvSpPr>
              <a:spLocks/>
            </p:cNvSpPr>
            <p:nvPr userDrawn="1"/>
          </p:nvSpPr>
          <p:spPr bwMode="auto">
            <a:xfrm>
              <a:off x="2640" y="2460"/>
              <a:ext cx="356" cy="78"/>
            </a:xfrm>
            <a:custGeom>
              <a:avLst/>
              <a:gdLst>
                <a:gd name="T0" fmla="*/ 114 w 170"/>
                <a:gd name="T1" fmla="*/ 10 h 37"/>
                <a:gd name="T2" fmla="*/ 22 w 170"/>
                <a:gd name="T3" fmla="*/ 17 h 37"/>
                <a:gd name="T4" fmla="*/ 0 w 170"/>
                <a:gd name="T5" fmla="*/ 16 h 37"/>
                <a:gd name="T6" fmla="*/ 0 w 170"/>
                <a:gd name="T7" fmla="*/ 37 h 37"/>
                <a:gd name="T8" fmla="*/ 170 w 170"/>
                <a:gd name="T9" fmla="*/ 15 h 37"/>
                <a:gd name="T10" fmla="*/ 170 w 170"/>
                <a:gd name="T11" fmla="*/ 0 h 37"/>
                <a:gd name="T12" fmla="*/ 114 w 170"/>
                <a:gd name="T13" fmla="*/ 10 h 37"/>
              </a:gdLst>
              <a:ahLst/>
              <a:cxnLst>
                <a:cxn ang="0">
                  <a:pos x="T0" y="T1"/>
                </a:cxn>
                <a:cxn ang="0">
                  <a:pos x="T2" y="T3"/>
                </a:cxn>
                <a:cxn ang="0">
                  <a:pos x="T4" y="T5"/>
                </a:cxn>
                <a:cxn ang="0">
                  <a:pos x="T6" y="T7"/>
                </a:cxn>
                <a:cxn ang="0">
                  <a:pos x="T8" y="T9"/>
                </a:cxn>
                <a:cxn ang="0">
                  <a:pos x="T10" y="T11"/>
                </a:cxn>
                <a:cxn ang="0">
                  <a:pos x="T12" y="T13"/>
                </a:cxn>
              </a:cxnLst>
              <a:rect l="0" t="0" r="r" b="b"/>
              <a:pathLst>
                <a:path w="170" h="37">
                  <a:moveTo>
                    <a:pt x="114" y="10"/>
                  </a:moveTo>
                  <a:cubicBezTo>
                    <a:pt x="84" y="14"/>
                    <a:pt x="53" y="16"/>
                    <a:pt x="22" y="17"/>
                  </a:cubicBezTo>
                  <a:cubicBezTo>
                    <a:pt x="14" y="17"/>
                    <a:pt x="7" y="17"/>
                    <a:pt x="0" y="16"/>
                  </a:cubicBezTo>
                  <a:cubicBezTo>
                    <a:pt x="0" y="37"/>
                    <a:pt x="0" y="37"/>
                    <a:pt x="0" y="37"/>
                  </a:cubicBezTo>
                  <a:cubicBezTo>
                    <a:pt x="64" y="36"/>
                    <a:pt x="121" y="28"/>
                    <a:pt x="170" y="15"/>
                  </a:cubicBezTo>
                  <a:cubicBezTo>
                    <a:pt x="170" y="0"/>
                    <a:pt x="170" y="0"/>
                    <a:pt x="170" y="0"/>
                  </a:cubicBezTo>
                  <a:cubicBezTo>
                    <a:pt x="151" y="4"/>
                    <a:pt x="133" y="7"/>
                    <a:pt x="114"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3">
              <a:extLst>
                <a:ext uri="{FF2B5EF4-FFF2-40B4-BE49-F238E27FC236}">
                  <a16:creationId xmlns:a16="http://schemas.microsoft.com/office/drawing/2014/main" id="{69F4783C-22D1-49FE-AD1C-136E0EBD3AEF}"/>
                </a:ext>
              </a:extLst>
            </p:cNvPr>
            <p:cNvSpPr>
              <a:spLocks/>
            </p:cNvSpPr>
            <p:nvPr userDrawn="1"/>
          </p:nvSpPr>
          <p:spPr bwMode="auto">
            <a:xfrm>
              <a:off x="3210" y="2302"/>
              <a:ext cx="71" cy="28"/>
            </a:xfrm>
            <a:custGeom>
              <a:avLst/>
              <a:gdLst>
                <a:gd name="T0" fmla="*/ 28 w 34"/>
                <a:gd name="T1" fmla="*/ 13 h 13"/>
                <a:gd name="T2" fmla="*/ 34 w 34"/>
                <a:gd name="T3" fmla="*/ 9 h 13"/>
                <a:gd name="T4" fmla="*/ 34 w 34"/>
                <a:gd name="T5" fmla="*/ 0 h 13"/>
                <a:gd name="T6" fmla="*/ 33 w 34"/>
                <a:gd name="T7" fmla="*/ 0 h 13"/>
                <a:gd name="T8" fmla="*/ 9 w 34"/>
                <a:gd name="T9" fmla="*/ 10 h 13"/>
                <a:gd name="T10" fmla="*/ 0 w 34"/>
                <a:gd name="T11" fmla="*/ 13 h 13"/>
                <a:gd name="T12" fmla="*/ 28 w 3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4" h="13">
                  <a:moveTo>
                    <a:pt x="28" y="13"/>
                  </a:moveTo>
                  <a:cubicBezTo>
                    <a:pt x="30" y="13"/>
                    <a:pt x="33" y="12"/>
                    <a:pt x="34" y="9"/>
                  </a:cubicBezTo>
                  <a:cubicBezTo>
                    <a:pt x="34" y="0"/>
                    <a:pt x="34" y="0"/>
                    <a:pt x="34" y="0"/>
                  </a:cubicBezTo>
                  <a:cubicBezTo>
                    <a:pt x="33" y="0"/>
                    <a:pt x="33" y="0"/>
                    <a:pt x="33" y="0"/>
                  </a:cubicBezTo>
                  <a:cubicBezTo>
                    <a:pt x="27" y="3"/>
                    <a:pt x="17" y="7"/>
                    <a:pt x="9" y="10"/>
                  </a:cubicBezTo>
                  <a:cubicBezTo>
                    <a:pt x="5" y="11"/>
                    <a:pt x="2" y="12"/>
                    <a:pt x="0" y="13"/>
                  </a:cubicBezTo>
                  <a:lnTo>
                    <a:pt x="28"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4">
              <a:extLst>
                <a:ext uri="{FF2B5EF4-FFF2-40B4-BE49-F238E27FC236}">
                  <a16:creationId xmlns:a16="http://schemas.microsoft.com/office/drawing/2014/main" id="{F38A966D-06F1-4BE6-A5CC-0D7D4411D2F8}"/>
                </a:ext>
              </a:extLst>
            </p:cNvPr>
            <p:cNvSpPr>
              <a:spLocks/>
            </p:cNvSpPr>
            <p:nvPr userDrawn="1"/>
          </p:nvSpPr>
          <p:spPr bwMode="auto">
            <a:xfrm>
              <a:off x="2640" y="2526"/>
              <a:ext cx="356" cy="88"/>
            </a:xfrm>
            <a:custGeom>
              <a:avLst/>
              <a:gdLst>
                <a:gd name="T0" fmla="*/ 170 w 170"/>
                <a:gd name="T1" fmla="*/ 0 h 42"/>
                <a:gd name="T2" fmla="*/ 0 w 170"/>
                <a:gd name="T3" fmla="*/ 21 h 42"/>
                <a:gd name="T4" fmla="*/ 0 w 170"/>
                <a:gd name="T5" fmla="*/ 40 h 42"/>
                <a:gd name="T6" fmla="*/ 0 w 170"/>
                <a:gd name="T7" fmla="*/ 41 h 42"/>
                <a:gd name="T8" fmla="*/ 0 w 170"/>
                <a:gd name="T9" fmla="*/ 42 h 42"/>
                <a:gd name="T10" fmla="*/ 66 w 170"/>
                <a:gd name="T11" fmla="*/ 36 h 42"/>
                <a:gd name="T12" fmla="*/ 170 w 170"/>
                <a:gd name="T13" fmla="*/ 15 h 42"/>
                <a:gd name="T14" fmla="*/ 170 w 170"/>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42">
                  <a:moveTo>
                    <a:pt x="170" y="0"/>
                  </a:moveTo>
                  <a:cubicBezTo>
                    <a:pt x="115" y="14"/>
                    <a:pt x="58" y="21"/>
                    <a:pt x="0" y="21"/>
                  </a:cubicBezTo>
                  <a:cubicBezTo>
                    <a:pt x="0" y="40"/>
                    <a:pt x="0" y="40"/>
                    <a:pt x="0" y="40"/>
                  </a:cubicBezTo>
                  <a:cubicBezTo>
                    <a:pt x="0" y="40"/>
                    <a:pt x="0" y="41"/>
                    <a:pt x="0" y="41"/>
                  </a:cubicBezTo>
                  <a:cubicBezTo>
                    <a:pt x="0" y="41"/>
                    <a:pt x="0" y="42"/>
                    <a:pt x="0" y="42"/>
                  </a:cubicBezTo>
                  <a:cubicBezTo>
                    <a:pt x="23" y="41"/>
                    <a:pt x="45" y="39"/>
                    <a:pt x="66" y="36"/>
                  </a:cubicBezTo>
                  <a:cubicBezTo>
                    <a:pt x="104" y="31"/>
                    <a:pt x="138" y="24"/>
                    <a:pt x="170" y="15"/>
                  </a:cubicBezTo>
                  <a:lnTo>
                    <a:pt x="17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5">
              <a:extLst>
                <a:ext uri="{FF2B5EF4-FFF2-40B4-BE49-F238E27FC236}">
                  <a16:creationId xmlns:a16="http://schemas.microsoft.com/office/drawing/2014/main" id="{B7AB077C-A4B2-4260-B6EC-2B990E1C1169}"/>
                </a:ext>
              </a:extLst>
            </p:cNvPr>
            <p:cNvSpPr>
              <a:spLocks/>
            </p:cNvSpPr>
            <p:nvPr userDrawn="1"/>
          </p:nvSpPr>
          <p:spPr bwMode="auto">
            <a:xfrm>
              <a:off x="2640" y="2397"/>
              <a:ext cx="356" cy="68"/>
            </a:xfrm>
            <a:custGeom>
              <a:avLst/>
              <a:gdLst>
                <a:gd name="T0" fmla="*/ 0 w 170"/>
                <a:gd name="T1" fmla="*/ 10 h 32"/>
                <a:gd name="T2" fmla="*/ 0 w 170"/>
                <a:gd name="T3" fmla="*/ 31 h 32"/>
                <a:gd name="T4" fmla="*/ 170 w 170"/>
                <a:gd name="T5" fmla="*/ 15 h 32"/>
                <a:gd name="T6" fmla="*/ 170 w 170"/>
                <a:gd name="T7" fmla="*/ 0 h 32"/>
                <a:gd name="T8" fmla="*/ 129 w 170"/>
                <a:gd name="T9" fmla="*/ 6 h 32"/>
                <a:gd name="T10" fmla="*/ 0 w 170"/>
                <a:gd name="T11" fmla="*/ 10 h 32"/>
              </a:gdLst>
              <a:ahLst/>
              <a:cxnLst>
                <a:cxn ang="0">
                  <a:pos x="T0" y="T1"/>
                </a:cxn>
                <a:cxn ang="0">
                  <a:pos x="T2" y="T3"/>
                </a:cxn>
                <a:cxn ang="0">
                  <a:pos x="T4" y="T5"/>
                </a:cxn>
                <a:cxn ang="0">
                  <a:pos x="T6" y="T7"/>
                </a:cxn>
                <a:cxn ang="0">
                  <a:pos x="T8" y="T9"/>
                </a:cxn>
                <a:cxn ang="0">
                  <a:pos x="T10" y="T11"/>
                </a:cxn>
              </a:cxnLst>
              <a:rect l="0" t="0" r="r" b="b"/>
              <a:pathLst>
                <a:path w="170" h="32">
                  <a:moveTo>
                    <a:pt x="0" y="10"/>
                  </a:moveTo>
                  <a:cubicBezTo>
                    <a:pt x="0" y="31"/>
                    <a:pt x="0" y="31"/>
                    <a:pt x="0" y="31"/>
                  </a:cubicBezTo>
                  <a:cubicBezTo>
                    <a:pt x="64" y="32"/>
                    <a:pt x="121" y="26"/>
                    <a:pt x="170" y="15"/>
                  </a:cubicBezTo>
                  <a:cubicBezTo>
                    <a:pt x="170" y="0"/>
                    <a:pt x="170" y="0"/>
                    <a:pt x="170" y="0"/>
                  </a:cubicBezTo>
                  <a:cubicBezTo>
                    <a:pt x="156" y="2"/>
                    <a:pt x="143" y="4"/>
                    <a:pt x="129" y="6"/>
                  </a:cubicBezTo>
                  <a:cubicBezTo>
                    <a:pt x="87" y="11"/>
                    <a:pt x="44" y="13"/>
                    <a:pt x="0"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60684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Intro slide #1">
    <p:spTree>
      <p:nvGrpSpPr>
        <p:cNvPr id="1" name=""/>
        <p:cNvGrpSpPr/>
        <p:nvPr/>
      </p:nvGrpSpPr>
      <p:grpSpPr>
        <a:xfrm>
          <a:off x="0" y="0"/>
          <a:ext cx="0" cy="0"/>
          <a:chOff x="0" y="0"/>
          <a:chExt cx="0" cy="0"/>
        </a:xfrm>
      </p:grpSpPr>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17488" y="217488"/>
            <a:ext cx="11755437" cy="5345835"/>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514800" y="512385"/>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5713"/>
            <a:ext cx="8528773" cy="180000"/>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3" cstate="email">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514800" y="2296801"/>
            <a:ext cx="9628263" cy="1916454"/>
          </a:xfrm>
        </p:spPr>
        <p:txBody>
          <a:bodyPr bIns="216000" anchor="b" anchorCtr="0"/>
          <a:lstStyle>
            <a:lvl1pPr algn="l">
              <a:defRPr sz="6000">
                <a:solidFill>
                  <a:schemeClr val="tx2"/>
                </a:solidFill>
              </a:defRPr>
            </a:lvl1pPr>
          </a:lstStyle>
          <a:p>
            <a:r>
              <a:rPr lang="nl-NL"/>
              <a:t>Plaats hier naam presentatie, max. 2 regels</a:t>
            </a:r>
          </a:p>
        </p:txBody>
      </p:sp>
      <p:sp>
        <p:nvSpPr>
          <p:cNvPr id="89" name="Tijdelijke aanduiding voor afbeelding 76">
            <a:extLst>
              <a:ext uri="{FF2B5EF4-FFF2-40B4-BE49-F238E27FC236}">
                <a16:creationId xmlns:a16="http://schemas.microsoft.com/office/drawing/2014/main" id="{6436AB13-C9EF-4DCD-ABA6-C52F31D09B2F}"/>
              </a:ext>
            </a:extLst>
          </p:cNvPr>
          <p:cNvSpPr>
            <a:spLocks noGrp="1"/>
          </p:cNvSpPr>
          <p:nvPr>
            <p:ph type="pic" sz="quarter" idx="16" hasCustomPrompt="1"/>
          </p:nvPr>
        </p:nvSpPr>
        <p:spPr>
          <a:xfrm>
            <a:off x="3045563" y="512386"/>
            <a:ext cx="2217600" cy="711558"/>
          </a:xfrm>
          <a:prstGeom prst="rect">
            <a:avLst/>
          </a:prstGeom>
          <a:noFill/>
        </p:spPr>
        <p:txBody>
          <a:bodyPr wrap="square" bIns="252000" anchor="ctr">
            <a:noAutofit/>
          </a:bodyPr>
          <a:lstStyle>
            <a:lvl1pPr marL="0" indent="0" algn="ctr">
              <a:lnSpc>
                <a:spcPct val="300000"/>
              </a:lnSpc>
              <a:spcBef>
                <a:spcPts val="0"/>
              </a:spcBef>
              <a:spcAft>
                <a:spcPts val="0"/>
              </a:spcAft>
              <a:buNone/>
              <a:defRPr sz="1050" i="1">
                <a:solidFill>
                  <a:schemeClr val="bg2">
                    <a:lumMod val="75000"/>
                  </a:schemeClr>
                </a:solidFill>
              </a:defRPr>
            </a:lvl1pPr>
          </a:lstStyle>
          <a:p>
            <a:r>
              <a:rPr lang="nl-NL"/>
              <a:t>Voeg hier </a:t>
            </a:r>
            <a:br>
              <a:rPr lang="nl-NL"/>
            </a:br>
            <a:r>
              <a:rPr lang="nl-NL"/>
              <a:t>een logo in</a:t>
            </a:r>
          </a:p>
        </p:txBody>
      </p:sp>
      <p:sp>
        <p:nvSpPr>
          <p:cNvPr id="133" name="Tijdelijke aanduiding voor tekst 2">
            <a:extLst>
              <a:ext uri="{FF2B5EF4-FFF2-40B4-BE49-F238E27FC236}">
                <a16:creationId xmlns:a16="http://schemas.microsoft.com/office/drawing/2014/main" id="{07E5C559-974D-4D03-B65C-EF4D9D8511BE}"/>
              </a:ext>
            </a:extLst>
          </p:cNvPr>
          <p:cNvSpPr>
            <a:spLocks noGrp="1"/>
          </p:cNvSpPr>
          <p:nvPr>
            <p:ph type="body" sz="quarter" idx="17" hasCustomPrompt="1"/>
          </p:nvPr>
        </p:nvSpPr>
        <p:spPr>
          <a:xfrm>
            <a:off x="547689" y="4220308"/>
            <a:ext cx="9586368" cy="351693"/>
          </a:xfrm>
        </p:spPr>
        <p:txBody>
          <a:bodyPr/>
          <a:lstStyle>
            <a:lvl1pPr marL="0" indent="0">
              <a:buNone/>
              <a:defRPr sz="2000" b="1">
                <a:solidFill>
                  <a:schemeClr val="tx2"/>
                </a:solidFill>
              </a:defRPr>
            </a:lvl1pPr>
          </a:lstStyle>
          <a:p>
            <a:pPr lvl="0"/>
            <a:r>
              <a:rPr lang="nl-NL"/>
              <a:t>Plaats hier je subtitel</a:t>
            </a:r>
          </a:p>
        </p:txBody>
      </p:sp>
      <p:grpSp>
        <p:nvGrpSpPr>
          <p:cNvPr id="2" name="Groep 1">
            <a:extLst>
              <a:ext uri="{FF2B5EF4-FFF2-40B4-BE49-F238E27FC236}">
                <a16:creationId xmlns:a16="http://schemas.microsoft.com/office/drawing/2014/main" id="{D3EEA51C-E48B-40B3-B4E6-A082C2DB3F1A}"/>
              </a:ext>
            </a:extLst>
          </p:cNvPr>
          <p:cNvGrpSpPr/>
          <p:nvPr userDrawn="1"/>
        </p:nvGrpSpPr>
        <p:grpSpPr>
          <a:xfrm>
            <a:off x="-3786437" y="6112906"/>
            <a:ext cx="3593091" cy="1535545"/>
            <a:chOff x="-3812167" y="5105400"/>
            <a:chExt cx="3593091" cy="1535545"/>
          </a:xfrm>
        </p:grpSpPr>
        <p:sp>
          <p:nvSpPr>
            <p:cNvPr id="210" name="Rechthoek 209">
              <a:extLst>
                <a:ext uri="{FF2B5EF4-FFF2-40B4-BE49-F238E27FC236}">
                  <a16:creationId xmlns:a16="http://schemas.microsoft.com/office/drawing/2014/main" id="{0E12D28F-0500-4DE6-BC26-0B398A8AC806}"/>
                </a:ext>
              </a:extLst>
            </p:cNvPr>
            <p:cNvSpPr/>
            <p:nvPr userDrawn="1"/>
          </p:nvSpPr>
          <p:spPr>
            <a:xfrm>
              <a:off x="-3812167" y="5105400"/>
              <a:ext cx="3593091" cy="1535545"/>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eesbaarheid titel en subtitel</a:t>
              </a:r>
            </a:p>
          </p:txBody>
        </p:sp>
        <p:sp>
          <p:nvSpPr>
            <p:cNvPr id="211" name="Ovaal 210">
              <a:extLst>
                <a:ext uri="{FF2B5EF4-FFF2-40B4-BE49-F238E27FC236}">
                  <a16:creationId xmlns:a16="http://schemas.microsoft.com/office/drawing/2014/main" id="{32C84309-1028-41F9-BF1F-66848DDB1094}"/>
                </a:ext>
              </a:extLst>
            </p:cNvPr>
            <p:cNvSpPr/>
            <p:nvPr userDrawn="1"/>
          </p:nvSpPr>
          <p:spPr>
            <a:xfrm>
              <a:off x="-3629589" y="55707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2" name="Rechthoek 211">
              <a:extLst>
                <a:ext uri="{FF2B5EF4-FFF2-40B4-BE49-F238E27FC236}">
                  <a16:creationId xmlns:a16="http://schemas.microsoft.com/office/drawing/2014/main" id="{6751367E-B4E9-4F46-BA23-A999456F93A5}"/>
                </a:ext>
              </a:extLst>
            </p:cNvPr>
            <p:cNvSpPr/>
            <p:nvPr userDrawn="1"/>
          </p:nvSpPr>
          <p:spPr>
            <a:xfrm>
              <a:off x="-3345417" y="5570724"/>
              <a:ext cx="2944682" cy="18237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licht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1”.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donker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3”.</a:t>
              </a:r>
            </a:p>
          </p:txBody>
        </p:sp>
      </p:grpSp>
      <p:grpSp>
        <p:nvGrpSpPr>
          <p:cNvPr id="130" name="INSTRUCTIES">
            <a:extLst>
              <a:ext uri="{FF2B5EF4-FFF2-40B4-BE49-F238E27FC236}">
                <a16:creationId xmlns:a16="http://schemas.microsoft.com/office/drawing/2014/main" id="{7DFBC95D-30ED-4043-9189-C1472BD7FA37}"/>
              </a:ext>
            </a:extLst>
          </p:cNvPr>
          <p:cNvGrpSpPr/>
          <p:nvPr userDrawn="1"/>
        </p:nvGrpSpPr>
        <p:grpSpPr>
          <a:xfrm>
            <a:off x="-3786437" y="0"/>
            <a:ext cx="3593091" cy="5936662"/>
            <a:chOff x="-3786437" y="0"/>
            <a:chExt cx="3593091" cy="5936662"/>
          </a:xfrm>
        </p:grpSpPr>
        <p:sp>
          <p:nvSpPr>
            <p:cNvPr id="131" name="Rechthoek 130">
              <a:extLst>
                <a:ext uri="{FF2B5EF4-FFF2-40B4-BE49-F238E27FC236}">
                  <a16:creationId xmlns:a16="http://schemas.microsoft.com/office/drawing/2014/main" id="{6492616E-2171-4169-86B2-AB49E6BAE27B}"/>
                </a:ext>
              </a:extLst>
            </p:cNvPr>
            <p:cNvSpPr/>
            <p:nvPr userDrawn="1"/>
          </p:nvSpPr>
          <p:spPr>
            <a:xfrm>
              <a:off x="-3786437" y="0"/>
              <a:ext cx="3593091" cy="5936662"/>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lvl="0">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ogo invoegen/opmaken</a:t>
              </a:r>
            </a:p>
          </p:txBody>
        </p:sp>
        <p:sp>
          <p:nvSpPr>
            <p:cNvPr id="132" name="Ovaal 131">
              <a:extLst>
                <a:ext uri="{FF2B5EF4-FFF2-40B4-BE49-F238E27FC236}">
                  <a16:creationId xmlns:a16="http://schemas.microsoft.com/office/drawing/2014/main" id="{BAB18270-7EF6-4DC5-96C2-16510C52D69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249E174-E5C8-426E-BE49-2635BB1AD2A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het bestaande logo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 logo in te voegen</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5" name="Groep 134">
              <a:extLst>
                <a:ext uri="{FF2B5EF4-FFF2-40B4-BE49-F238E27FC236}">
                  <a16:creationId xmlns:a16="http://schemas.microsoft.com/office/drawing/2014/main" id="{9D76FE58-2201-4B67-B4EA-8674799D105D}"/>
                </a:ext>
              </a:extLst>
            </p:cNvPr>
            <p:cNvGrpSpPr/>
            <p:nvPr userDrawn="1"/>
          </p:nvGrpSpPr>
          <p:grpSpPr>
            <a:xfrm>
              <a:off x="-3316179" y="1231351"/>
              <a:ext cx="294789" cy="318834"/>
              <a:chOff x="14466489" y="1001522"/>
              <a:chExt cx="290627" cy="314333"/>
            </a:xfrm>
          </p:grpSpPr>
          <p:sp>
            <p:nvSpPr>
              <p:cNvPr id="182" name="Rechthoek 181">
                <a:extLst>
                  <a:ext uri="{FF2B5EF4-FFF2-40B4-BE49-F238E27FC236}">
                    <a16:creationId xmlns:a16="http://schemas.microsoft.com/office/drawing/2014/main" id="{F8472ED0-81A8-4FB9-81E4-346E02156E3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83" name="Ovaal 182">
                <a:extLst>
                  <a:ext uri="{FF2B5EF4-FFF2-40B4-BE49-F238E27FC236}">
                    <a16:creationId xmlns:a16="http://schemas.microsoft.com/office/drawing/2014/main" id="{5404847C-C8DD-4B73-AD41-2FDC6378170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4" name="Vrije vorm: vorm 183">
                <a:extLst>
                  <a:ext uri="{FF2B5EF4-FFF2-40B4-BE49-F238E27FC236}">
                    <a16:creationId xmlns:a16="http://schemas.microsoft.com/office/drawing/2014/main" id="{9C53E5E5-33D7-42D3-9CB2-12CB8B7C158B}"/>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5" name="Rechthoek: afgeronde hoeken 184">
                <a:extLst>
                  <a:ext uri="{FF2B5EF4-FFF2-40B4-BE49-F238E27FC236}">
                    <a16:creationId xmlns:a16="http://schemas.microsoft.com/office/drawing/2014/main" id="{BBA4FD1E-F0F7-47C0-B581-BE08359E7B5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5" name="Rechte verbindingslijn 204">
                <a:extLst>
                  <a:ext uri="{FF2B5EF4-FFF2-40B4-BE49-F238E27FC236}">
                    <a16:creationId xmlns:a16="http://schemas.microsoft.com/office/drawing/2014/main" id="{439C8ED8-6851-4411-8BAB-00CD936B05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Rechte verbindingslijn 212">
                <a:extLst>
                  <a:ext uri="{FF2B5EF4-FFF2-40B4-BE49-F238E27FC236}">
                    <a16:creationId xmlns:a16="http://schemas.microsoft.com/office/drawing/2014/main" id="{498694BE-4616-4A06-B84A-9A504BC8EA14}"/>
                  </a:ext>
                </a:extLst>
              </p:cNvPr>
              <p:cNvCxnSpPr>
                <a:cxnSpLocks/>
                <a:stCxn id="18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36" name="Ovaal 135">
              <a:extLst>
                <a:ext uri="{FF2B5EF4-FFF2-40B4-BE49-F238E27FC236}">
                  <a16:creationId xmlns:a16="http://schemas.microsoft.com/office/drawing/2014/main" id="{9B77C942-C54B-413A-BCE6-C5B0733589C9}"/>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7" name="Rechthoek 136">
              <a:extLst>
                <a:ext uri="{FF2B5EF4-FFF2-40B4-BE49-F238E27FC236}">
                  <a16:creationId xmlns:a16="http://schemas.microsoft.com/office/drawing/2014/main" id="{2E15BB79-CFA6-4655-87B1-E0AC76394DB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het gewenste logo</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8" name="Groep 137">
              <a:extLst>
                <a:ext uri="{FF2B5EF4-FFF2-40B4-BE49-F238E27FC236}">
                  <a16:creationId xmlns:a16="http://schemas.microsoft.com/office/drawing/2014/main" id="{94D1E749-E580-4930-A00A-63BFB090E66E}"/>
                </a:ext>
              </a:extLst>
            </p:cNvPr>
            <p:cNvGrpSpPr/>
            <p:nvPr userDrawn="1"/>
          </p:nvGrpSpPr>
          <p:grpSpPr>
            <a:xfrm>
              <a:off x="-3311319" y="2164285"/>
              <a:ext cx="825500" cy="209550"/>
              <a:chOff x="13504624" y="2482850"/>
              <a:chExt cx="825500" cy="209550"/>
            </a:xfrm>
          </p:grpSpPr>
          <p:sp>
            <p:nvSpPr>
              <p:cNvPr id="179" name="Rechthoek 178">
                <a:extLst>
                  <a:ext uri="{FF2B5EF4-FFF2-40B4-BE49-F238E27FC236}">
                    <a16:creationId xmlns:a16="http://schemas.microsoft.com/office/drawing/2014/main" id="{B2EFEE35-AE29-4701-B137-A856B98926E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80" name="Rechte verbindingslijn 179">
                <a:extLst>
                  <a:ext uri="{FF2B5EF4-FFF2-40B4-BE49-F238E27FC236}">
                    <a16:creationId xmlns:a16="http://schemas.microsoft.com/office/drawing/2014/main" id="{749DC65F-E64C-4B42-89A6-BE8AB1DFBA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81" name="Gelijkbenige driehoek 180">
                <a:extLst>
                  <a:ext uri="{FF2B5EF4-FFF2-40B4-BE49-F238E27FC236}">
                    <a16:creationId xmlns:a16="http://schemas.microsoft.com/office/drawing/2014/main" id="{4255F441-D15E-4E1D-AE45-A63F211B63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139" name="Ovaal 138">
              <a:extLst>
                <a:ext uri="{FF2B5EF4-FFF2-40B4-BE49-F238E27FC236}">
                  <a16:creationId xmlns:a16="http://schemas.microsoft.com/office/drawing/2014/main" id="{54CD15D7-7CC8-4C6D-8A0D-391FE2CEFCBD}"/>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0" name="Rechthoek 139">
              <a:extLst>
                <a:ext uri="{FF2B5EF4-FFF2-40B4-BE49-F238E27FC236}">
                  <a16:creationId xmlns:a16="http://schemas.microsoft.com/office/drawing/2014/main" id="{1E77056D-92DA-4BEF-BEE5-D226A16FBDFC}"/>
                </a:ext>
              </a:extLst>
            </p:cNvPr>
            <p:cNvSpPr/>
            <p:nvPr userDrawn="1"/>
          </p:nvSpPr>
          <p:spPr>
            <a:xfrm>
              <a:off x="-3319415" y="2553360"/>
              <a:ext cx="2944682" cy="8089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het logo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het logo en met de hoekjes het logokader.</a:t>
              </a:r>
            </a:p>
          </p:txBody>
        </p:sp>
        <p:grpSp>
          <p:nvGrpSpPr>
            <p:cNvPr id="141" name="Groep 140">
              <a:extLst>
                <a:ext uri="{FF2B5EF4-FFF2-40B4-BE49-F238E27FC236}">
                  <a16:creationId xmlns:a16="http://schemas.microsoft.com/office/drawing/2014/main" id="{810AB701-F758-4CD5-B317-61A544EBBC50}"/>
                </a:ext>
              </a:extLst>
            </p:cNvPr>
            <p:cNvGrpSpPr/>
            <p:nvPr userDrawn="1"/>
          </p:nvGrpSpPr>
          <p:grpSpPr>
            <a:xfrm>
              <a:off x="-3408294" y="3470504"/>
              <a:ext cx="622283" cy="612920"/>
              <a:chOff x="12617641" y="3403239"/>
              <a:chExt cx="752963" cy="741634"/>
            </a:xfrm>
          </p:grpSpPr>
          <p:grpSp>
            <p:nvGrpSpPr>
              <p:cNvPr id="163" name="Groep 162">
                <a:extLst>
                  <a:ext uri="{FF2B5EF4-FFF2-40B4-BE49-F238E27FC236}">
                    <a16:creationId xmlns:a16="http://schemas.microsoft.com/office/drawing/2014/main" id="{E7C6351F-5C03-4EE4-A255-7CA379B85952}"/>
                  </a:ext>
                </a:extLst>
              </p:cNvPr>
              <p:cNvGrpSpPr/>
              <p:nvPr userDrawn="1"/>
            </p:nvGrpSpPr>
            <p:grpSpPr>
              <a:xfrm>
                <a:off x="12771530" y="3403239"/>
                <a:ext cx="467176" cy="448491"/>
                <a:chOff x="12782157" y="3403239"/>
                <a:chExt cx="467176" cy="448491"/>
              </a:xfrm>
            </p:grpSpPr>
            <p:grpSp>
              <p:nvGrpSpPr>
                <p:cNvPr id="166" name="Groep 165">
                  <a:extLst>
                    <a:ext uri="{FF2B5EF4-FFF2-40B4-BE49-F238E27FC236}">
                      <a16:creationId xmlns:a16="http://schemas.microsoft.com/office/drawing/2014/main" id="{197D61CF-E9B6-4249-A3BA-F3BD06BDC9BD}"/>
                    </a:ext>
                  </a:extLst>
                </p:cNvPr>
                <p:cNvGrpSpPr/>
                <p:nvPr userDrawn="1"/>
              </p:nvGrpSpPr>
              <p:grpSpPr>
                <a:xfrm>
                  <a:off x="12782157" y="3403239"/>
                  <a:ext cx="412976" cy="396132"/>
                  <a:chOff x="13554906" y="3320109"/>
                  <a:chExt cx="443917" cy="425811"/>
                </a:xfrm>
              </p:grpSpPr>
              <p:grpSp>
                <p:nvGrpSpPr>
                  <p:cNvPr id="173" name="Groep 172">
                    <a:extLst>
                      <a:ext uri="{FF2B5EF4-FFF2-40B4-BE49-F238E27FC236}">
                        <a16:creationId xmlns:a16="http://schemas.microsoft.com/office/drawing/2014/main" id="{956B64A8-15A0-4C7F-A3E7-083F778D9617}"/>
                      </a:ext>
                    </a:extLst>
                  </p:cNvPr>
                  <p:cNvGrpSpPr/>
                  <p:nvPr userDrawn="1"/>
                </p:nvGrpSpPr>
                <p:grpSpPr>
                  <a:xfrm>
                    <a:off x="13554906" y="3320109"/>
                    <a:ext cx="443917" cy="425811"/>
                    <a:chOff x="12909684" y="1276143"/>
                    <a:chExt cx="443917" cy="425811"/>
                  </a:xfrm>
                </p:grpSpPr>
                <p:sp>
                  <p:nvSpPr>
                    <p:cNvPr id="176" name="Rechthoek 175">
                      <a:extLst>
                        <a:ext uri="{FF2B5EF4-FFF2-40B4-BE49-F238E27FC236}">
                          <a16:creationId xmlns:a16="http://schemas.microsoft.com/office/drawing/2014/main" id="{881EC470-7E9B-4BA7-89E0-B0332D4CBA8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FC734AB1-87CA-48D3-B057-9021AFCFDFD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8" name="Ovaal 177">
                      <a:extLst>
                        <a:ext uri="{FF2B5EF4-FFF2-40B4-BE49-F238E27FC236}">
                          <a16:creationId xmlns:a16="http://schemas.microsoft.com/office/drawing/2014/main" id="{641ED05B-2B9F-4FC7-9DBB-DBA516AB714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74" name="Afbeelding 173">
                    <a:extLst>
                      <a:ext uri="{FF2B5EF4-FFF2-40B4-BE49-F238E27FC236}">
                        <a16:creationId xmlns:a16="http://schemas.microsoft.com/office/drawing/2014/main" id="{404D7CFA-2A85-4133-8255-FD776E1FAB2E}"/>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75" name="Afbeelding 174">
                    <a:extLst>
                      <a:ext uri="{FF2B5EF4-FFF2-40B4-BE49-F238E27FC236}">
                        <a16:creationId xmlns:a16="http://schemas.microsoft.com/office/drawing/2014/main" id="{2F50EEE3-80B5-4A9F-8032-81B314FA278A}"/>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67" name="Groep 166">
                  <a:extLst>
                    <a:ext uri="{FF2B5EF4-FFF2-40B4-BE49-F238E27FC236}">
                      <a16:creationId xmlns:a16="http://schemas.microsoft.com/office/drawing/2014/main" id="{DA3D8926-52E1-4040-BA45-9B025796EFB9}"/>
                    </a:ext>
                  </a:extLst>
                </p:cNvPr>
                <p:cNvGrpSpPr/>
                <p:nvPr userDrawn="1"/>
              </p:nvGrpSpPr>
              <p:grpSpPr>
                <a:xfrm>
                  <a:off x="13103513" y="3705268"/>
                  <a:ext cx="145820" cy="146462"/>
                  <a:chOff x="13096169" y="3602278"/>
                  <a:chExt cx="145820" cy="146462"/>
                </a:xfrm>
              </p:grpSpPr>
              <p:sp>
                <p:nvSpPr>
                  <p:cNvPr id="171" name="Rechthoek 170">
                    <a:extLst>
                      <a:ext uri="{FF2B5EF4-FFF2-40B4-BE49-F238E27FC236}">
                        <a16:creationId xmlns:a16="http://schemas.microsoft.com/office/drawing/2014/main" id="{AD5ABFEE-5E59-4BC1-8228-289D6BC7B2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BF182378-08D3-4F73-9ECD-FF76CE1B5CC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5805B01-E174-4CA9-8589-5B43E019713A}"/>
                    </a:ext>
                  </a:extLst>
                </p:cNvPr>
                <p:cNvGrpSpPr/>
                <p:nvPr userDrawn="1"/>
              </p:nvGrpSpPr>
              <p:grpSpPr>
                <a:xfrm rot="10800000">
                  <a:off x="13061402" y="3665637"/>
                  <a:ext cx="145820" cy="146462"/>
                  <a:chOff x="13096169" y="3602278"/>
                  <a:chExt cx="145820" cy="146462"/>
                </a:xfrm>
              </p:grpSpPr>
              <p:sp>
                <p:nvSpPr>
                  <p:cNvPr id="169" name="Rechthoek 168">
                    <a:extLst>
                      <a:ext uri="{FF2B5EF4-FFF2-40B4-BE49-F238E27FC236}">
                        <a16:creationId xmlns:a16="http://schemas.microsoft.com/office/drawing/2014/main" id="{8D8A793C-B49B-4BB3-9368-852CAEB7EF8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4BD79D8E-0198-4F0F-9AFB-DDE7F286F57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64" name="Rechthoek 163">
                <a:extLst>
                  <a:ext uri="{FF2B5EF4-FFF2-40B4-BE49-F238E27FC236}">
                    <a16:creationId xmlns:a16="http://schemas.microsoft.com/office/drawing/2014/main" id="{B5E1C03E-2E75-4AAB-837C-89288EA934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65" name="Gelijkbenige driehoek 164">
                <a:extLst>
                  <a:ext uri="{FF2B5EF4-FFF2-40B4-BE49-F238E27FC236}">
                    <a16:creationId xmlns:a16="http://schemas.microsoft.com/office/drawing/2014/main" id="{4CEF352F-7777-44EE-824A-C4380144C74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43" name="Ovaal 142">
              <a:extLst>
                <a:ext uri="{FF2B5EF4-FFF2-40B4-BE49-F238E27FC236}">
                  <a16:creationId xmlns:a16="http://schemas.microsoft.com/office/drawing/2014/main" id="{CDFE5063-2738-4FAF-A81C-7C959CA0D013}"/>
                </a:ext>
              </a:extLst>
            </p:cNvPr>
            <p:cNvSpPr/>
            <p:nvPr userDrawn="1"/>
          </p:nvSpPr>
          <p:spPr>
            <a:xfrm>
              <a:off x="-3603587" y="4267791"/>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4" name="Rechthoek 143">
              <a:extLst>
                <a:ext uri="{FF2B5EF4-FFF2-40B4-BE49-F238E27FC236}">
                  <a16:creationId xmlns:a16="http://schemas.microsoft.com/office/drawing/2014/main" id="{5FB46063-EF1D-4FAB-9321-BCFDF34D3D05}"/>
                </a:ext>
              </a:extLst>
            </p:cNvPr>
            <p:cNvSpPr/>
            <p:nvPr userDrawn="1"/>
          </p:nvSpPr>
          <p:spPr>
            <a:xfrm>
              <a:off x="-3319415" y="4267792"/>
              <a:ext cx="2944682" cy="8127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er voor te zorgen dat het logo in zijn originele verhouding staat,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het pijltje onder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an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5" name="Groep 144">
              <a:extLst>
                <a:ext uri="{FF2B5EF4-FFF2-40B4-BE49-F238E27FC236}">
                  <a16:creationId xmlns:a16="http://schemas.microsoft.com/office/drawing/2014/main" id="{2AE74C18-9D4B-46B5-9042-EF92A6E52533}"/>
                </a:ext>
              </a:extLst>
            </p:cNvPr>
            <p:cNvGrpSpPr/>
            <p:nvPr userDrawn="1"/>
          </p:nvGrpSpPr>
          <p:grpSpPr>
            <a:xfrm>
              <a:off x="-3314821" y="5192208"/>
              <a:ext cx="1108877" cy="563933"/>
              <a:chOff x="-3314821" y="3885197"/>
              <a:chExt cx="1108877" cy="563933"/>
            </a:xfrm>
          </p:grpSpPr>
          <p:sp>
            <p:nvSpPr>
              <p:cNvPr id="146" name="Rechthoek 145">
                <a:extLst>
                  <a:ext uri="{FF2B5EF4-FFF2-40B4-BE49-F238E27FC236}">
                    <a16:creationId xmlns:a16="http://schemas.microsoft.com/office/drawing/2014/main" id="{78F7646B-1CA5-40E1-B094-4DE79EBF2A08}"/>
                  </a:ext>
                </a:extLst>
              </p:cNvPr>
              <p:cNvSpPr/>
              <p:nvPr userDrawn="1"/>
            </p:nvSpPr>
            <p:spPr>
              <a:xfrm>
                <a:off x="-3314821" y="3885197"/>
                <a:ext cx="105560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2DB7306-0A91-4C6D-91D0-4898D35A278C}"/>
                  </a:ext>
                </a:extLst>
              </p:cNvPr>
              <p:cNvSpPr/>
              <p:nvPr userDrawn="1"/>
            </p:nvSpPr>
            <p:spPr>
              <a:xfrm>
                <a:off x="-3304718" y="4138922"/>
                <a:ext cx="1043588"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48" name="Tekstvak 147">
                <a:extLst>
                  <a:ext uri="{FF2B5EF4-FFF2-40B4-BE49-F238E27FC236}">
                    <a16:creationId xmlns:a16="http://schemas.microsoft.com/office/drawing/2014/main" id="{336D641F-F765-4D47-A174-70C9E8D0D404}"/>
                  </a:ext>
                </a:extLst>
              </p:cNvPr>
              <p:cNvSpPr txBox="1"/>
              <p:nvPr userDrawn="1"/>
            </p:nvSpPr>
            <p:spPr>
              <a:xfrm>
                <a:off x="-3069820" y="3949098"/>
                <a:ext cx="794156"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Opvullen</a:t>
                </a:r>
              </a:p>
            </p:txBody>
          </p:sp>
          <p:sp>
            <p:nvSpPr>
              <p:cNvPr id="149" name="Tekstvak 148">
                <a:extLst>
                  <a:ext uri="{FF2B5EF4-FFF2-40B4-BE49-F238E27FC236}">
                    <a16:creationId xmlns:a16="http://schemas.microsoft.com/office/drawing/2014/main" id="{AF81C77F-99F7-4CB0-B58D-09842372DBC3}"/>
                  </a:ext>
                </a:extLst>
              </p:cNvPr>
              <p:cNvSpPr txBox="1"/>
              <p:nvPr userDrawn="1"/>
            </p:nvSpPr>
            <p:spPr>
              <a:xfrm>
                <a:off x="-3069819" y="4199018"/>
                <a:ext cx="800912"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Aanpassen</a:t>
                </a:r>
              </a:p>
            </p:txBody>
          </p:sp>
          <p:sp>
            <p:nvSpPr>
              <p:cNvPr id="150" name="Vrije vorm: vorm 149">
                <a:extLst>
                  <a:ext uri="{FF2B5EF4-FFF2-40B4-BE49-F238E27FC236}">
                    <a16:creationId xmlns:a16="http://schemas.microsoft.com/office/drawing/2014/main" id="{AA1126A4-701F-4B91-B9FB-8084EDEC32CF}"/>
                  </a:ext>
                </a:extLst>
              </p:cNvPr>
              <p:cNvSpPr/>
              <p:nvPr userDrawn="1"/>
            </p:nvSpPr>
            <p:spPr>
              <a:xfrm>
                <a:off x="-2303506" y="426913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483D8FDE-714E-4126-A5C4-4DBBB3EADBCD}"/>
                  </a:ext>
                </a:extLst>
              </p:cNvPr>
              <p:cNvGrpSpPr/>
              <p:nvPr userDrawn="1"/>
            </p:nvGrpSpPr>
            <p:grpSpPr>
              <a:xfrm>
                <a:off x="-3254609" y="3946178"/>
                <a:ext cx="184194" cy="143334"/>
                <a:chOff x="6218544" y="2402421"/>
                <a:chExt cx="144156" cy="112178"/>
              </a:xfrm>
            </p:grpSpPr>
            <p:sp>
              <p:nvSpPr>
                <p:cNvPr id="157" name="Rechthoek 156">
                  <a:extLst>
                    <a:ext uri="{FF2B5EF4-FFF2-40B4-BE49-F238E27FC236}">
                      <a16:creationId xmlns:a16="http://schemas.microsoft.com/office/drawing/2014/main" id="{FED4A7B5-7450-4F69-9F8E-BFBCBC1759AF}"/>
                    </a:ext>
                  </a:extLst>
                </p:cNvPr>
                <p:cNvSpPr/>
                <p:nvPr userDrawn="1"/>
              </p:nvSpPr>
              <p:spPr>
                <a:xfrm>
                  <a:off x="6218544" y="2414588"/>
                  <a:ext cx="144156" cy="100011"/>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8" name="Rechthoek 47">
                  <a:extLst>
                    <a:ext uri="{FF2B5EF4-FFF2-40B4-BE49-F238E27FC236}">
                      <a16:creationId xmlns:a16="http://schemas.microsoft.com/office/drawing/2014/main" id="{0A02F641-6EFC-4E91-A16B-5F9DBE19806E}"/>
                    </a:ext>
                  </a:extLst>
                </p:cNvPr>
                <p:cNvSpPr/>
                <p:nvPr userDrawn="1"/>
              </p:nvSpPr>
              <p:spPr>
                <a:xfrm>
                  <a:off x="6224587" y="2445544"/>
                  <a:ext cx="95251" cy="6480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9" name="Rechthoek 47">
                  <a:extLst>
                    <a:ext uri="{FF2B5EF4-FFF2-40B4-BE49-F238E27FC236}">
                      <a16:creationId xmlns:a16="http://schemas.microsoft.com/office/drawing/2014/main" id="{43686462-68D7-479E-BE26-ADC9A7A3DFF0}"/>
                    </a:ext>
                  </a:extLst>
                </p:cNvPr>
                <p:cNvSpPr/>
                <p:nvPr userDrawn="1"/>
              </p:nvSpPr>
              <p:spPr>
                <a:xfrm>
                  <a:off x="6296025" y="2457450"/>
                  <a:ext cx="64294" cy="52388"/>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60" name="Koorde 159">
                  <a:extLst>
                    <a:ext uri="{FF2B5EF4-FFF2-40B4-BE49-F238E27FC236}">
                      <a16:creationId xmlns:a16="http://schemas.microsoft.com/office/drawing/2014/main" id="{1F887993-4D80-4B1B-9F89-11022EB0A533}"/>
                    </a:ext>
                  </a:extLst>
                </p:cNvPr>
                <p:cNvSpPr/>
                <p:nvPr userDrawn="1"/>
              </p:nvSpPr>
              <p:spPr>
                <a:xfrm>
                  <a:off x="6290536" y="2402421"/>
                  <a:ext cx="37785" cy="37785"/>
                </a:xfrm>
                <a:prstGeom prst="chord">
                  <a:avLst>
                    <a:gd name="adj1" fmla="val 21457318"/>
                    <a:gd name="adj2" fmla="val 11002272"/>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52" name="Groep 151">
                <a:extLst>
                  <a:ext uri="{FF2B5EF4-FFF2-40B4-BE49-F238E27FC236}">
                    <a16:creationId xmlns:a16="http://schemas.microsoft.com/office/drawing/2014/main" id="{AEB2A720-D8E7-462A-A3D9-5A2B1C458B20}"/>
                  </a:ext>
                </a:extLst>
              </p:cNvPr>
              <p:cNvGrpSpPr/>
              <p:nvPr userDrawn="1"/>
            </p:nvGrpSpPr>
            <p:grpSpPr>
              <a:xfrm>
                <a:off x="-3254609" y="4199853"/>
                <a:ext cx="184194" cy="124747"/>
                <a:chOff x="6218544" y="2636044"/>
                <a:chExt cx="144156" cy="97631"/>
              </a:xfrm>
            </p:grpSpPr>
            <p:sp>
              <p:nvSpPr>
                <p:cNvPr id="153" name="Rechthoek 152">
                  <a:extLst>
                    <a:ext uri="{FF2B5EF4-FFF2-40B4-BE49-F238E27FC236}">
                      <a16:creationId xmlns:a16="http://schemas.microsoft.com/office/drawing/2014/main" id="{4A8BAF38-66EE-49CF-9E08-53870CD41C8A}"/>
                    </a:ext>
                  </a:extLst>
                </p:cNvPr>
                <p:cNvSpPr/>
                <p:nvPr userDrawn="1"/>
              </p:nvSpPr>
              <p:spPr>
                <a:xfrm>
                  <a:off x="6218544" y="2636044"/>
                  <a:ext cx="144156" cy="92869"/>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4" name="Rechthoek 153">
                  <a:extLst>
                    <a:ext uri="{FF2B5EF4-FFF2-40B4-BE49-F238E27FC236}">
                      <a16:creationId xmlns:a16="http://schemas.microsoft.com/office/drawing/2014/main" id="{5B37CAA4-55E9-4C6C-A407-24DC8B935EE9}"/>
                    </a:ext>
                  </a:extLst>
                </p:cNvPr>
                <p:cNvSpPr/>
                <p:nvPr userDrawn="1"/>
              </p:nvSpPr>
              <p:spPr>
                <a:xfrm>
                  <a:off x="6249409" y="2636045"/>
                  <a:ext cx="85725" cy="97630"/>
                </a:xfrm>
                <a:prstGeom prst="rect">
                  <a:avLst/>
                </a:prstGeom>
                <a:solidFill>
                  <a:srgbClr val="F0F0F0"/>
                </a:solidFill>
                <a:ln w="9525">
                  <a:solidFill>
                    <a:srgbClr val="B7B4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5" name="Ovaal 154">
                  <a:extLst>
                    <a:ext uri="{FF2B5EF4-FFF2-40B4-BE49-F238E27FC236}">
                      <a16:creationId xmlns:a16="http://schemas.microsoft.com/office/drawing/2014/main" id="{06619973-BFF6-44F8-B734-9D033EFA4A99}"/>
                    </a:ext>
                  </a:extLst>
                </p:cNvPr>
                <p:cNvSpPr/>
                <p:nvPr userDrawn="1"/>
              </p:nvSpPr>
              <p:spPr>
                <a:xfrm>
                  <a:off x="6297938" y="2655636"/>
                  <a:ext cx="21328" cy="21328"/>
                </a:xfrm>
                <a:prstGeom prst="ellipse">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6" name="Rechthoek 47">
                  <a:extLst>
                    <a:ext uri="{FF2B5EF4-FFF2-40B4-BE49-F238E27FC236}">
                      <a16:creationId xmlns:a16="http://schemas.microsoft.com/office/drawing/2014/main" id="{A8C70D0A-5D59-4D31-B60F-60DE6944507A}"/>
                    </a:ext>
                  </a:extLst>
                </p:cNvPr>
                <p:cNvSpPr/>
                <p:nvPr userDrawn="1"/>
              </p:nvSpPr>
              <p:spPr>
                <a:xfrm>
                  <a:off x="6261434" y="2675670"/>
                  <a:ext cx="45896" cy="3778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400719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43">
          <p15:clr>
            <a:srgbClr val="FBAE40"/>
          </p15:clr>
        </p15:guide>
        <p15:guide id="2" pos="7537">
          <p15:clr>
            <a:srgbClr val="FBAE40"/>
          </p15:clr>
        </p15:guide>
        <p15:guide id="3" orient="horz" pos="142">
          <p15:clr>
            <a:srgbClr val="FBAE40"/>
          </p15:clr>
        </p15:guide>
        <p15:guide id="5" orient="horz" pos="417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Hoofdstukslide + foto #2">
    <p:spTree>
      <p:nvGrpSpPr>
        <p:cNvPr id="1" name=""/>
        <p:cNvGrpSpPr/>
        <p:nvPr/>
      </p:nvGrpSpPr>
      <p:grpSpPr>
        <a:xfrm>
          <a:off x="0" y="0"/>
          <a:ext cx="0" cy="0"/>
          <a:chOff x="0" y="0"/>
          <a:chExt cx="0" cy="0"/>
        </a:xfrm>
      </p:grpSpPr>
      <p:sp>
        <p:nvSpPr>
          <p:cNvPr id="93" name="Vrije vorm: vorm 92">
            <a:extLst>
              <a:ext uri="{FF2B5EF4-FFF2-40B4-BE49-F238E27FC236}">
                <a16:creationId xmlns:a16="http://schemas.microsoft.com/office/drawing/2014/main" id="{2283EC93-D09F-472C-A911-EE2C2FD388B5}"/>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216691" y="214427"/>
            <a:ext cx="11757821" cy="6424498"/>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2" name="Titel 1"/>
          <p:cNvSpPr>
            <a:spLocks noGrp="1"/>
          </p:cNvSpPr>
          <p:nvPr>
            <p:ph type="title" hasCustomPrompt="1"/>
          </p:nvPr>
        </p:nvSpPr>
        <p:spPr>
          <a:xfrm>
            <a:off x="1342800" y="1767900"/>
            <a:ext cx="4743450" cy="2994599"/>
          </a:xfrm>
        </p:spPr>
        <p:txBody>
          <a:bodyPr anchor="t"/>
          <a:lstStyle>
            <a:lvl1pPr>
              <a:defRPr sz="4000">
                <a:solidFill>
                  <a:srgbClr val="002857"/>
                </a:solidFill>
              </a:defRPr>
            </a:lvl1pPr>
          </a:lstStyle>
          <a:p>
            <a:r>
              <a:rPr lang="nl-NL"/>
              <a:t>Plaats hier je hoofdstuktitel,</a:t>
            </a:r>
            <a:br>
              <a:rPr lang="nl-NL"/>
            </a:br>
            <a:r>
              <a:rPr lang="nl-NL"/>
              <a:t>de tekst is altijd links uitgelijnd.</a:t>
            </a:r>
            <a:br>
              <a:rPr lang="nl-NL"/>
            </a:br>
            <a:r>
              <a:rPr lang="nl-NL"/>
              <a:t>Max. 5 regels.</a:t>
            </a:r>
          </a:p>
        </p:txBody>
      </p:sp>
      <p:grpSp>
        <p:nvGrpSpPr>
          <p:cNvPr id="22" name="INSTRUCTIE">
            <a:extLst>
              <a:ext uri="{FF2B5EF4-FFF2-40B4-BE49-F238E27FC236}">
                <a16:creationId xmlns:a16="http://schemas.microsoft.com/office/drawing/2014/main" id="{4CA6877F-9337-446A-B59D-713B197C85CA}"/>
              </a:ext>
            </a:extLst>
          </p:cNvPr>
          <p:cNvGrpSpPr/>
          <p:nvPr userDrawn="1"/>
        </p:nvGrpSpPr>
        <p:grpSpPr>
          <a:xfrm>
            <a:off x="12377867" y="0"/>
            <a:ext cx="3593091" cy="5624863"/>
            <a:chOff x="-3786165" y="0"/>
            <a:chExt cx="3593091" cy="5624863"/>
          </a:xfrm>
        </p:grpSpPr>
        <p:sp>
          <p:nvSpPr>
            <p:cNvPr id="23" name="Rechthoek 22">
              <a:extLst>
                <a:ext uri="{FF2B5EF4-FFF2-40B4-BE49-F238E27FC236}">
                  <a16:creationId xmlns:a16="http://schemas.microsoft.com/office/drawing/2014/main" id="{69940256-B636-407C-A36F-81D10FF02420}"/>
                </a:ext>
              </a:extLst>
            </p:cNvPr>
            <p:cNvSpPr/>
            <p:nvPr userDrawn="1"/>
          </p:nvSpPr>
          <p:spPr>
            <a:xfrm>
              <a:off x="-3786165" y="0"/>
              <a:ext cx="3593091" cy="5624863"/>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4" name="Ovaal 23">
              <a:extLst>
                <a:ext uri="{FF2B5EF4-FFF2-40B4-BE49-F238E27FC236}">
                  <a16:creationId xmlns:a16="http://schemas.microsoft.com/office/drawing/2014/main" id="{B510A22D-7D17-4C78-A04D-2E1ECD03F76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AF310A3B-F35B-406E-9FE0-73854C87FFF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6" name="Groep 25">
              <a:extLst>
                <a:ext uri="{FF2B5EF4-FFF2-40B4-BE49-F238E27FC236}">
                  <a16:creationId xmlns:a16="http://schemas.microsoft.com/office/drawing/2014/main" id="{4FB2E033-AF83-4B97-88B1-2DAA958B33ED}"/>
                </a:ext>
              </a:extLst>
            </p:cNvPr>
            <p:cNvGrpSpPr/>
            <p:nvPr userDrawn="1"/>
          </p:nvGrpSpPr>
          <p:grpSpPr>
            <a:xfrm>
              <a:off x="-3316179" y="1231351"/>
              <a:ext cx="294789" cy="318834"/>
              <a:chOff x="14466489" y="1001522"/>
              <a:chExt cx="290627" cy="314333"/>
            </a:xfrm>
          </p:grpSpPr>
          <p:sp>
            <p:nvSpPr>
              <p:cNvPr id="74" name="Rechthoek 73">
                <a:extLst>
                  <a:ext uri="{FF2B5EF4-FFF2-40B4-BE49-F238E27FC236}">
                    <a16:creationId xmlns:a16="http://schemas.microsoft.com/office/drawing/2014/main" id="{BAF0CD82-B071-4815-B683-AC116B1037C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5" name="Ovaal 74">
                <a:extLst>
                  <a:ext uri="{FF2B5EF4-FFF2-40B4-BE49-F238E27FC236}">
                    <a16:creationId xmlns:a16="http://schemas.microsoft.com/office/drawing/2014/main" id="{8C38C724-F48B-4E83-86D3-0D23020C2D0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6" name="Vrije vorm: vorm 75">
                <a:extLst>
                  <a:ext uri="{FF2B5EF4-FFF2-40B4-BE49-F238E27FC236}">
                    <a16:creationId xmlns:a16="http://schemas.microsoft.com/office/drawing/2014/main" id="{D424F71C-5C99-4C11-A311-2DBAADF3B16A}"/>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7" name="Rechthoek: afgeronde hoeken 76">
                <a:extLst>
                  <a:ext uri="{FF2B5EF4-FFF2-40B4-BE49-F238E27FC236}">
                    <a16:creationId xmlns:a16="http://schemas.microsoft.com/office/drawing/2014/main" id="{679C3995-C8A7-41F1-B591-219B95F99FA2}"/>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78" name="Rechte verbindingslijn 77">
                <a:extLst>
                  <a:ext uri="{FF2B5EF4-FFF2-40B4-BE49-F238E27FC236}">
                    <a16:creationId xmlns:a16="http://schemas.microsoft.com/office/drawing/2014/main" id="{1C921EE2-B7B9-403B-B823-4466B60AF7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id="{2E05EC7C-93A4-4668-860A-CA487197024F}"/>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 name="Ovaal 26">
              <a:extLst>
                <a:ext uri="{FF2B5EF4-FFF2-40B4-BE49-F238E27FC236}">
                  <a16:creationId xmlns:a16="http://schemas.microsoft.com/office/drawing/2014/main" id="{C7495A6D-887C-491F-A93F-0EFA2A3C22A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6BFF9703-A6E8-4AAE-A93A-682F3DE1DFF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9" name="Groep 28">
              <a:extLst>
                <a:ext uri="{FF2B5EF4-FFF2-40B4-BE49-F238E27FC236}">
                  <a16:creationId xmlns:a16="http://schemas.microsoft.com/office/drawing/2014/main" id="{5BA8F0F8-5A12-4CA6-8B5C-ED93E416228A}"/>
                </a:ext>
              </a:extLst>
            </p:cNvPr>
            <p:cNvGrpSpPr/>
            <p:nvPr userDrawn="1"/>
          </p:nvGrpSpPr>
          <p:grpSpPr>
            <a:xfrm>
              <a:off x="-3311319" y="2164285"/>
              <a:ext cx="825500" cy="209550"/>
              <a:chOff x="13504624" y="2482850"/>
              <a:chExt cx="825500" cy="209550"/>
            </a:xfrm>
          </p:grpSpPr>
          <p:sp>
            <p:nvSpPr>
              <p:cNvPr id="71" name="Rechthoek 70">
                <a:extLst>
                  <a:ext uri="{FF2B5EF4-FFF2-40B4-BE49-F238E27FC236}">
                    <a16:creationId xmlns:a16="http://schemas.microsoft.com/office/drawing/2014/main" id="{77018C16-BD44-414B-B906-17BDD073EA5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2" name="Rechte verbindingslijn 71">
                <a:extLst>
                  <a:ext uri="{FF2B5EF4-FFF2-40B4-BE49-F238E27FC236}">
                    <a16:creationId xmlns:a16="http://schemas.microsoft.com/office/drawing/2014/main" id="{382D5ED5-F769-4D7B-8CA1-58F958D3C3E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3" name="Gelijkbenige driehoek 72">
                <a:extLst>
                  <a:ext uri="{FF2B5EF4-FFF2-40B4-BE49-F238E27FC236}">
                    <a16:creationId xmlns:a16="http://schemas.microsoft.com/office/drawing/2014/main" id="{A4B1C29E-B2CC-4980-831F-ED3D9BC6A62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0" name="Ovaal 29">
              <a:extLst>
                <a:ext uri="{FF2B5EF4-FFF2-40B4-BE49-F238E27FC236}">
                  <a16:creationId xmlns:a16="http://schemas.microsoft.com/office/drawing/2014/main" id="{449F8F44-C5A0-4D91-AC44-4C28141291FF}"/>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1" name="Rechthoek 30">
              <a:extLst>
                <a:ext uri="{FF2B5EF4-FFF2-40B4-BE49-F238E27FC236}">
                  <a16:creationId xmlns:a16="http://schemas.microsoft.com/office/drawing/2014/main" id="{02D8F805-FBDC-4060-A5E1-DF2E5948B5A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2" name="Ovaal 31">
              <a:extLst>
                <a:ext uri="{FF2B5EF4-FFF2-40B4-BE49-F238E27FC236}">
                  <a16:creationId xmlns:a16="http://schemas.microsoft.com/office/drawing/2014/main" id="{B3CDF22B-612E-4D95-82FB-21C5220903CE}"/>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3" name="Rechthoek 32">
              <a:extLst>
                <a:ext uri="{FF2B5EF4-FFF2-40B4-BE49-F238E27FC236}">
                  <a16:creationId xmlns:a16="http://schemas.microsoft.com/office/drawing/2014/main" id="{76FAD9A9-55FB-48A8-A61D-A04C8C9A0F3F}"/>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4" name="Groep 33">
              <a:extLst>
                <a:ext uri="{FF2B5EF4-FFF2-40B4-BE49-F238E27FC236}">
                  <a16:creationId xmlns:a16="http://schemas.microsoft.com/office/drawing/2014/main" id="{F95ADA41-7484-4B9E-AB70-4DC9232B9206}"/>
                </a:ext>
              </a:extLst>
            </p:cNvPr>
            <p:cNvGrpSpPr/>
            <p:nvPr userDrawn="1"/>
          </p:nvGrpSpPr>
          <p:grpSpPr>
            <a:xfrm>
              <a:off x="-3408294" y="4834615"/>
              <a:ext cx="622283" cy="612919"/>
              <a:chOff x="12617641" y="3403239"/>
              <a:chExt cx="752963" cy="741634"/>
            </a:xfrm>
          </p:grpSpPr>
          <p:grpSp>
            <p:nvGrpSpPr>
              <p:cNvPr id="54" name="Groep 53">
                <a:extLst>
                  <a:ext uri="{FF2B5EF4-FFF2-40B4-BE49-F238E27FC236}">
                    <a16:creationId xmlns:a16="http://schemas.microsoft.com/office/drawing/2014/main" id="{1C013DC1-7732-4EFD-BA74-0C455355BA59}"/>
                  </a:ext>
                </a:extLst>
              </p:cNvPr>
              <p:cNvGrpSpPr/>
              <p:nvPr userDrawn="1"/>
            </p:nvGrpSpPr>
            <p:grpSpPr>
              <a:xfrm>
                <a:off x="12771550" y="3403239"/>
                <a:ext cx="467156" cy="448491"/>
                <a:chOff x="12782177" y="3403239"/>
                <a:chExt cx="467156" cy="448491"/>
              </a:xfrm>
            </p:grpSpPr>
            <p:grpSp>
              <p:nvGrpSpPr>
                <p:cNvPr id="57" name="Groep 56">
                  <a:extLst>
                    <a:ext uri="{FF2B5EF4-FFF2-40B4-BE49-F238E27FC236}">
                      <a16:creationId xmlns:a16="http://schemas.microsoft.com/office/drawing/2014/main" id="{B60E891D-4367-4DBA-A672-8CB97E861EB5}"/>
                    </a:ext>
                  </a:extLst>
                </p:cNvPr>
                <p:cNvGrpSpPr/>
                <p:nvPr userDrawn="1"/>
              </p:nvGrpSpPr>
              <p:grpSpPr>
                <a:xfrm>
                  <a:off x="12782177" y="3403239"/>
                  <a:ext cx="412972" cy="396132"/>
                  <a:chOff x="13554906" y="3320109"/>
                  <a:chExt cx="443912" cy="425811"/>
                </a:xfrm>
              </p:grpSpPr>
              <p:grpSp>
                <p:nvGrpSpPr>
                  <p:cNvPr id="65" name="Groep 64">
                    <a:extLst>
                      <a:ext uri="{FF2B5EF4-FFF2-40B4-BE49-F238E27FC236}">
                        <a16:creationId xmlns:a16="http://schemas.microsoft.com/office/drawing/2014/main" id="{3C8F1896-0675-4EC0-AF00-B0D3F61DAD67}"/>
                      </a:ext>
                    </a:extLst>
                  </p:cNvPr>
                  <p:cNvGrpSpPr/>
                  <p:nvPr userDrawn="1"/>
                </p:nvGrpSpPr>
                <p:grpSpPr>
                  <a:xfrm>
                    <a:off x="13554906" y="3320109"/>
                    <a:ext cx="443912" cy="425811"/>
                    <a:chOff x="12909684" y="1276143"/>
                    <a:chExt cx="443912" cy="425811"/>
                  </a:xfrm>
                </p:grpSpPr>
                <p:sp>
                  <p:nvSpPr>
                    <p:cNvPr id="68" name="Rechthoek 67">
                      <a:extLst>
                        <a:ext uri="{FF2B5EF4-FFF2-40B4-BE49-F238E27FC236}">
                          <a16:creationId xmlns:a16="http://schemas.microsoft.com/office/drawing/2014/main" id="{E4B1FEE6-A687-4CA2-ACC1-12BDD82792F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CC21C1F0-6E7D-4A72-B5BD-F2EAD55199E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0" name="Ovaal 69">
                      <a:extLst>
                        <a:ext uri="{FF2B5EF4-FFF2-40B4-BE49-F238E27FC236}">
                          <a16:creationId xmlns:a16="http://schemas.microsoft.com/office/drawing/2014/main" id="{28391B96-72C4-47A0-8F5A-00B076E8276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66" name="Afbeelding 65">
                    <a:extLst>
                      <a:ext uri="{FF2B5EF4-FFF2-40B4-BE49-F238E27FC236}">
                        <a16:creationId xmlns:a16="http://schemas.microsoft.com/office/drawing/2014/main" id="{183ADB42-A16A-49FB-8D3D-D4B06B216051}"/>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67" name="Afbeelding 66">
                    <a:extLst>
                      <a:ext uri="{FF2B5EF4-FFF2-40B4-BE49-F238E27FC236}">
                        <a16:creationId xmlns:a16="http://schemas.microsoft.com/office/drawing/2014/main" id="{E458561D-FF11-4EA0-AEAD-51084FFA76C3}"/>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58" name="Groep 57">
                  <a:extLst>
                    <a:ext uri="{FF2B5EF4-FFF2-40B4-BE49-F238E27FC236}">
                      <a16:creationId xmlns:a16="http://schemas.microsoft.com/office/drawing/2014/main" id="{7F0207D8-6C9A-42CC-8A96-4F770025CE0F}"/>
                    </a:ext>
                  </a:extLst>
                </p:cNvPr>
                <p:cNvGrpSpPr/>
                <p:nvPr userDrawn="1"/>
              </p:nvGrpSpPr>
              <p:grpSpPr>
                <a:xfrm>
                  <a:off x="13103513" y="3705268"/>
                  <a:ext cx="145820" cy="146462"/>
                  <a:chOff x="13096169" y="3602278"/>
                  <a:chExt cx="145820" cy="146462"/>
                </a:xfrm>
              </p:grpSpPr>
              <p:sp>
                <p:nvSpPr>
                  <p:cNvPr id="63" name="Rechthoek 62">
                    <a:extLst>
                      <a:ext uri="{FF2B5EF4-FFF2-40B4-BE49-F238E27FC236}">
                        <a16:creationId xmlns:a16="http://schemas.microsoft.com/office/drawing/2014/main" id="{31ACEC3A-2082-4465-AE8A-15751F1D224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BCAA9EE2-0E5A-4C1A-931B-B43DA4C4312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1F2EEB95-0575-4781-B1A4-8A446AE64A13}"/>
                    </a:ext>
                  </a:extLst>
                </p:cNvPr>
                <p:cNvGrpSpPr/>
                <p:nvPr userDrawn="1"/>
              </p:nvGrpSpPr>
              <p:grpSpPr>
                <a:xfrm rot="10800000">
                  <a:off x="13061402" y="3665637"/>
                  <a:ext cx="145820" cy="146462"/>
                  <a:chOff x="13096169" y="3602278"/>
                  <a:chExt cx="145820" cy="146462"/>
                </a:xfrm>
              </p:grpSpPr>
              <p:sp>
                <p:nvSpPr>
                  <p:cNvPr id="60" name="Rechthoek 59">
                    <a:extLst>
                      <a:ext uri="{FF2B5EF4-FFF2-40B4-BE49-F238E27FC236}">
                        <a16:creationId xmlns:a16="http://schemas.microsoft.com/office/drawing/2014/main" id="{2251AB06-5FF1-4959-94C8-E87B83888CB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2" name="Rechthoek 61">
                    <a:extLst>
                      <a:ext uri="{FF2B5EF4-FFF2-40B4-BE49-F238E27FC236}">
                        <a16:creationId xmlns:a16="http://schemas.microsoft.com/office/drawing/2014/main" id="{630914B4-2B5F-4D41-AD5A-D808DAEE600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55" name="Rechthoek 54">
                <a:extLst>
                  <a:ext uri="{FF2B5EF4-FFF2-40B4-BE49-F238E27FC236}">
                    <a16:creationId xmlns:a16="http://schemas.microsoft.com/office/drawing/2014/main" id="{D9DC797A-7966-4787-94FF-F8CEB3CBD0E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56" name="Gelijkbenige driehoek 55">
                <a:extLst>
                  <a:ext uri="{FF2B5EF4-FFF2-40B4-BE49-F238E27FC236}">
                    <a16:creationId xmlns:a16="http://schemas.microsoft.com/office/drawing/2014/main" id="{1239D2EB-07C9-4D19-B9FC-15102DA1CF2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CC35A679-536E-49F0-967B-0310DC20BB25}"/>
                </a:ext>
              </a:extLst>
            </p:cNvPr>
            <p:cNvGrpSpPr/>
            <p:nvPr userDrawn="1"/>
          </p:nvGrpSpPr>
          <p:grpSpPr>
            <a:xfrm>
              <a:off x="-3314821" y="2981448"/>
              <a:ext cx="1558053" cy="563933"/>
              <a:chOff x="-3314821" y="2981448"/>
              <a:chExt cx="1558053" cy="563933"/>
            </a:xfrm>
          </p:grpSpPr>
          <p:sp>
            <p:nvSpPr>
              <p:cNvPr id="39" name="Rechthoek 38">
                <a:extLst>
                  <a:ext uri="{FF2B5EF4-FFF2-40B4-BE49-F238E27FC236}">
                    <a16:creationId xmlns:a16="http://schemas.microsoft.com/office/drawing/2014/main" id="{52171BC1-5E7D-4168-9452-4D61E3EF746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EFF32EFD-2A5A-424F-B93D-09B920E99117}"/>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41" name="Tekstvak 40">
                <a:extLst>
                  <a:ext uri="{FF2B5EF4-FFF2-40B4-BE49-F238E27FC236}">
                    <a16:creationId xmlns:a16="http://schemas.microsoft.com/office/drawing/2014/main" id="{6B2D4BE2-37F4-4627-AF0C-86054AFEC8F6}"/>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voorgrond</a:t>
                </a:r>
              </a:p>
            </p:txBody>
          </p:sp>
          <p:sp>
            <p:nvSpPr>
              <p:cNvPr id="42" name="Tekstvak 41">
                <a:extLst>
                  <a:ext uri="{FF2B5EF4-FFF2-40B4-BE49-F238E27FC236}">
                    <a16:creationId xmlns:a16="http://schemas.microsoft.com/office/drawing/2014/main" id="{2D5041ED-8E0A-4657-8668-376BE4D4ACD2}"/>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achtergrond</a:t>
                </a:r>
              </a:p>
            </p:txBody>
          </p:sp>
          <p:sp>
            <p:nvSpPr>
              <p:cNvPr id="43" name="Vrije vorm: vorm 42">
                <a:extLst>
                  <a:ext uri="{FF2B5EF4-FFF2-40B4-BE49-F238E27FC236}">
                    <a16:creationId xmlns:a16="http://schemas.microsoft.com/office/drawing/2014/main" id="{123B18AC-44BD-490A-A5D3-FD8B4D7CB54C}"/>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sp>
            <p:nvSpPr>
              <p:cNvPr id="44" name="Gelijkbenige driehoek 43">
                <a:extLst>
                  <a:ext uri="{FF2B5EF4-FFF2-40B4-BE49-F238E27FC236}">
                    <a16:creationId xmlns:a16="http://schemas.microsoft.com/office/drawing/2014/main" id="{7838C905-D001-4721-978A-8FC09C9CA63C}"/>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5" name="Groep 44">
                <a:extLst>
                  <a:ext uri="{FF2B5EF4-FFF2-40B4-BE49-F238E27FC236}">
                    <a16:creationId xmlns:a16="http://schemas.microsoft.com/office/drawing/2014/main" id="{E7D93AE8-6CBD-419F-8942-D761BFEC2AEA}"/>
                  </a:ext>
                </a:extLst>
              </p:cNvPr>
              <p:cNvGrpSpPr/>
              <p:nvPr userDrawn="1"/>
            </p:nvGrpSpPr>
            <p:grpSpPr>
              <a:xfrm>
                <a:off x="-3257052" y="3032066"/>
                <a:ext cx="182309" cy="163794"/>
                <a:chOff x="12832541" y="3162395"/>
                <a:chExt cx="219532" cy="197236"/>
              </a:xfrm>
            </p:grpSpPr>
            <p:sp>
              <p:nvSpPr>
                <p:cNvPr id="50" name="Rechthoek 49">
                  <a:extLst>
                    <a:ext uri="{FF2B5EF4-FFF2-40B4-BE49-F238E27FC236}">
                      <a16:creationId xmlns:a16="http://schemas.microsoft.com/office/drawing/2014/main" id="{E1BCC782-D9BC-43C1-93D2-15F738A91674}"/>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969BD097-724A-49AC-B5FE-9AD773098F3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E75175D8-C5CF-4C2F-B069-D21F0402FB6A}"/>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071BFB5A-F3D1-4A59-9601-4AE9FF8D84BF}"/>
                  </a:ext>
                </a:extLst>
              </p:cNvPr>
              <p:cNvGrpSpPr/>
              <p:nvPr userDrawn="1"/>
            </p:nvGrpSpPr>
            <p:grpSpPr>
              <a:xfrm>
                <a:off x="-3257053" y="3276580"/>
                <a:ext cx="182309" cy="163794"/>
                <a:chOff x="12832541" y="3162395"/>
                <a:chExt cx="219532" cy="197236"/>
              </a:xfrm>
            </p:grpSpPr>
            <p:sp>
              <p:nvSpPr>
                <p:cNvPr id="47" name="Rechthoek 46">
                  <a:extLst>
                    <a:ext uri="{FF2B5EF4-FFF2-40B4-BE49-F238E27FC236}">
                      <a16:creationId xmlns:a16="http://schemas.microsoft.com/office/drawing/2014/main" id="{DEC5797C-8773-4073-83FA-773FF5DDD42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4E6DE92-E6AC-4C7F-872D-27D918D4A296}"/>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5B53D6CC-554A-4C04-85B6-506DCD0AC1F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grpSp>
      <p:grpSp>
        <p:nvGrpSpPr>
          <p:cNvPr id="94" name="INSTRUCTIE">
            <a:extLst>
              <a:ext uri="{FF2B5EF4-FFF2-40B4-BE49-F238E27FC236}">
                <a16:creationId xmlns:a16="http://schemas.microsoft.com/office/drawing/2014/main" id="{6C1C8E04-3760-4AA1-88D1-6748526FD888}"/>
              </a:ext>
            </a:extLst>
          </p:cNvPr>
          <p:cNvGrpSpPr/>
          <p:nvPr userDrawn="1"/>
        </p:nvGrpSpPr>
        <p:grpSpPr>
          <a:xfrm>
            <a:off x="8469641" y="7033211"/>
            <a:ext cx="3727954" cy="1728407"/>
            <a:chOff x="5846" y="7033211"/>
            <a:chExt cx="3727954" cy="1728407"/>
          </a:xfrm>
        </p:grpSpPr>
        <p:sp>
          <p:nvSpPr>
            <p:cNvPr id="95" name="Rechthoek 94">
              <a:extLst>
                <a:ext uri="{FF2B5EF4-FFF2-40B4-BE49-F238E27FC236}">
                  <a16:creationId xmlns:a16="http://schemas.microsoft.com/office/drawing/2014/main" id="{1F2DAC61-7685-4BF8-9627-3EE103212A23}"/>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96" name="Ovaal 95">
              <a:extLst>
                <a:ext uri="{FF2B5EF4-FFF2-40B4-BE49-F238E27FC236}">
                  <a16:creationId xmlns:a16="http://schemas.microsoft.com/office/drawing/2014/main" id="{6E6BD4BE-F42A-402E-B206-3CD053E6EB45}"/>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7" name="Rechthoek 96">
              <a:extLst>
                <a:ext uri="{FF2B5EF4-FFF2-40B4-BE49-F238E27FC236}">
                  <a16:creationId xmlns:a16="http://schemas.microsoft.com/office/drawing/2014/main" id="{92CA9016-BBB0-4D75-9285-C30FE33BEB18}"/>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8" name="Ovaal 97">
              <a:extLst>
                <a:ext uri="{FF2B5EF4-FFF2-40B4-BE49-F238E27FC236}">
                  <a16:creationId xmlns:a16="http://schemas.microsoft.com/office/drawing/2014/main" id="{BD4C3DC7-F4F2-4A6B-817E-F84D6BD40C7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9" name="Rechthoek 98">
              <a:extLst>
                <a:ext uri="{FF2B5EF4-FFF2-40B4-BE49-F238E27FC236}">
                  <a16:creationId xmlns:a16="http://schemas.microsoft.com/office/drawing/2014/main" id="{00DE19E0-6433-4C8C-859C-5DB2478B01A0}"/>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00" name="Groep 99">
              <a:extLst>
                <a:ext uri="{FF2B5EF4-FFF2-40B4-BE49-F238E27FC236}">
                  <a16:creationId xmlns:a16="http://schemas.microsoft.com/office/drawing/2014/main" id="{C3FA4AC7-CB8E-419B-ACA3-04C8EBD7213C}"/>
                </a:ext>
              </a:extLst>
            </p:cNvPr>
            <p:cNvGrpSpPr/>
            <p:nvPr userDrawn="1"/>
          </p:nvGrpSpPr>
          <p:grpSpPr>
            <a:xfrm>
              <a:off x="2939884" y="7739834"/>
              <a:ext cx="681133" cy="750023"/>
              <a:chOff x="-910573" y="4987990"/>
              <a:chExt cx="681133" cy="750023"/>
            </a:xfrm>
          </p:grpSpPr>
          <p:grpSp>
            <p:nvGrpSpPr>
              <p:cNvPr id="101" name="Groep 100">
                <a:extLst>
                  <a:ext uri="{FF2B5EF4-FFF2-40B4-BE49-F238E27FC236}">
                    <a16:creationId xmlns:a16="http://schemas.microsoft.com/office/drawing/2014/main" id="{78D5C66C-0B38-4AA3-8AE3-70E64C1C7FCD}"/>
                  </a:ext>
                </a:extLst>
              </p:cNvPr>
              <p:cNvGrpSpPr/>
              <p:nvPr userDrawn="1"/>
            </p:nvGrpSpPr>
            <p:grpSpPr>
              <a:xfrm>
                <a:off x="-713542" y="4987990"/>
                <a:ext cx="287071" cy="379107"/>
                <a:chOff x="-4050578" y="288410"/>
                <a:chExt cx="322125" cy="379107"/>
              </a:xfrm>
            </p:grpSpPr>
            <p:sp>
              <p:nvSpPr>
                <p:cNvPr id="103" name="Rechthoek met één afgeknipte en afgeronde hoek 47">
                  <a:extLst>
                    <a:ext uri="{FF2B5EF4-FFF2-40B4-BE49-F238E27FC236}">
                      <a16:creationId xmlns:a16="http://schemas.microsoft.com/office/drawing/2014/main" id="{B66A13D5-3485-4C9D-BEB2-0DACF286BE2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4" name="Rechthoekige driehoek 103">
                  <a:extLst>
                    <a:ext uri="{FF2B5EF4-FFF2-40B4-BE49-F238E27FC236}">
                      <a16:creationId xmlns:a16="http://schemas.microsoft.com/office/drawing/2014/main" id="{42244468-7363-414D-8161-1DC8E4EE73AE}"/>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5" name="Rechthoek 104">
                  <a:extLst>
                    <a:ext uri="{FF2B5EF4-FFF2-40B4-BE49-F238E27FC236}">
                      <a16:creationId xmlns:a16="http://schemas.microsoft.com/office/drawing/2014/main" id="{7B94AF60-171D-4FFC-A57F-1427FDB5CFD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6" name="Rechthoek 105">
                  <a:extLst>
                    <a:ext uri="{FF2B5EF4-FFF2-40B4-BE49-F238E27FC236}">
                      <a16:creationId xmlns:a16="http://schemas.microsoft.com/office/drawing/2014/main" id="{E8D76091-E1D7-492B-99C8-FE1A54BFA45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02" name="Rechthoek 101">
                <a:extLst>
                  <a:ext uri="{FF2B5EF4-FFF2-40B4-BE49-F238E27FC236}">
                    <a16:creationId xmlns:a16="http://schemas.microsoft.com/office/drawing/2014/main" id="{B3E8EAC5-D751-4230-A44E-DE668613827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81" name="Tijdelijke aanduiding voor verticale tekst 2">
            <a:extLst>
              <a:ext uri="{FF2B5EF4-FFF2-40B4-BE49-F238E27FC236}">
                <a16:creationId xmlns:a16="http://schemas.microsoft.com/office/drawing/2014/main" id="{CAF6FA28-C3A3-4B1E-9A95-10719E0CA843}"/>
              </a:ext>
            </a:extLst>
          </p:cNvPr>
          <p:cNvSpPr>
            <a:spLocks noGrp="1"/>
          </p:cNvSpPr>
          <p:nvPr>
            <p:ph type="body" orient="vert" idx="13" hasCustomPrompt="1"/>
          </p:nvPr>
        </p:nvSpPr>
        <p:spPr>
          <a:xfrm>
            <a:off x="514800" y="511200"/>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393882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46">
          <p15:clr>
            <a:srgbClr val="9FCC3B"/>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ussenslide_korte titel_paars">
    <p:spTree>
      <p:nvGrpSpPr>
        <p:cNvPr id="1" name=""/>
        <p:cNvGrpSpPr/>
        <p:nvPr/>
      </p:nvGrpSpPr>
      <p:grpSpPr>
        <a:xfrm>
          <a:off x="0" y="0"/>
          <a:ext cx="0" cy="0"/>
          <a:chOff x="0" y="0"/>
          <a:chExt cx="0" cy="0"/>
        </a:xfrm>
      </p:grpSpPr>
      <p:pic>
        <p:nvPicPr>
          <p:cNvPr id="6" name="Afbeelding 5" descr="Afbeelding met buiten&#10;&#10;&#10;&#10;Automatisch gegenereerde beschrijving">
            <a:extLst>
              <a:ext uri="{FF2B5EF4-FFF2-40B4-BE49-F238E27FC236}">
                <a16:creationId xmlns:a16="http://schemas.microsoft.com/office/drawing/2014/main" id="{987A18D6-186D-4B62-BD91-A5EB556664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359"/>
            <a:ext cx="12192000" cy="6851283"/>
          </a:xfrm>
          <a:prstGeom prst="rect">
            <a:avLst/>
          </a:prstGeom>
        </p:spPr>
      </p:pic>
      <p:sp>
        <p:nvSpPr>
          <p:cNvPr id="8" name="Tijdelijke aanduiding voor tekst 4">
            <a:extLst>
              <a:ext uri="{FF2B5EF4-FFF2-40B4-BE49-F238E27FC236}">
                <a16:creationId xmlns:a16="http://schemas.microsoft.com/office/drawing/2014/main" id="{6E154D41-1D49-4BF6-B8B3-513AA9F846B5}"/>
              </a:ext>
            </a:extLst>
          </p:cNvPr>
          <p:cNvSpPr>
            <a:spLocks noGrp="1"/>
          </p:cNvSpPr>
          <p:nvPr>
            <p:ph type="body" sz="quarter" idx="12" hasCustomPrompt="1"/>
          </p:nvPr>
        </p:nvSpPr>
        <p:spPr>
          <a:xfrm>
            <a:off x="2627934" y="2312057"/>
            <a:ext cx="6855480" cy="2164786"/>
          </a:xfrm>
          <a:prstGeom prst="rect">
            <a:avLst/>
          </a:prstGeom>
        </p:spPr>
        <p:txBody>
          <a:bodyPr/>
          <a:lstStyle>
            <a:lvl1pPr indent="-483626" algn="ctr">
              <a:lnSpc>
                <a:spcPts val="7616"/>
              </a:lnSpc>
              <a:defRPr sz="7616">
                <a:solidFill>
                  <a:schemeClr val="bg1"/>
                </a:solidFill>
              </a:defRPr>
            </a:lvl1pPr>
            <a:lvl2pPr>
              <a:defRPr sz="7616">
                <a:solidFill>
                  <a:schemeClr val="bg1"/>
                </a:solidFill>
              </a:defRPr>
            </a:lvl2pPr>
            <a:lvl3pPr>
              <a:defRPr sz="7616">
                <a:solidFill>
                  <a:schemeClr val="bg1"/>
                </a:solidFill>
              </a:defRPr>
            </a:lvl3pPr>
            <a:lvl4pPr>
              <a:defRPr sz="7616">
                <a:solidFill>
                  <a:schemeClr val="bg1"/>
                </a:solidFill>
              </a:defRPr>
            </a:lvl4pPr>
            <a:lvl5pPr>
              <a:defRPr sz="7616">
                <a:solidFill>
                  <a:schemeClr val="bg1"/>
                </a:solidFill>
              </a:defRPr>
            </a:lvl5pPr>
          </a:lstStyle>
          <a:p>
            <a:pPr lvl="0"/>
            <a:r>
              <a:rPr lang="nl-NL" dirty="0"/>
              <a:t>Tussenslide met korte titel</a:t>
            </a:r>
          </a:p>
        </p:txBody>
      </p:sp>
    </p:spTree>
    <p:extLst>
      <p:ext uri="{BB962C8B-B14F-4D97-AF65-F5344CB8AC3E}">
        <p14:creationId xmlns:p14="http://schemas.microsoft.com/office/powerpoint/2010/main" val="32172648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Hoofdstukslide #2">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A955C48F-37A2-4992-AF99-D9495BEBD40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D8322E68-65DE-4C3D-920A-6388A674D2C5}"/>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02AFC8D8-BC22-408E-88A4-BAC99A7CA89D}"/>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273256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93A2FC-5DC4-4D80-AAC3-D437DAB4EE8E}"/>
              </a:ext>
            </a:extLst>
          </p:cNvPr>
          <p:cNvGraphicFramePr>
            <a:graphicFrameLocks noChangeAspect="1"/>
          </p:cNvGraphicFramePr>
          <p:nvPr userDrawn="1">
            <p:custDataLst>
              <p:tags r:id="rId1"/>
            </p:custDataLst>
            <p:extLst>
              <p:ext uri="{D42A27DB-BD31-4B8C-83A1-F6EECF244321}">
                <p14:modId xmlns:p14="http://schemas.microsoft.com/office/powerpoint/2010/main" val="360756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13" progId="TCLayout.ActiveDocument.1">
                  <p:embed/>
                </p:oleObj>
              </mc:Choice>
              <mc:Fallback>
                <p:oleObj name="think-cell Slide" r:id="rId3" imgW="327" imgH="313" progId="TCLayout.ActiveDocument.1">
                  <p:embed/>
                  <p:pic>
                    <p:nvPicPr>
                      <p:cNvPr id="4" name="Object 3" hidden="1">
                        <a:extLst>
                          <a:ext uri="{FF2B5EF4-FFF2-40B4-BE49-F238E27FC236}">
                            <a16:creationId xmlns:a16="http://schemas.microsoft.com/office/drawing/2014/main" id="{C893A2FC-5DC4-4D80-AAC3-D437DAB4EE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515938" y="512763"/>
            <a:ext cx="11149004" cy="415498"/>
          </a:xfrm>
        </p:spPr>
        <p:txBody>
          <a:bodyPr vert="horz" lIns="0" tIns="0" rIns="0" bIns="0" anchor="ctr"/>
          <a:lstStyle>
            <a:lvl1pPr algn="l">
              <a:defRPr/>
            </a:lvl1pPr>
          </a:lstStyle>
          <a:p>
            <a:r>
              <a:rPr lang="nl-NL"/>
              <a:t>Plaats hier je titel</a:t>
            </a:r>
          </a:p>
        </p:txBody>
      </p:sp>
      <p:sp>
        <p:nvSpPr>
          <p:cNvPr id="11" name="Text Placeholder 10">
            <a:extLst>
              <a:ext uri="{FF2B5EF4-FFF2-40B4-BE49-F238E27FC236}">
                <a16:creationId xmlns:a16="http://schemas.microsoft.com/office/drawing/2014/main" id="{B4F06695-1263-472C-A992-0DB433015C60}"/>
              </a:ext>
            </a:extLst>
          </p:cNvPr>
          <p:cNvSpPr>
            <a:spLocks noGrp="1"/>
          </p:cNvSpPr>
          <p:nvPr>
            <p:ph type="body" sz="quarter" idx="10" hasCustomPrompt="1"/>
          </p:nvPr>
        </p:nvSpPr>
        <p:spPr>
          <a:xfrm>
            <a:off x="515938" y="6510313"/>
            <a:ext cx="9468000" cy="138499"/>
          </a:xfrm>
        </p:spPr>
        <p:txBody>
          <a:bodyPr wrap="square" lIns="0" tIns="0" rIns="0" bIns="0" anchor="b">
            <a:spAutoFit/>
          </a:bodyPr>
          <a:lstStyle>
            <a:lvl1pPr>
              <a:defRPr sz="900">
                <a:solidFill>
                  <a:schemeClr val="bg2"/>
                </a:solidFill>
              </a:defRPr>
            </a:lvl1pPr>
          </a:lstStyle>
          <a:p>
            <a:pPr lvl="0"/>
            <a:r>
              <a:rPr lang="en-US" err="1"/>
              <a:t>Voetnoten</a:t>
            </a:r>
            <a:endParaRPr lang="en-US"/>
          </a:p>
        </p:txBody>
      </p:sp>
      <p:sp>
        <p:nvSpPr>
          <p:cNvPr id="3" name="pto_graph_layout">
            <a:extLst>
              <a:ext uri="{FF2B5EF4-FFF2-40B4-BE49-F238E27FC236}">
                <a16:creationId xmlns:a16="http://schemas.microsoft.com/office/drawing/2014/main" id="{970A1CF3-1E11-43A9-B2DF-FD45B0454ECC}"/>
              </a:ext>
            </a:extLst>
          </p:cNvPr>
          <p:cNvSpPr>
            <a:spLocks noGrp="1"/>
          </p:cNvSpPr>
          <p:nvPr>
            <p:ph type="body" sz="quarter" idx="11" hasCustomPrompt="1"/>
          </p:nvPr>
        </p:nvSpPr>
        <p:spPr>
          <a:xfrm rot="5400000">
            <a:off x="-1616710" y="3695700"/>
            <a:ext cx="2971800" cy="63500"/>
          </a:xfrm>
          <a:prstGeom prst="rect">
            <a:avLst/>
          </a:prstGeom>
          <a:solidFill>
            <a:srgbClr val="00FF00"/>
          </a:solidFill>
        </p:spPr>
        <p:txBody>
          <a:bodyPr/>
          <a:lstStyle>
            <a:lvl1pPr>
              <a:defRPr sz="100"/>
            </a:lvl1pPr>
          </a:lstStyle>
          <a:p>
            <a:pPr lvl="0"/>
            <a:r>
              <a:rPr lang="en-US"/>
              <a:t>...</a:t>
            </a:r>
          </a:p>
        </p:txBody>
      </p:sp>
      <p:sp>
        <p:nvSpPr>
          <p:cNvPr id="5" name="pto_graph_layout">
            <a:extLst>
              <a:ext uri="{FF2B5EF4-FFF2-40B4-BE49-F238E27FC236}">
                <a16:creationId xmlns:a16="http://schemas.microsoft.com/office/drawing/2014/main" id="{70EC27ED-2B43-49E8-8FA7-3F229791CEC7}"/>
              </a:ext>
            </a:extLst>
          </p:cNvPr>
          <p:cNvSpPr>
            <a:spLocks noGrp="1"/>
          </p:cNvSpPr>
          <p:nvPr>
            <p:ph type="body" sz="quarter" idx="12" hasCustomPrompt="1"/>
          </p:nvPr>
        </p:nvSpPr>
        <p:spPr>
          <a:xfrm>
            <a:off x="837400" y="6906413"/>
            <a:ext cx="3544888" cy="63500"/>
          </a:xfrm>
          <a:prstGeom prst="rect">
            <a:avLst/>
          </a:prstGeom>
          <a:solidFill>
            <a:srgbClr val="00FF00"/>
          </a:solidFill>
        </p:spPr>
        <p:txBody>
          <a:bodyPr/>
          <a:lstStyle>
            <a:lvl1pPr>
              <a:defRPr sz="100"/>
            </a:lvl1pPr>
          </a:lstStyle>
          <a:p>
            <a:pPr lvl="0"/>
            <a:r>
              <a:rPr lang="en-US"/>
              <a:t>...</a:t>
            </a:r>
          </a:p>
        </p:txBody>
      </p:sp>
      <p:sp>
        <p:nvSpPr>
          <p:cNvPr id="6" name="pto_graph_layout">
            <a:extLst>
              <a:ext uri="{FF2B5EF4-FFF2-40B4-BE49-F238E27FC236}">
                <a16:creationId xmlns:a16="http://schemas.microsoft.com/office/drawing/2014/main" id="{B2B8E5D3-C140-42A8-BD53-F0EDFCC64D04}"/>
              </a:ext>
            </a:extLst>
          </p:cNvPr>
          <p:cNvSpPr>
            <a:spLocks noGrp="1"/>
          </p:cNvSpPr>
          <p:nvPr>
            <p:ph type="body" sz="quarter" idx="13" hasCustomPrompt="1"/>
          </p:nvPr>
        </p:nvSpPr>
        <p:spPr>
          <a:xfrm>
            <a:off x="5523700" y="6906413"/>
            <a:ext cx="3544888" cy="63500"/>
          </a:xfrm>
          <a:prstGeom prst="rect">
            <a:avLst/>
          </a:prstGeom>
          <a:solidFill>
            <a:srgbClr val="00FF00"/>
          </a:solidFill>
        </p:spPr>
        <p:txBody>
          <a:bodyPr/>
          <a:lstStyle>
            <a:lvl1pPr>
              <a:defRPr sz="100"/>
            </a:lvl1pPr>
          </a:lstStyle>
          <a:p>
            <a:pPr lvl="0"/>
            <a:r>
              <a:rPr lang="en-US"/>
              <a:t>...</a:t>
            </a:r>
          </a:p>
        </p:txBody>
      </p:sp>
    </p:spTree>
    <p:extLst>
      <p:ext uri="{BB962C8B-B14F-4D97-AF65-F5344CB8AC3E}">
        <p14:creationId xmlns:p14="http://schemas.microsoft.com/office/powerpoint/2010/main" val="42229740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Hoofdstukslide #3">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F6227FD2-B578-478B-A310-03FEBDD94062}"/>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CEEDEE94-BDE2-404D-B28C-200426989E71}"/>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DE713034-7D04-4C46-B4AF-8D21A6C50523}"/>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219546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eldia">
    <p:bg>
      <p:bgPr>
        <a:solidFill>
          <a:srgbClr val="3F7C9B"/>
        </a:solidFill>
        <a:effectLst/>
      </p:bgPr>
    </p:bg>
    <p:spTree>
      <p:nvGrpSpPr>
        <p:cNvPr id="1" name=""/>
        <p:cNvGrpSpPr/>
        <p:nvPr/>
      </p:nvGrpSpPr>
      <p:grpSpPr>
        <a:xfrm>
          <a:off x="0" y="0"/>
          <a:ext cx="0" cy="0"/>
          <a:chOff x="0" y="0"/>
          <a:chExt cx="0" cy="0"/>
        </a:xfrm>
      </p:grpSpPr>
      <p:sp>
        <p:nvSpPr>
          <p:cNvPr id="9" name="Freeform 6"/>
          <p:cNvSpPr>
            <a:spLocks noSelect="1"/>
          </p:cNvSpPr>
          <p:nvPr userDrawn="1"/>
        </p:nvSpPr>
        <p:spPr bwMode="auto">
          <a:xfrm>
            <a:off x="0" y="0"/>
            <a:ext cx="11380788" cy="6858000"/>
          </a:xfrm>
          <a:custGeom>
            <a:avLst/>
            <a:gdLst>
              <a:gd name="T0" fmla="*/ 34525 w 35846"/>
              <a:gd name="T1" fmla="*/ 10375 h 21600"/>
              <a:gd name="T2" fmla="*/ 29683 w 35846"/>
              <a:gd name="T3" fmla="*/ 894 h 21600"/>
              <a:gd name="T4" fmla="*/ 29089 w 35846"/>
              <a:gd name="T5" fmla="*/ 0 h 21600"/>
              <a:gd name="T6" fmla="*/ 15840 w 35846"/>
              <a:gd name="T7" fmla="*/ 0 h 21600"/>
              <a:gd name="T8" fmla="*/ 3266 w 35846"/>
              <a:gd name="T9" fmla="*/ 0 h 21600"/>
              <a:gd name="T10" fmla="*/ 0 w 35846"/>
              <a:gd name="T11" fmla="*/ 0 h 21600"/>
              <a:gd name="T12" fmla="*/ 0 w 35846"/>
              <a:gd name="T13" fmla="*/ 2257 h 21600"/>
              <a:gd name="T14" fmla="*/ 0 w 35846"/>
              <a:gd name="T15" fmla="*/ 19312 h 21600"/>
              <a:gd name="T16" fmla="*/ 0 w 35846"/>
              <a:gd name="T17" fmla="*/ 21600 h 21600"/>
              <a:gd name="T18" fmla="*/ 2065 w 35846"/>
              <a:gd name="T19" fmla="*/ 21600 h 21600"/>
              <a:gd name="T20" fmla="*/ 15840 w 35846"/>
              <a:gd name="T21" fmla="*/ 21600 h 21600"/>
              <a:gd name="T22" fmla="*/ 17380 w 35846"/>
              <a:gd name="T23" fmla="*/ 21600 h 21600"/>
              <a:gd name="T24" fmla="*/ 31764 w 35846"/>
              <a:gd name="T25" fmla="*/ 17003 h 21600"/>
              <a:gd name="T26" fmla="*/ 34525 w 35846"/>
              <a:gd name="T27" fmla="*/ 10375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46" h="21600">
                <a:moveTo>
                  <a:pt x="34525" y="10375"/>
                </a:moveTo>
                <a:cubicBezTo>
                  <a:pt x="29683" y="894"/>
                  <a:pt x="29683" y="894"/>
                  <a:pt x="29683" y="894"/>
                </a:cubicBezTo>
                <a:cubicBezTo>
                  <a:pt x="29519" y="574"/>
                  <a:pt x="29320" y="274"/>
                  <a:pt x="29089" y="0"/>
                </a:cubicBezTo>
                <a:cubicBezTo>
                  <a:pt x="15840" y="0"/>
                  <a:pt x="15840" y="0"/>
                  <a:pt x="15840" y="0"/>
                </a:cubicBezTo>
                <a:cubicBezTo>
                  <a:pt x="3266" y="0"/>
                  <a:pt x="3266" y="0"/>
                  <a:pt x="3266" y="0"/>
                </a:cubicBezTo>
                <a:cubicBezTo>
                  <a:pt x="0" y="0"/>
                  <a:pt x="0" y="0"/>
                  <a:pt x="0" y="0"/>
                </a:cubicBezTo>
                <a:cubicBezTo>
                  <a:pt x="0" y="2257"/>
                  <a:pt x="0" y="2257"/>
                  <a:pt x="0" y="2257"/>
                </a:cubicBezTo>
                <a:cubicBezTo>
                  <a:pt x="0" y="19312"/>
                  <a:pt x="0" y="19312"/>
                  <a:pt x="0" y="19312"/>
                </a:cubicBezTo>
                <a:cubicBezTo>
                  <a:pt x="0" y="21600"/>
                  <a:pt x="0" y="21600"/>
                  <a:pt x="0" y="21600"/>
                </a:cubicBezTo>
                <a:cubicBezTo>
                  <a:pt x="2065" y="21600"/>
                  <a:pt x="2065" y="21600"/>
                  <a:pt x="2065" y="21600"/>
                </a:cubicBezTo>
                <a:cubicBezTo>
                  <a:pt x="15840" y="21600"/>
                  <a:pt x="15840" y="21600"/>
                  <a:pt x="15840" y="21600"/>
                </a:cubicBezTo>
                <a:cubicBezTo>
                  <a:pt x="17380" y="21600"/>
                  <a:pt x="17380" y="21600"/>
                  <a:pt x="17380" y="21600"/>
                </a:cubicBezTo>
                <a:cubicBezTo>
                  <a:pt x="31764" y="17003"/>
                  <a:pt x="31764" y="17003"/>
                  <a:pt x="31764" y="17003"/>
                </a:cubicBezTo>
                <a:cubicBezTo>
                  <a:pt x="34532" y="16118"/>
                  <a:pt x="35846" y="12963"/>
                  <a:pt x="34525" y="10375"/>
                </a:cubicBez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Freeform 7"/>
          <p:cNvSpPr>
            <a:spLocks noSelect="1"/>
          </p:cNvSpPr>
          <p:nvPr userDrawn="1"/>
        </p:nvSpPr>
        <p:spPr bwMode="auto">
          <a:xfrm>
            <a:off x="11193463" y="534988"/>
            <a:ext cx="160338" cy="184150"/>
          </a:xfrm>
          <a:custGeom>
            <a:avLst/>
            <a:gdLst>
              <a:gd name="T0" fmla="*/ 25 w 504"/>
              <a:gd name="T1" fmla="*/ 0 h 581"/>
              <a:gd name="T2" fmla="*/ 104 w 504"/>
              <a:gd name="T3" fmla="*/ 0 h 581"/>
              <a:gd name="T4" fmla="*/ 124 w 504"/>
              <a:gd name="T5" fmla="*/ 10 h 581"/>
              <a:gd name="T6" fmla="*/ 381 w 504"/>
              <a:gd name="T7" fmla="*/ 363 h 581"/>
              <a:gd name="T8" fmla="*/ 391 w 504"/>
              <a:gd name="T9" fmla="*/ 368 h 581"/>
              <a:gd name="T10" fmla="*/ 419 w 504"/>
              <a:gd name="T11" fmla="*/ 368 h 581"/>
              <a:gd name="T12" fmla="*/ 432 w 504"/>
              <a:gd name="T13" fmla="*/ 355 h 581"/>
              <a:gd name="T14" fmla="*/ 432 w 504"/>
              <a:gd name="T15" fmla="*/ 25 h 581"/>
              <a:gd name="T16" fmla="*/ 458 w 504"/>
              <a:gd name="T17" fmla="*/ 0 h 581"/>
              <a:gd name="T18" fmla="*/ 478 w 504"/>
              <a:gd name="T19" fmla="*/ 0 h 581"/>
              <a:gd name="T20" fmla="*/ 504 w 504"/>
              <a:gd name="T21" fmla="*/ 25 h 581"/>
              <a:gd name="T22" fmla="*/ 504 w 504"/>
              <a:gd name="T23" fmla="*/ 555 h 581"/>
              <a:gd name="T24" fmla="*/ 478 w 504"/>
              <a:gd name="T25" fmla="*/ 581 h 581"/>
              <a:gd name="T26" fmla="*/ 399 w 504"/>
              <a:gd name="T27" fmla="*/ 581 h 581"/>
              <a:gd name="T28" fmla="*/ 378 w 504"/>
              <a:gd name="T29" fmla="*/ 571 h 581"/>
              <a:gd name="T30" fmla="*/ 122 w 504"/>
              <a:gd name="T31" fmla="*/ 218 h 581"/>
              <a:gd name="T32" fmla="*/ 111 w 504"/>
              <a:gd name="T33" fmla="*/ 213 h 581"/>
              <a:gd name="T34" fmla="*/ 83 w 504"/>
              <a:gd name="T35" fmla="*/ 213 h 581"/>
              <a:gd name="T36" fmla="*/ 70 w 504"/>
              <a:gd name="T37" fmla="*/ 226 h 581"/>
              <a:gd name="T38" fmla="*/ 70 w 504"/>
              <a:gd name="T39" fmla="*/ 555 h 581"/>
              <a:gd name="T40" fmla="*/ 44 w 504"/>
              <a:gd name="T41" fmla="*/ 581 h 581"/>
              <a:gd name="T42" fmla="*/ 25 w 504"/>
              <a:gd name="T43" fmla="*/ 581 h 581"/>
              <a:gd name="T44" fmla="*/ 0 w 504"/>
              <a:gd name="T45" fmla="*/ 555 h 581"/>
              <a:gd name="T46" fmla="*/ 0 w 504"/>
              <a:gd name="T47" fmla="*/ 25 h 581"/>
              <a:gd name="T48" fmla="*/ 25 w 504"/>
              <a:gd name="T4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4" h="581">
                <a:moveTo>
                  <a:pt x="25" y="0"/>
                </a:moveTo>
                <a:cubicBezTo>
                  <a:pt x="104" y="0"/>
                  <a:pt x="104" y="0"/>
                  <a:pt x="104" y="0"/>
                </a:cubicBezTo>
                <a:cubicBezTo>
                  <a:pt x="112" y="0"/>
                  <a:pt x="120" y="4"/>
                  <a:pt x="124" y="10"/>
                </a:cubicBezTo>
                <a:cubicBezTo>
                  <a:pt x="381" y="363"/>
                  <a:pt x="381" y="363"/>
                  <a:pt x="381" y="363"/>
                </a:cubicBezTo>
                <a:cubicBezTo>
                  <a:pt x="383" y="366"/>
                  <a:pt x="387" y="368"/>
                  <a:pt x="391" y="368"/>
                </a:cubicBezTo>
                <a:cubicBezTo>
                  <a:pt x="419" y="368"/>
                  <a:pt x="419" y="368"/>
                  <a:pt x="419" y="368"/>
                </a:cubicBezTo>
                <a:cubicBezTo>
                  <a:pt x="426" y="368"/>
                  <a:pt x="432" y="362"/>
                  <a:pt x="432" y="355"/>
                </a:cubicBezTo>
                <a:cubicBezTo>
                  <a:pt x="432" y="25"/>
                  <a:pt x="432" y="25"/>
                  <a:pt x="432" y="25"/>
                </a:cubicBezTo>
                <a:cubicBezTo>
                  <a:pt x="432" y="11"/>
                  <a:pt x="444" y="0"/>
                  <a:pt x="458" y="0"/>
                </a:cubicBezTo>
                <a:cubicBezTo>
                  <a:pt x="478" y="0"/>
                  <a:pt x="478" y="0"/>
                  <a:pt x="478" y="0"/>
                </a:cubicBezTo>
                <a:cubicBezTo>
                  <a:pt x="492" y="0"/>
                  <a:pt x="504" y="11"/>
                  <a:pt x="504" y="25"/>
                </a:cubicBezTo>
                <a:cubicBezTo>
                  <a:pt x="504" y="555"/>
                  <a:pt x="504" y="555"/>
                  <a:pt x="504" y="555"/>
                </a:cubicBezTo>
                <a:cubicBezTo>
                  <a:pt x="504" y="570"/>
                  <a:pt x="492" y="581"/>
                  <a:pt x="478" y="581"/>
                </a:cubicBezTo>
                <a:cubicBezTo>
                  <a:pt x="399" y="581"/>
                  <a:pt x="399" y="581"/>
                  <a:pt x="399" y="581"/>
                </a:cubicBezTo>
                <a:cubicBezTo>
                  <a:pt x="390" y="581"/>
                  <a:pt x="382" y="577"/>
                  <a:pt x="378" y="571"/>
                </a:cubicBezTo>
                <a:cubicBezTo>
                  <a:pt x="122" y="218"/>
                  <a:pt x="122" y="218"/>
                  <a:pt x="122" y="218"/>
                </a:cubicBezTo>
                <a:cubicBezTo>
                  <a:pt x="120" y="215"/>
                  <a:pt x="116" y="213"/>
                  <a:pt x="111" y="213"/>
                </a:cubicBezTo>
                <a:cubicBezTo>
                  <a:pt x="83" y="213"/>
                  <a:pt x="83" y="213"/>
                  <a:pt x="83" y="213"/>
                </a:cubicBezTo>
                <a:cubicBezTo>
                  <a:pt x="76" y="213"/>
                  <a:pt x="70" y="219"/>
                  <a:pt x="70" y="226"/>
                </a:cubicBezTo>
                <a:cubicBezTo>
                  <a:pt x="70" y="555"/>
                  <a:pt x="70" y="555"/>
                  <a:pt x="70" y="555"/>
                </a:cubicBezTo>
                <a:cubicBezTo>
                  <a:pt x="70" y="570"/>
                  <a:pt x="59" y="581"/>
                  <a:pt x="44" y="581"/>
                </a:cubicBezTo>
                <a:cubicBezTo>
                  <a:pt x="25" y="581"/>
                  <a:pt x="25" y="581"/>
                  <a:pt x="25" y="581"/>
                </a:cubicBezTo>
                <a:cubicBezTo>
                  <a:pt x="11" y="581"/>
                  <a:pt x="0" y="570"/>
                  <a:pt x="0" y="555"/>
                </a:cubicBezTo>
                <a:cubicBezTo>
                  <a:pt x="0" y="25"/>
                  <a:pt x="0" y="25"/>
                  <a:pt x="0" y="25"/>
                </a:cubicBezTo>
                <a:cubicBezTo>
                  <a:pt x="0" y="11"/>
                  <a:pt x="11"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1" name="Freeform 8"/>
          <p:cNvSpPr>
            <a:spLocks noSelect="1"/>
          </p:cNvSpPr>
          <p:nvPr userDrawn="1"/>
        </p:nvSpPr>
        <p:spPr bwMode="auto">
          <a:xfrm>
            <a:off x="11374438" y="534988"/>
            <a:ext cx="152400" cy="184150"/>
          </a:xfrm>
          <a:custGeom>
            <a:avLst/>
            <a:gdLst>
              <a:gd name="T0" fmla="*/ 478 w 478"/>
              <a:gd name="T1" fmla="*/ 480 h 581"/>
              <a:gd name="T2" fmla="*/ 478 w 478"/>
              <a:gd name="T3" fmla="*/ 556 h 581"/>
              <a:gd name="T4" fmla="*/ 452 w 478"/>
              <a:gd name="T5" fmla="*/ 581 h 581"/>
              <a:gd name="T6" fmla="*/ 26 w 478"/>
              <a:gd name="T7" fmla="*/ 581 h 581"/>
              <a:gd name="T8" fmla="*/ 0 w 478"/>
              <a:gd name="T9" fmla="*/ 556 h 581"/>
              <a:gd name="T10" fmla="*/ 0 w 478"/>
              <a:gd name="T11" fmla="*/ 496 h 581"/>
              <a:gd name="T12" fmla="*/ 7 w 478"/>
              <a:gd name="T13" fmla="*/ 479 h 581"/>
              <a:gd name="T14" fmla="*/ 303 w 478"/>
              <a:gd name="T15" fmla="*/ 171 h 581"/>
              <a:gd name="T16" fmla="*/ 302 w 478"/>
              <a:gd name="T17" fmla="*/ 134 h 581"/>
              <a:gd name="T18" fmla="*/ 284 w 478"/>
              <a:gd name="T19" fmla="*/ 127 h 581"/>
              <a:gd name="T20" fmla="*/ 29 w 478"/>
              <a:gd name="T21" fmla="*/ 127 h 581"/>
              <a:gd name="T22" fmla="*/ 4 w 478"/>
              <a:gd name="T23" fmla="*/ 101 h 581"/>
              <a:gd name="T24" fmla="*/ 4 w 478"/>
              <a:gd name="T25" fmla="*/ 101 h 581"/>
              <a:gd name="T26" fmla="*/ 4 w 478"/>
              <a:gd name="T27" fmla="*/ 25 h 581"/>
              <a:gd name="T28" fmla="*/ 29 w 478"/>
              <a:gd name="T29" fmla="*/ 0 h 581"/>
              <a:gd name="T30" fmla="*/ 29 w 478"/>
              <a:gd name="T31" fmla="*/ 0 h 581"/>
              <a:gd name="T32" fmla="*/ 447 w 478"/>
              <a:gd name="T33" fmla="*/ 0 h 581"/>
              <a:gd name="T34" fmla="*/ 472 w 478"/>
              <a:gd name="T35" fmla="*/ 25 h 581"/>
              <a:gd name="T36" fmla="*/ 472 w 478"/>
              <a:gd name="T37" fmla="*/ 85 h 581"/>
              <a:gd name="T38" fmla="*/ 465 w 478"/>
              <a:gd name="T39" fmla="*/ 102 h 581"/>
              <a:gd name="T40" fmla="*/ 170 w 478"/>
              <a:gd name="T41" fmla="*/ 410 h 581"/>
              <a:gd name="T42" fmla="*/ 171 w 478"/>
              <a:gd name="T43" fmla="*/ 447 h 581"/>
              <a:gd name="T44" fmla="*/ 189 w 478"/>
              <a:gd name="T45" fmla="*/ 454 h 581"/>
              <a:gd name="T46" fmla="*/ 452 w 478"/>
              <a:gd name="T47" fmla="*/ 454 h 581"/>
              <a:gd name="T48" fmla="*/ 478 w 478"/>
              <a:gd name="T49" fmla="*/ 4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581">
                <a:moveTo>
                  <a:pt x="478" y="480"/>
                </a:moveTo>
                <a:cubicBezTo>
                  <a:pt x="478" y="556"/>
                  <a:pt x="478" y="556"/>
                  <a:pt x="478" y="556"/>
                </a:cubicBezTo>
                <a:cubicBezTo>
                  <a:pt x="478" y="570"/>
                  <a:pt x="467" y="581"/>
                  <a:pt x="452" y="581"/>
                </a:cubicBezTo>
                <a:cubicBezTo>
                  <a:pt x="26" y="581"/>
                  <a:pt x="26" y="581"/>
                  <a:pt x="26" y="581"/>
                </a:cubicBezTo>
                <a:cubicBezTo>
                  <a:pt x="12" y="581"/>
                  <a:pt x="0" y="570"/>
                  <a:pt x="0" y="556"/>
                </a:cubicBezTo>
                <a:cubicBezTo>
                  <a:pt x="0" y="496"/>
                  <a:pt x="0" y="496"/>
                  <a:pt x="0" y="496"/>
                </a:cubicBezTo>
                <a:cubicBezTo>
                  <a:pt x="0" y="490"/>
                  <a:pt x="3" y="483"/>
                  <a:pt x="7" y="479"/>
                </a:cubicBezTo>
                <a:cubicBezTo>
                  <a:pt x="303" y="171"/>
                  <a:pt x="303" y="171"/>
                  <a:pt x="303" y="171"/>
                </a:cubicBezTo>
                <a:cubicBezTo>
                  <a:pt x="312" y="160"/>
                  <a:pt x="312" y="144"/>
                  <a:pt x="302" y="134"/>
                </a:cubicBezTo>
                <a:cubicBezTo>
                  <a:pt x="297" y="130"/>
                  <a:pt x="291" y="127"/>
                  <a:pt x="284" y="127"/>
                </a:cubicBezTo>
                <a:cubicBezTo>
                  <a:pt x="29" y="127"/>
                  <a:pt x="29" y="127"/>
                  <a:pt x="29" y="127"/>
                </a:cubicBezTo>
                <a:cubicBezTo>
                  <a:pt x="15" y="127"/>
                  <a:pt x="4" y="115"/>
                  <a:pt x="4" y="101"/>
                </a:cubicBezTo>
                <a:cubicBezTo>
                  <a:pt x="4" y="101"/>
                  <a:pt x="4" y="101"/>
                  <a:pt x="4" y="101"/>
                </a:cubicBezTo>
                <a:cubicBezTo>
                  <a:pt x="4" y="25"/>
                  <a:pt x="4" y="25"/>
                  <a:pt x="4" y="25"/>
                </a:cubicBezTo>
                <a:cubicBezTo>
                  <a:pt x="4" y="11"/>
                  <a:pt x="15" y="0"/>
                  <a:pt x="29" y="0"/>
                </a:cubicBezTo>
                <a:cubicBezTo>
                  <a:pt x="29" y="0"/>
                  <a:pt x="29" y="0"/>
                  <a:pt x="29" y="0"/>
                </a:cubicBezTo>
                <a:cubicBezTo>
                  <a:pt x="447" y="0"/>
                  <a:pt x="447" y="0"/>
                  <a:pt x="447" y="0"/>
                </a:cubicBezTo>
                <a:cubicBezTo>
                  <a:pt x="461" y="0"/>
                  <a:pt x="472" y="11"/>
                  <a:pt x="472" y="25"/>
                </a:cubicBezTo>
                <a:cubicBezTo>
                  <a:pt x="472" y="85"/>
                  <a:pt x="472" y="85"/>
                  <a:pt x="472" y="85"/>
                </a:cubicBezTo>
                <a:cubicBezTo>
                  <a:pt x="472" y="91"/>
                  <a:pt x="470" y="98"/>
                  <a:pt x="465" y="102"/>
                </a:cubicBezTo>
                <a:cubicBezTo>
                  <a:pt x="170" y="410"/>
                  <a:pt x="170" y="410"/>
                  <a:pt x="170" y="410"/>
                </a:cubicBezTo>
                <a:cubicBezTo>
                  <a:pt x="160" y="421"/>
                  <a:pt x="160" y="437"/>
                  <a:pt x="171" y="447"/>
                </a:cubicBezTo>
                <a:cubicBezTo>
                  <a:pt x="175" y="451"/>
                  <a:pt x="182" y="454"/>
                  <a:pt x="189" y="454"/>
                </a:cubicBezTo>
                <a:cubicBezTo>
                  <a:pt x="452" y="454"/>
                  <a:pt x="452" y="454"/>
                  <a:pt x="452" y="454"/>
                </a:cubicBezTo>
                <a:cubicBezTo>
                  <a:pt x="467" y="454"/>
                  <a:pt x="478" y="465"/>
                  <a:pt x="478" y="4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526838" y="530225"/>
            <a:ext cx="187325" cy="193675"/>
          </a:xfrm>
          <a:custGeom>
            <a:avLst/>
            <a:gdLst>
              <a:gd name="T0" fmla="*/ 588 w 588"/>
              <a:gd name="T1" fmla="*/ 39 h 609"/>
              <a:gd name="T2" fmla="*/ 562 w 588"/>
              <a:gd name="T3" fmla="*/ 13 h 609"/>
              <a:gd name="T4" fmla="*/ 543 w 588"/>
              <a:gd name="T5" fmla="*/ 13 h 609"/>
              <a:gd name="T6" fmla="*/ 517 w 588"/>
              <a:gd name="T7" fmla="*/ 39 h 609"/>
              <a:gd name="T8" fmla="*/ 517 w 588"/>
              <a:gd name="T9" fmla="*/ 108 h 609"/>
              <a:gd name="T10" fmla="*/ 286 w 588"/>
              <a:gd name="T11" fmla="*/ 0 h 609"/>
              <a:gd name="T12" fmla="*/ 0 w 588"/>
              <a:gd name="T13" fmla="*/ 304 h 609"/>
              <a:gd name="T14" fmla="*/ 286 w 588"/>
              <a:gd name="T15" fmla="*/ 609 h 609"/>
              <a:gd name="T16" fmla="*/ 517 w 588"/>
              <a:gd name="T17" fmla="*/ 500 h 609"/>
              <a:gd name="T18" fmla="*/ 517 w 588"/>
              <a:gd name="T19" fmla="*/ 569 h 609"/>
              <a:gd name="T20" fmla="*/ 543 w 588"/>
              <a:gd name="T21" fmla="*/ 595 h 609"/>
              <a:gd name="T22" fmla="*/ 562 w 588"/>
              <a:gd name="T23" fmla="*/ 595 h 609"/>
              <a:gd name="T24" fmla="*/ 588 w 588"/>
              <a:gd name="T25" fmla="*/ 569 h 609"/>
              <a:gd name="T26" fmla="*/ 588 w 588"/>
              <a:gd name="T27" fmla="*/ 39 h 609"/>
              <a:gd name="T28" fmla="*/ 311 w 588"/>
              <a:gd name="T29" fmla="*/ 474 h 609"/>
              <a:gd name="T30" fmla="*/ 103 w 588"/>
              <a:gd name="T31" fmla="*/ 304 h 609"/>
              <a:gd name="T32" fmla="*/ 311 w 588"/>
              <a:gd name="T33" fmla="*/ 135 h 609"/>
              <a:gd name="T34" fmla="*/ 517 w 588"/>
              <a:gd name="T35" fmla="*/ 304 h 609"/>
              <a:gd name="T36" fmla="*/ 311 w 588"/>
              <a:gd name="T37" fmla="*/ 47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8" h="609">
                <a:moveTo>
                  <a:pt x="588" y="39"/>
                </a:moveTo>
                <a:cubicBezTo>
                  <a:pt x="588" y="25"/>
                  <a:pt x="576" y="13"/>
                  <a:pt x="562" y="13"/>
                </a:cubicBezTo>
                <a:cubicBezTo>
                  <a:pt x="543" y="13"/>
                  <a:pt x="543" y="13"/>
                  <a:pt x="543" y="13"/>
                </a:cubicBezTo>
                <a:cubicBezTo>
                  <a:pt x="529" y="13"/>
                  <a:pt x="517" y="25"/>
                  <a:pt x="517" y="39"/>
                </a:cubicBezTo>
                <a:cubicBezTo>
                  <a:pt x="517" y="108"/>
                  <a:pt x="517" y="108"/>
                  <a:pt x="517" y="108"/>
                </a:cubicBezTo>
                <a:cubicBezTo>
                  <a:pt x="498" y="73"/>
                  <a:pt x="427" y="0"/>
                  <a:pt x="286" y="0"/>
                </a:cubicBezTo>
                <a:cubicBezTo>
                  <a:pt x="122" y="0"/>
                  <a:pt x="0" y="131"/>
                  <a:pt x="0" y="304"/>
                </a:cubicBezTo>
                <a:cubicBezTo>
                  <a:pt x="0" y="478"/>
                  <a:pt x="122" y="609"/>
                  <a:pt x="286" y="609"/>
                </a:cubicBezTo>
                <a:cubicBezTo>
                  <a:pt x="427" y="609"/>
                  <a:pt x="498" y="535"/>
                  <a:pt x="517" y="500"/>
                </a:cubicBezTo>
                <a:cubicBezTo>
                  <a:pt x="517" y="569"/>
                  <a:pt x="517" y="569"/>
                  <a:pt x="517" y="569"/>
                </a:cubicBezTo>
                <a:cubicBezTo>
                  <a:pt x="517" y="583"/>
                  <a:pt x="529" y="595"/>
                  <a:pt x="543" y="595"/>
                </a:cubicBezTo>
                <a:cubicBezTo>
                  <a:pt x="562" y="595"/>
                  <a:pt x="562" y="595"/>
                  <a:pt x="562" y="595"/>
                </a:cubicBezTo>
                <a:cubicBezTo>
                  <a:pt x="576" y="595"/>
                  <a:pt x="588" y="583"/>
                  <a:pt x="588" y="569"/>
                </a:cubicBezTo>
                <a:lnTo>
                  <a:pt x="588" y="39"/>
                </a:lnTo>
                <a:close/>
                <a:moveTo>
                  <a:pt x="311" y="474"/>
                </a:moveTo>
                <a:cubicBezTo>
                  <a:pt x="192" y="474"/>
                  <a:pt x="103" y="401"/>
                  <a:pt x="103" y="304"/>
                </a:cubicBezTo>
                <a:cubicBezTo>
                  <a:pt x="103" y="208"/>
                  <a:pt x="192" y="135"/>
                  <a:pt x="311" y="135"/>
                </a:cubicBezTo>
                <a:cubicBezTo>
                  <a:pt x="430" y="135"/>
                  <a:pt x="517" y="208"/>
                  <a:pt x="517" y="304"/>
                </a:cubicBezTo>
                <a:cubicBezTo>
                  <a:pt x="517" y="401"/>
                  <a:pt x="429" y="474"/>
                  <a:pt x="311" y="4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noEditPoints="1"/>
          </p:cNvSpPr>
          <p:nvPr userDrawn="1"/>
        </p:nvSpPr>
        <p:spPr bwMode="auto">
          <a:xfrm>
            <a:off x="11025188" y="314325"/>
            <a:ext cx="858838" cy="700088"/>
          </a:xfrm>
          <a:custGeom>
            <a:avLst/>
            <a:gdLst>
              <a:gd name="T0" fmla="*/ 2624 w 2704"/>
              <a:gd name="T1" fmla="*/ 753 h 2206"/>
              <a:gd name="T2" fmla="*/ 2407 w 2704"/>
              <a:gd name="T3" fmla="*/ 395 h 2206"/>
              <a:gd name="T4" fmla="*/ 2108 w 2704"/>
              <a:gd name="T5" fmla="*/ 198 h 2206"/>
              <a:gd name="T6" fmla="*/ 732 w 2704"/>
              <a:gd name="T7" fmla="*/ 3 h 2206"/>
              <a:gd name="T8" fmla="*/ 697 w 2704"/>
              <a:gd name="T9" fmla="*/ 0 h 2206"/>
              <a:gd name="T10" fmla="*/ 486 w 2704"/>
              <a:gd name="T11" fmla="*/ 116 h 2206"/>
              <a:gd name="T12" fmla="*/ 88 w 2704"/>
              <a:gd name="T13" fmla="*/ 738 h 2206"/>
              <a:gd name="T14" fmla="*/ 73 w 2704"/>
              <a:gd name="T15" fmla="*/ 1161 h 2206"/>
              <a:gd name="T16" fmla="*/ 553 w 2704"/>
              <a:gd name="T17" fmla="*/ 2050 h 2206"/>
              <a:gd name="T18" fmla="*/ 848 w 2704"/>
              <a:gd name="T19" fmla="*/ 2170 h 2206"/>
              <a:gd name="T20" fmla="*/ 2299 w 2704"/>
              <a:gd name="T21" fmla="*/ 1721 h 2206"/>
              <a:gd name="T22" fmla="*/ 2455 w 2704"/>
              <a:gd name="T23" fmla="*/ 1582 h 2206"/>
              <a:gd name="T24" fmla="*/ 2649 w 2704"/>
              <a:gd name="T25" fmla="*/ 1137 h 2206"/>
              <a:gd name="T26" fmla="*/ 2624 w 2704"/>
              <a:gd name="T27" fmla="*/ 753 h 2206"/>
              <a:gd name="T28" fmla="*/ 2595 w 2704"/>
              <a:gd name="T29" fmla="*/ 1113 h 2206"/>
              <a:gd name="T30" fmla="*/ 2400 w 2704"/>
              <a:gd name="T31" fmla="*/ 1558 h 2206"/>
              <a:gd name="T32" fmla="*/ 2282 w 2704"/>
              <a:gd name="T33" fmla="*/ 1665 h 2206"/>
              <a:gd name="T34" fmla="*/ 831 w 2704"/>
              <a:gd name="T35" fmla="*/ 2114 h 2206"/>
              <a:gd name="T36" fmla="*/ 774 w 2704"/>
              <a:gd name="T37" fmla="*/ 2123 h 2206"/>
              <a:gd name="T38" fmla="*/ 606 w 2704"/>
              <a:gd name="T39" fmla="*/ 2022 h 2206"/>
              <a:gd name="T40" fmla="*/ 124 w 2704"/>
              <a:gd name="T41" fmla="*/ 1133 h 2206"/>
              <a:gd name="T42" fmla="*/ 138 w 2704"/>
              <a:gd name="T43" fmla="*/ 769 h 2206"/>
              <a:gd name="T44" fmla="*/ 535 w 2704"/>
              <a:gd name="T45" fmla="*/ 147 h 2206"/>
              <a:gd name="T46" fmla="*/ 697 w 2704"/>
              <a:gd name="T47" fmla="*/ 59 h 2206"/>
              <a:gd name="T48" fmla="*/ 724 w 2704"/>
              <a:gd name="T49" fmla="*/ 60 h 2206"/>
              <a:gd name="T50" fmla="*/ 2100 w 2704"/>
              <a:gd name="T51" fmla="*/ 256 h 2206"/>
              <a:gd name="T52" fmla="*/ 2357 w 2704"/>
              <a:gd name="T53" fmla="*/ 426 h 2206"/>
              <a:gd name="T54" fmla="*/ 2573 w 2704"/>
              <a:gd name="T55" fmla="*/ 784 h 2206"/>
              <a:gd name="T56" fmla="*/ 2595 w 2704"/>
              <a:gd name="T57" fmla="*/ 1113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4" h="2206">
                <a:moveTo>
                  <a:pt x="2624" y="753"/>
                </a:moveTo>
                <a:cubicBezTo>
                  <a:pt x="2407" y="395"/>
                  <a:pt x="2407" y="395"/>
                  <a:pt x="2407" y="395"/>
                </a:cubicBezTo>
                <a:cubicBezTo>
                  <a:pt x="2342" y="288"/>
                  <a:pt x="2232" y="215"/>
                  <a:pt x="2108" y="198"/>
                </a:cubicBezTo>
                <a:cubicBezTo>
                  <a:pt x="732" y="3"/>
                  <a:pt x="732" y="3"/>
                  <a:pt x="732" y="3"/>
                </a:cubicBezTo>
                <a:cubicBezTo>
                  <a:pt x="720" y="1"/>
                  <a:pt x="708" y="0"/>
                  <a:pt x="697" y="0"/>
                </a:cubicBezTo>
                <a:cubicBezTo>
                  <a:pt x="611" y="0"/>
                  <a:pt x="532" y="44"/>
                  <a:pt x="486" y="116"/>
                </a:cubicBezTo>
                <a:cubicBezTo>
                  <a:pt x="88" y="738"/>
                  <a:pt x="88" y="738"/>
                  <a:pt x="88" y="738"/>
                </a:cubicBezTo>
                <a:cubicBezTo>
                  <a:pt x="6" y="866"/>
                  <a:pt x="0" y="1028"/>
                  <a:pt x="73" y="1161"/>
                </a:cubicBezTo>
                <a:cubicBezTo>
                  <a:pt x="553" y="2050"/>
                  <a:pt x="553" y="2050"/>
                  <a:pt x="553" y="2050"/>
                </a:cubicBezTo>
                <a:cubicBezTo>
                  <a:pt x="610" y="2155"/>
                  <a:pt x="733" y="2206"/>
                  <a:pt x="848" y="2170"/>
                </a:cubicBezTo>
                <a:cubicBezTo>
                  <a:pt x="2299" y="1721"/>
                  <a:pt x="2299" y="1721"/>
                  <a:pt x="2299" y="1721"/>
                </a:cubicBezTo>
                <a:cubicBezTo>
                  <a:pt x="2369" y="1699"/>
                  <a:pt x="2425" y="1649"/>
                  <a:pt x="2455" y="1582"/>
                </a:cubicBezTo>
                <a:cubicBezTo>
                  <a:pt x="2649" y="1137"/>
                  <a:pt x="2649" y="1137"/>
                  <a:pt x="2649" y="1137"/>
                </a:cubicBezTo>
                <a:cubicBezTo>
                  <a:pt x="2704" y="1012"/>
                  <a:pt x="2694" y="869"/>
                  <a:pt x="2624" y="753"/>
                </a:cubicBezTo>
                <a:close/>
                <a:moveTo>
                  <a:pt x="2595" y="1113"/>
                </a:moveTo>
                <a:cubicBezTo>
                  <a:pt x="2400" y="1558"/>
                  <a:pt x="2400" y="1558"/>
                  <a:pt x="2400" y="1558"/>
                </a:cubicBezTo>
                <a:cubicBezTo>
                  <a:pt x="2378" y="1609"/>
                  <a:pt x="2335" y="1648"/>
                  <a:pt x="2282" y="1665"/>
                </a:cubicBezTo>
                <a:cubicBezTo>
                  <a:pt x="831" y="2114"/>
                  <a:pt x="831" y="2114"/>
                  <a:pt x="831" y="2114"/>
                </a:cubicBezTo>
                <a:cubicBezTo>
                  <a:pt x="812" y="2120"/>
                  <a:pt x="793" y="2123"/>
                  <a:pt x="774" y="2123"/>
                </a:cubicBezTo>
                <a:cubicBezTo>
                  <a:pt x="704" y="2123"/>
                  <a:pt x="639" y="2084"/>
                  <a:pt x="606" y="2022"/>
                </a:cubicBezTo>
                <a:cubicBezTo>
                  <a:pt x="124" y="1133"/>
                  <a:pt x="124" y="1133"/>
                  <a:pt x="124" y="1133"/>
                </a:cubicBezTo>
                <a:cubicBezTo>
                  <a:pt x="62" y="1019"/>
                  <a:pt x="67" y="879"/>
                  <a:pt x="138" y="769"/>
                </a:cubicBezTo>
                <a:cubicBezTo>
                  <a:pt x="535" y="147"/>
                  <a:pt x="535" y="147"/>
                  <a:pt x="535" y="147"/>
                </a:cubicBezTo>
                <a:cubicBezTo>
                  <a:pt x="570" y="92"/>
                  <a:pt x="631" y="59"/>
                  <a:pt x="697" y="59"/>
                </a:cubicBezTo>
                <a:cubicBezTo>
                  <a:pt x="706" y="59"/>
                  <a:pt x="715" y="59"/>
                  <a:pt x="724" y="60"/>
                </a:cubicBezTo>
                <a:cubicBezTo>
                  <a:pt x="2100" y="256"/>
                  <a:pt x="2100" y="256"/>
                  <a:pt x="2100" y="256"/>
                </a:cubicBezTo>
                <a:cubicBezTo>
                  <a:pt x="2207" y="271"/>
                  <a:pt x="2301" y="333"/>
                  <a:pt x="2357" y="426"/>
                </a:cubicBezTo>
                <a:cubicBezTo>
                  <a:pt x="2573" y="784"/>
                  <a:pt x="2573" y="784"/>
                  <a:pt x="2573" y="784"/>
                </a:cubicBezTo>
                <a:cubicBezTo>
                  <a:pt x="2634" y="884"/>
                  <a:pt x="2642" y="1007"/>
                  <a:pt x="2595" y="1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91199"/>
            <a:ext cx="8352000" cy="2031231"/>
          </a:xfrm>
        </p:spPr>
        <p:txBody>
          <a:bodyPr anchor="b"/>
          <a:lstStyle>
            <a:lvl1pPr algn="l">
              <a:lnSpc>
                <a:spcPct val="90000"/>
              </a:lnSpc>
              <a:defRPr sz="7000">
                <a:solidFill>
                  <a:schemeClr val="accent1"/>
                </a:solidFill>
              </a:defRPr>
            </a:lvl1pPr>
          </a:lstStyle>
          <a:p>
            <a:r>
              <a:rPr lang="nl-NL" dirty="0"/>
              <a:t>[Titel]</a:t>
            </a:r>
          </a:p>
        </p:txBody>
      </p:sp>
      <p:sp>
        <p:nvSpPr>
          <p:cNvPr id="3" name="Ondertitel 2"/>
          <p:cNvSpPr>
            <a:spLocks noGrp="1" noSelect="1"/>
          </p:cNvSpPr>
          <p:nvPr>
            <p:ph type="subTitle" idx="1" hasCustomPrompt="1"/>
          </p:nvPr>
        </p:nvSpPr>
        <p:spPr>
          <a:xfrm>
            <a:off x="1321200" y="4050460"/>
            <a:ext cx="8352000" cy="1404000"/>
          </a:xfrm>
        </p:spPr>
        <p:txBody>
          <a:bodyPr/>
          <a:lstStyle>
            <a:lvl1pPr marL="0" indent="0" algn="l">
              <a:buNone/>
              <a:defRPr sz="3500">
                <a:solidFill>
                  <a:srgbClr val="3F7C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a:noFill/>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a:noFill/>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39667479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eldia groen">
    <p:bg>
      <p:bgPr>
        <a:solidFill>
          <a:srgbClr val="0E864A"/>
        </a:solidFill>
        <a:effectLst/>
      </p:bgPr>
    </p:bg>
    <p:spTree>
      <p:nvGrpSpPr>
        <p:cNvPr id="1" name=""/>
        <p:cNvGrpSpPr/>
        <p:nvPr/>
      </p:nvGrpSpPr>
      <p:grpSpPr>
        <a:xfrm>
          <a:off x="0" y="0"/>
          <a:ext cx="0" cy="0"/>
          <a:chOff x="0" y="0"/>
          <a:chExt cx="0" cy="0"/>
        </a:xfrm>
      </p:grpSpPr>
      <p:sp>
        <p:nvSpPr>
          <p:cNvPr id="9" name="Freeform 6"/>
          <p:cNvSpPr>
            <a:spLocks noSelect="1"/>
          </p:cNvSpPr>
          <p:nvPr userDrawn="1"/>
        </p:nvSpPr>
        <p:spPr bwMode="auto">
          <a:xfrm>
            <a:off x="0" y="0"/>
            <a:ext cx="11380788" cy="6858000"/>
          </a:xfrm>
          <a:custGeom>
            <a:avLst/>
            <a:gdLst>
              <a:gd name="T0" fmla="*/ 34525 w 35846"/>
              <a:gd name="T1" fmla="*/ 10375 h 21600"/>
              <a:gd name="T2" fmla="*/ 29683 w 35846"/>
              <a:gd name="T3" fmla="*/ 894 h 21600"/>
              <a:gd name="T4" fmla="*/ 29089 w 35846"/>
              <a:gd name="T5" fmla="*/ 0 h 21600"/>
              <a:gd name="T6" fmla="*/ 15840 w 35846"/>
              <a:gd name="T7" fmla="*/ 0 h 21600"/>
              <a:gd name="T8" fmla="*/ 3266 w 35846"/>
              <a:gd name="T9" fmla="*/ 0 h 21600"/>
              <a:gd name="T10" fmla="*/ 0 w 35846"/>
              <a:gd name="T11" fmla="*/ 0 h 21600"/>
              <a:gd name="T12" fmla="*/ 0 w 35846"/>
              <a:gd name="T13" fmla="*/ 2257 h 21600"/>
              <a:gd name="T14" fmla="*/ 0 w 35846"/>
              <a:gd name="T15" fmla="*/ 19312 h 21600"/>
              <a:gd name="T16" fmla="*/ 0 w 35846"/>
              <a:gd name="T17" fmla="*/ 21600 h 21600"/>
              <a:gd name="T18" fmla="*/ 2065 w 35846"/>
              <a:gd name="T19" fmla="*/ 21600 h 21600"/>
              <a:gd name="T20" fmla="*/ 15840 w 35846"/>
              <a:gd name="T21" fmla="*/ 21600 h 21600"/>
              <a:gd name="T22" fmla="*/ 17380 w 35846"/>
              <a:gd name="T23" fmla="*/ 21600 h 21600"/>
              <a:gd name="T24" fmla="*/ 31764 w 35846"/>
              <a:gd name="T25" fmla="*/ 17003 h 21600"/>
              <a:gd name="T26" fmla="*/ 34525 w 35846"/>
              <a:gd name="T27" fmla="*/ 10375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46" h="21600">
                <a:moveTo>
                  <a:pt x="34525" y="10375"/>
                </a:moveTo>
                <a:cubicBezTo>
                  <a:pt x="29683" y="894"/>
                  <a:pt x="29683" y="894"/>
                  <a:pt x="29683" y="894"/>
                </a:cubicBezTo>
                <a:cubicBezTo>
                  <a:pt x="29519" y="574"/>
                  <a:pt x="29320" y="274"/>
                  <a:pt x="29089" y="0"/>
                </a:cubicBezTo>
                <a:cubicBezTo>
                  <a:pt x="15840" y="0"/>
                  <a:pt x="15840" y="0"/>
                  <a:pt x="15840" y="0"/>
                </a:cubicBezTo>
                <a:cubicBezTo>
                  <a:pt x="3266" y="0"/>
                  <a:pt x="3266" y="0"/>
                  <a:pt x="3266" y="0"/>
                </a:cubicBezTo>
                <a:cubicBezTo>
                  <a:pt x="0" y="0"/>
                  <a:pt x="0" y="0"/>
                  <a:pt x="0" y="0"/>
                </a:cubicBezTo>
                <a:cubicBezTo>
                  <a:pt x="0" y="2257"/>
                  <a:pt x="0" y="2257"/>
                  <a:pt x="0" y="2257"/>
                </a:cubicBezTo>
                <a:cubicBezTo>
                  <a:pt x="0" y="19312"/>
                  <a:pt x="0" y="19312"/>
                  <a:pt x="0" y="19312"/>
                </a:cubicBezTo>
                <a:cubicBezTo>
                  <a:pt x="0" y="21600"/>
                  <a:pt x="0" y="21600"/>
                  <a:pt x="0" y="21600"/>
                </a:cubicBezTo>
                <a:cubicBezTo>
                  <a:pt x="2065" y="21600"/>
                  <a:pt x="2065" y="21600"/>
                  <a:pt x="2065" y="21600"/>
                </a:cubicBezTo>
                <a:cubicBezTo>
                  <a:pt x="15840" y="21600"/>
                  <a:pt x="15840" y="21600"/>
                  <a:pt x="15840" y="21600"/>
                </a:cubicBezTo>
                <a:cubicBezTo>
                  <a:pt x="17380" y="21600"/>
                  <a:pt x="17380" y="21600"/>
                  <a:pt x="17380" y="21600"/>
                </a:cubicBezTo>
                <a:cubicBezTo>
                  <a:pt x="31764" y="17003"/>
                  <a:pt x="31764" y="17003"/>
                  <a:pt x="31764" y="17003"/>
                </a:cubicBezTo>
                <a:cubicBezTo>
                  <a:pt x="34532" y="16118"/>
                  <a:pt x="35846" y="12963"/>
                  <a:pt x="34525" y="10375"/>
                </a:cubicBez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10" name="Freeform 7"/>
          <p:cNvSpPr>
            <a:spLocks noSelect="1"/>
          </p:cNvSpPr>
          <p:nvPr userDrawn="1"/>
        </p:nvSpPr>
        <p:spPr bwMode="auto">
          <a:xfrm>
            <a:off x="11193463" y="534988"/>
            <a:ext cx="160338" cy="184150"/>
          </a:xfrm>
          <a:custGeom>
            <a:avLst/>
            <a:gdLst>
              <a:gd name="T0" fmla="*/ 25 w 504"/>
              <a:gd name="T1" fmla="*/ 0 h 581"/>
              <a:gd name="T2" fmla="*/ 104 w 504"/>
              <a:gd name="T3" fmla="*/ 0 h 581"/>
              <a:gd name="T4" fmla="*/ 124 w 504"/>
              <a:gd name="T5" fmla="*/ 10 h 581"/>
              <a:gd name="T6" fmla="*/ 381 w 504"/>
              <a:gd name="T7" fmla="*/ 363 h 581"/>
              <a:gd name="T8" fmla="*/ 391 w 504"/>
              <a:gd name="T9" fmla="*/ 368 h 581"/>
              <a:gd name="T10" fmla="*/ 419 w 504"/>
              <a:gd name="T11" fmla="*/ 368 h 581"/>
              <a:gd name="T12" fmla="*/ 432 w 504"/>
              <a:gd name="T13" fmla="*/ 355 h 581"/>
              <a:gd name="T14" fmla="*/ 432 w 504"/>
              <a:gd name="T15" fmla="*/ 25 h 581"/>
              <a:gd name="T16" fmla="*/ 458 w 504"/>
              <a:gd name="T17" fmla="*/ 0 h 581"/>
              <a:gd name="T18" fmla="*/ 478 w 504"/>
              <a:gd name="T19" fmla="*/ 0 h 581"/>
              <a:gd name="T20" fmla="*/ 504 w 504"/>
              <a:gd name="T21" fmla="*/ 25 h 581"/>
              <a:gd name="T22" fmla="*/ 504 w 504"/>
              <a:gd name="T23" fmla="*/ 555 h 581"/>
              <a:gd name="T24" fmla="*/ 478 w 504"/>
              <a:gd name="T25" fmla="*/ 581 h 581"/>
              <a:gd name="T26" fmla="*/ 399 w 504"/>
              <a:gd name="T27" fmla="*/ 581 h 581"/>
              <a:gd name="T28" fmla="*/ 378 w 504"/>
              <a:gd name="T29" fmla="*/ 571 h 581"/>
              <a:gd name="T30" fmla="*/ 122 w 504"/>
              <a:gd name="T31" fmla="*/ 218 h 581"/>
              <a:gd name="T32" fmla="*/ 111 w 504"/>
              <a:gd name="T33" fmla="*/ 213 h 581"/>
              <a:gd name="T34" fmla="*/ 83 w 504"/>
              <a:gd name="T35" fmla="*/ 213 h 581"/>
              <a:gd name="T36" fmla="*/ 70 w 504"/>
              <a:gd name="T37" fmla="*/ 226 h 581"/>
              <a:gd name="T38" fmla="*/ 70 w 504"/>
              <a:gd name="T39" fmla="*/ 555 h 581"/>
              <a:gd name="T40" fmla="*/ 44 w 504"/>
              <a:gd name="T41" fmla="*/ 581 h 581"/>
              <a:gd name="T42" fmla="*/ 25 w 504"/>
              <a:gd name="T43" fmla="*/ 581 h 581"/>
              <a:gd name="T44" fmla="*/ 0 w 504"/>
              <a:gd name="T45" fmla="*/ 555 h 581"/>
              <a:gd name="T46" fmla="*/ 0 w 504"/>
              <a:gd name="T47" fmla="*/ 25 h 581"/>
              <a:gd name="T48" fmla="*/ 25 w 504"/>
              <a:gd name="T4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4" h="581">
                <a:moveTo>
                  <a:pt x="25" y="0"/>
                </a:moveTo>
                <a:cubicBezTo>
                  <a:pt x="104" y="0"/>
                  <a:pt x="104" y="0"/>
                  <a:pt x="104" y="0"/>
                </a:cubicBezTo>
                <a:cubicBezTo>
                  <a:pt x="112" y="0"/>
                  <a:pt x="120" y="4"/>
                  <a:pt x="124" y="10"/>
                </a:cubicBezTo>
                <a:cubicBezTo>
                  <a:pt x="381" y="363"/>
                  <a:pt x="381" y="363"/>
                  <a:pt x="381" y="363"/>
                </a:cubicBezTo>
                <a:cubicBezTo>
                  <a:pt x="383" y="366"/>
                  <a:pt x="387" y="368"/>
                  <a:pt x="391" y="368"/>
                </a:cubicBezTo>
                <a:cubicBezTo>
                  <a:pt x="419" y="368"/>
                  <a:pt x="419" y="368"/>
                  <a:pt x="419" y="368"/>
                </a:cubicBezTo>
                <a:cubicBezTo>
                  <a:pt x="426" y="368"/>
                  <a:pt x="432" y="362"/>
                  <a:pt x="432" y="355"/>
                </a:cubicBezTo>
                <a:cubicBezTo>
                  <a:pt x="432" y="25"/>
                  <a:pt x="432" y="25"/>
                  <a:pt x="432" y="25"/>
                </a:cubicBezTo>
                <a:cubicBezTo>
                  <a:pt x="432" y="11"/>
                  <a:pt x="444" y="0"/>
                  <a:pt x="458" y="0"/>
                </a:cubicBezTo>
                <a:cubicBezTo>
                  <a:pt x="478" y="0"/>
                  <a:pt x="478" y="0"/>
                  <a:pt x="478" y="0"/>
                </a:cubicBezTo>
                <a:cubicBezTo>
                  <a:pt x="492" y="0"/>
                  <a:pt x="504" y="11"/>
                  <a:pt x="504" y="25"/>
                </a:cubicBezTo>
                <a:cubicBezTo>
                  <a:pt x="504" y="555"/>
                  <a:pt x="504" y="555"/>
                  <a:pt x="504" y="555"/>
                </a:cubicBezTo>
                <a:cubicBezTo>
                  <a:pt x="504" y="570"/>
                  <a:pt x="492" y="581"/>
                  <a:pt x="478" y="581"/>
                </a:cubicBezTo>
                <a:cubicBezTo>
                  <a:pt x="399" y="581"/>
                  <a:pt x="399" y="581"/>
                  <a:pt x="399" y="581"/>
                </a:cubicBezTo>
                <a:cubicBezTo>
                  <a:pt x="390" y="581"/>
                  <a:pt x="382" y="577"/>
                  <a:pt x="378" y="571"/>
                </a:cubicBezTo>
                <a:cubicBezTo>
                  <a:pt x="122" y="218"/>
                  <a:pt x="122" y="218"/>
                  <a:pt x="122" y="218"/>
                </a:cubicBezTo>
                <a:cubicBezTo>
                  <a:pt x="120" y="215"/>
                  <a:pt x="116" y="213"/>
                  <a:pt x="111" y="213"/>
                </a:cubicBezTo>
                <a:cubicBezTo>
                  <a:pt x="83" y="213"/>
                  <a:pt x="83" y="213"/>
                  <a:pt x="83" y="213"/>
                </a:cubicBezTo>
                <a:cubicBezTo>
                  <a:pt x="76" y="213"/>
                  <a:pt x="70" y="219"/>
                  <a:pt x="70" y="226"/>
                </a:cubicBezTo>
                <a:cubicBezTo>
                  <a:pt x="70" y="555"/>
                  <a:pt x="70" y="555"/>
                  <a:pt x="70" y="555"/>
                </a:cubicBezTo>
                <a:cubicBezTo>
                  <a:pt x="70" y="570"/>
                  <a:pt x="59" y="581"/>
                  <a:pt x="44" y="581"/>
                </a:cubicBezTo>
                <a:cubicBezTo>
                  <a:pt x="25" y="581"/>
                  <a:pt x="25" y="581"/>
                  <a:pt x="25" y="581"/>
                </a:cubicBezTo>
                <a:cubicBezTo>
                  <a:pt x="11" y="581"/>
                  <a:pt x="0" y="570"/>
                  <a:pt x="0" y="555"/>
                </a:cubicBezTo>
                <a:cubicBezTo>
                  <a:pt x="0" y="25"/>
                  <a:pt x="0" y="25"/>
                  <a:pt x="0" y="25"/>
                </a:cubicBezTo>
                <a:cubicBezTo>
                  <a:pt x="0" y="11"/>
                  <a:pt x="11"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1" name="Freeform 8"/>
          <p:cNvSpPr>
            <a:spLocks noSelect="1"/>
          </p:cNvSpPr>
          <p:nvPr userDrawn="1"/>
        </p:nvSpPr>
        <p:spPr bwMode="auto">
          <a:xfrm>
            <a:off x="11374438" y="534988"/>
            <a:ext cx="152400" cy="184150"/>
          </a:xfrm>
          <a:custGeom>
            <a:avLst/>
            <a:gdLst>
              <a:gd name="T0" fmla="*/ 478 w 478"/>
              <a:gd name="T1" fmla="*/ 480 h 581"/>
              <a:gd name="T2" fmla="*/ 478 w 478"/>
              <a:gd name="T3" fmla="*/ 556 h 581"/>
              <a:gd name="T4" fmla="*/ 452 w 478"/>
              <a:gd name="T5" fmla="*/ 581 h 581"/>
              <a:gd name="T6" fmla="*/ 26 w 478"/>
              <a:gd name="T7" fmla="*/ 581 h 581"/>
              <a:gd name="T8" fmla="*/ 0 w 478"/>
              <a:gd name="T9" fmla="*/ 556 h 581"/>
              <a:gd name="T10" fmla="*/ 0 w 478"/>
              <a:gd name="T11" fmla="*/ 496 h 581"/>
              <a:gd name="T12" fmla="*/ 7 w 478"/>
              <a:gd name="T13" fmla="*/ 479 h 581"/>
              <a:gd name="T14" fmla="*/ 303 w 478"/>
              <a:gd name="T15" fmla="*/ 171 h 581"/>
              <a:gd name="T16" fmla="*/ 302 w 478"/>
              <a:gd name="T17" fmla="*/ 134 h 581"/>
              <a:gd name="T18" fmla="*/ 284 w 478"/>
              <a:gd name="T19" fmla="*/ 127 h 581"/>
              <a:gd name="T20" fmla="*/ 29 w 478"/>
              <a:gd name="T21" fmla="*/ 127 h 581"/>
              <a:gd name="T22" fmla="*/ 4 w 478"/>
              <a:gd name="T23" fmla="*/ 101 h 581"/>
              <a:gd name="T24" fmla="*/ 4 w 478"/>
              <a:gd name="T25" fmla="*/ 101 h 581"/>
              <a:gd name="T26" fmla="*/ 4 w 478"/>
              <a:gd name="T27" fmla="*/ 25 h 581"/>
              <a:gd name="T28" fmla="*/ 29 w 478"/>
              <a:gd name="T29" fmla="*/ 0 h 581"/>
              <a:gd name="T30" fmla="*/ 29 w 478"/>
              <a:gd name="T31" fmla="*/ 0 h 581"/>
              <a:gd name="T32" fmla="*/ 447 w 478"/>
              <a:gd name="T33" fmla="*/ 0 h 581"/>
              <a:gd name="T34" fmla="*/ 472 w 478"/>
              <a:gd name="T35" fmla="*/ 25 h 581"/>
              <a:gd name="T36" fmla="*/ 472 w 478"/>
              <a:gd name="T37" fmla="*/ 85 h 581"/>
              <a:gd name="T38" fmla="*/ 465 w 478"/>
              <a:gd name="T39" fmla="*/ 102 h 581"/>
              <a:gd name="T40" fmla="*/ 170 w 478"/>
              <a:gd name="T41" fmla="*/ 410 h 581"/>
              <a:gd name="T42" fmla="*/ 171 w 478"/>
              <a:gd name="T43" fmla="*/ 447 h 581"/>
              <a:gd name="T44" fmla="*/ 189 w 478"/>
              <a:gd name="T45" fmla="*/ 454 h 581"/>
              <a:gd name="T46" fmla="*/ 452 w 478"/>
              <a:gd name="T47" fmla="*/ 454 h 581"/>
              <a:gd name="T48" fmla="*/ 478 w 478"/>
              <a:gd name="T49" fmla="*/ 4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581">
                <a:moveTo>
                  <a:pt x="478" y="480"/>
                </a:moveTo>
                <a:cubicBezTo>
                  <a:pt x="478" y="556"/>
                  <a:pt x="478" y="556"/>
                  <a:pt x="478" y="556"/>
                </a:cubicBezTo>
                <a:cubicBezTo>
                  <a:pt x="478" y="570"/>
                  <a:pt x="467" y="581"/>
                  <a:pt x="452" y="581"/>
                </a:cubicBezTo>
                <a:cubicBezTo>
                  <a:pt x="26" y="581"/>
                  <a:pt x="26" y="581"/>
                  <a:pt x="26" y="581"/>
                </a:cubicBezTo>
                <a:cubicBezTo>
                  <a:pt x="12" y="581"/>
                  <a:pt x="0" y="570"/>
                  <a:pt x="0" y="556"/>
                </a:cubicBezTo>
                <a:cubicBezTo>
                  <a:pt x="0" y="496"/>
                  <a:pt x="0" y="496"/>
                  <a:pt x="0" y="496"/>
                </a:cubicBezTo>
                <a:cubicBezTo>
                  <a:pt x="0" y="490"/>
                  <a:pt x="3" y="483"/>
                  <a:pt x="7" y="479"/>
                </a:cubicBezTo>
                <a:cubicBezTo>
                  <a:pt x="303" y="171"/>
                  <a:pt x="303" y="171"/>
                  <a:pt x="303" y="171"/>
                </a:cubicBezTo>
                <a:cubicBezTo>
                  <a:pt x="312" y="160"/>
                  <a:pt x="312" y="144"/>
                  <a:pt x="302" y="134"/>
                </a:cubicBezTo>
                <a:cubicBezTo>
                  <a:pt x="297" y="130"/>
                  <a:pt x="291" y="127"/>
                  <a:pt x="284" y="127"/>
                </a:cubicBezTo>
                <a:cubicBezTo>
                  <a:pt x="29" y="127"/>
                  <a:pt x="29" y="127"/>
                  <a:pt x="29" y="127"/>
                </a:cubicBezTo>
                <a:cubicBezTo>
                  <a:pt x="15" y="127"/>
                  <a:pt x="4" y="115"/>
                  <a:pt x="4" y="101"/>
                </a:cubicBezTo>
                <a:cubicBezTo>
                  <a:pt x="4" y="101"/>
                  <a:pt x="4" y="101"/>
                  <a:pt x="4" y="101"/>
                </a:cubicBezTo>
                <a:cubicBezTo>
                  <a:pt x="4" y="25"/>
                  <a:pt x="4" y="25"/>
                  <a:pt x="4" y="25"/>
                </a:cubicBezTo>
                <a:cubicBezTo>
                  <a:pt x="4" y="11"/>
                  <a:pt x="15" y="0"/>
                  <a:pt x="29" y="0"/>
                </a:cubicBezTo>
                <a:cubicBezTo>
                  <a:pt x="29" y="0"/>
                  <a:pt x="29" y="0"/>
                  <a:pt x="29" y="0"/>
                </a:cubicBezTo>
                <a:cubicBezTo>
                  <a:pt x="447" y="0"/>
                  <a:pt x="447" y="0"/>
                  <a:pt x="447" y="0"/>
                </a:cubicBezTo>
                <a:cubicBezTo>
                  <a:pt x="461" y="0"/>
                  <a:pt x="472" y="11"/>
                  <a:pt x="472" y="25"/>
                </a:cubicBezTo>
                <a:cubicBezTo>
                  <a:pt x="472" y="85"/>
                  <a:pt x="472" y="85"/>
                  <a:pt x="472" y="85"/>
                </a:cubicBezTo>
                <a:cubicBezTo>
                  <a:pt x="472" y="91"/>
                  <a:pt x="470" y="98"/>
                  <a:pt x="465" y="102"/>
                </a:cubicBezTo>
                <a:cubicBezTo>
                  <a:pt x="170" y="410"/>
                  <a:pt x="170" y="410"/>
                  <a:pt x="170" y="410"/>
                </a:cubicBezTo>
                <a:cubicBezTo>
                  <a:pt x="160" y="421"/>
                  <a:pt x="160" y="437"/>
                  <a:pt x="171" y="447"/>
                </a:cubicBezTo>
                <a:cubicBezTo>
                  <a:pt x="175" y="451"/>
                  <a:pt x="182" y="454"/>
                  <a:pt x="189" y="454"/>
                </a:cubicBezTo>
                <a:cubicBezTo>
                  <a:pt x="452" y="454"/>
                  <a:pt x="452" y="454"/>
                  <a:pt x="452" y="454"/>
                </a:cubicBezTo>
                <a:cubicBezTo>
                  <a:pt x="467" y="454"/>
                  <a:pt x="478" y="465"/>
                  <a:pt x="478" y="4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526838" y="530225"/>
            <a:ext cx="187325" cy="193675"/>
          </a:xfrm>
          <a:custGeom>
            <a:avLst/>
            <a:gdLst>
              <a:gd name="T0" fmla="*/ 588 w 588"/>
              <a:gd name="T1" fmla="*/ 39 h 609"/>
              <a:gd name="T2" fmla="*/ 562 w 588"/>
              <a:gd name="T3" fmla="*/ 13 h 609"/>
              <a:gd name="T4" fmla="*/ 543 w 588"/>
              <a:gd name="T5" fmla="*/ 13 h 609"/>
              <a:gd name="T6" fmla="*/ 517 w 588"/>
              <a:gd name="T7" fmla="*/ 39 h 609"/>
              <a:gd name="T8" fmla="*/ 517 w 588"/>
              <a:gd name="T9" fmla="*/ 108 h 609"/>
              <a:gd name="T10" fmla="*/ 286 w 588"/>
              <a:gd name="T11" fmla="*/ 0 h 609"/>
              <a:gd name="T12" fmla="*/ 0 w 588"/>
              <a:gd name="T13" fmla="*/ 304 h 609"/>
              <a:gd name="T14" fmla="*/ 286 w 588"/>
              <a:gd name="T15" fmla="*/ 609 h 609"/>
              <a:gd name="T16" fmla="*/ 517 w 588"/>
              <a:gd name="T17" fmla="*/ 500 h 609"/>
              <a:gd name="T18" fmla="*/ 517 w 588"/>
              <a:gd name="T19" fmla="*/ 569 h 609"/>
              <a:gd name="T20" fmla="*/ 543 w 588"/>
              <a:gd name="T21" fmla="*/ 595 h 609"/>
              <a:gd name="T22" fmla="*/ 562 w 588"/>
              <a:gd name="T23" fmla="*/ 595 h 609"/>
              <a:gd name="T24" fmla="*/ 588 w 588"/>
              <a:gd name="T25" fmla="*/ 569 h 609"/>
              <a:gd name="T26" fmla="*/ 588 w 588"/>
              <a:gd name="T27" fmla="*/ 39 h 609"/>
              <a:gd name="T28" fmla="*/ 311 w 588"/>
              <a:gd name="T29" fmla="*/ 474 h 609"/>
              <a:gd name="T30" fmla="*/ 103 w 588"/>
              <a:gd name="T31" fmla="*/ 304 h 609"/>
              <a:gd name="T32" fmla="*/ 311 w 588"/>
              <a:gd name="T33" fmla="*/ 135 h 609"/>
              <a:gd name="T34" fmla="*/ 517 w 588"/>
              <a:gd name="T35" fmla="*/ 304 h 609"/>
              <a:gd name="T36" fmla="*/ 311 w 588"/>
              <a:gd name="T37" fmla="*/ 47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8" h="609">
                <a:moveTo>
                  <a:pt x="588" y="39"/>
                </a:moveTo>
                <a:cubicBezTo>
                  <a:pt x="588" y="25"/>
                  <a:pt x="576" y="13"/>
                  <a:pt x="562" y="13"/>
                </a:cubicBezTo>
                <a:cubicBezTo>
                  <a:pt x="543" y="13"/>
                  <a:pt x="543" y="13"/>
                  <a:pt x="543" y="13"/>
                </a:cubicBezTo>
                <a:cubicBezTo>
                  <a:pt x="529" y="13"/>
                  <a:pt x="517" y="25"/>
                  <a:pt x="517" y="39"/>
                </a:cubicBezTo>
                <a:cubicBezTo>
                  <a:pt x="517" y="108"/>
                  <a:pt x="517" y="108"/>
                  <a:pt x="517" y="108"/>
                </a:cubicBezTo>
                <a:cubicBezTo>
                  <a:pt x="498" y="73"/>
                  <a:pt x="427" y="0"/>
                  <a:pt x="286" y="0"/>
                </a:cubicBezTo>
                <a:cubicBezTo>
                  <a:pt x="122" y="0"/>
                  <a:pt x="0" y="131"/>
                  <a:pt x="0" y="304"/>
                </a:cubicBezTo>
                <a:cubicBezTo>
                  <a:pt x="0" y="478"/>
                  <a:pt x="122" y="609"/>
                  <a:pt x="286" y="609"/>
                </a:cubicBezTo>
                <a:cubicBezTo>
                  <a:pt x="427" y="609"/>
                  <a:pt x="498" y="535"/>
                  <a:pt x="517" y="500"/>
                </a:cubicBezTo>
                <a:cubicBezTo>
                  <a:pt x="517" y="569"/>
                  <a:pt x="517" y="569"/>
                  <a:pt x="517" y="569"/>
                </a:cubicBezTo>
                <a:cubicBezTo>
                  <a:pt x="517" y="583"/>
                  <a:pt x="529" y="595"/>
                  <a:pt x="543" y="595"/>
                </a:cubicBezTo>
                <a:cubicBezTo>
                  <a:pt x="562" y="595"/>
                  <a:pt x="562" y="595"/>
                  <a:pt x="562" y="595"/>
                </a:cubicBezTo>
                <a:cubicBezTo>
                  <a:pt x="576" y="595"/>
                  <a:pt x="588" y="583"/>
                  <a:pt x="588" y="569"/>
                </a:cubicBezTo>
                <a:lnTo>
                  <a:pt x="588" y="39"/>
                </a:lnTo>
                <a:close/>
                <a:moveTo>
                  <a:pt x="311" y="474"/>
                </a:moveTo>
                <a:cubicBezTo>
                  <a:pt x="192" y="474"/>
                  <a:pt x="103" y="401"/>
                  <a:pt x="103" y="304"/>
                </a:cubicBezTo>
                <a:cubicBezTo>
                  <a:pt x="103" y="208"/>
                  <a:pt x="192" y="135"/>
                  <a:pt x="311" y="135"/>
                </a:cubicBezTo>
                <a:cubicBezTo>
                  <a:pt x="430" y="135"/>
                  <a:pt x="517" y="208"/>
                  <a:pt x="517" y="304"/>
                </a:cubicBezTo>
                <a:cubicBezTo>
                  <a:pt x="517" y="401"/>
                  <a:pt x="429" y="474"/>
                  <a:pt x="311" y="4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noEditPoints="1"/>
          </p:cNvSpPr>
          <p:nvPr userDrawn="1"/>
        </p:nvSpPr>
        <p:spPr bwMode="auto">
          <a:xfrm>
            <a:off x="11025188" y="314325"/>
            <a:ext cx="858838" cy="700088"/>
          </a:xfrm>
          <a:custGeom>
            <a:avLst/>
            <a:gdLst>
              <a:gd name="T0" fmla="*/ 2624 w 2704"/>
              <a:gd name="T1" fmla="*/ 753 h 2206"/>
              <a:gd name="T2" fmla="*/ 2407 w 2704"/>
              <a:gd name="T3" fmla="*/ 395 h 2206"/>
              <a:gd name="T4" fmla="*/ 2108 w 2704"/>
              <a:gd name="T5" fmla="*/ 198 h 2206"/>
              <a:gd name="T6" fmla="*/ 732 w 2704"/>
              <a:gd name="T7" fmla="*/ 3 h 2206"/>
              <a:gd name="T8" fmla="*/ 697 w 2704"/>
              <a:gd name="T9" fmla="*/ 0 h 2206"/>
              <a:gd name="T10" fmla="*/ 486 w 2704"/>
              <a:gd name="T11" fmla="*/ 116 h 2206"/>
              <a:gd name="T12" fmla="*/ 88 w 2704"/>
              <a:gd name="T13" fmla="*/ 738 h 2206"/>
              <a:gd name="T14" fmla="*/ 73 w 2704"/>
              <a:gd name="T15" fmla="*/ 1161 h 2206"/>
              <a:gd name="T16" fmla="*/ 553 w 2704"/>
              <a:gd name="T17" fmla="*/ 2050 h 2206"/>
              <a:gd name="T18" fmla="*/ 848 w 2704"/>
              <a:gd name="T19" fmla="*/ 2170 h 2206"/>
              <a:gd name="T20" fmla="*/ 2299 w 2704"/>
              <a:gd name="T21" fmla="*/ 1721 h 2206"/>
              <a:gd name="T22" fmla="*/ 2455 w 2704"/>
              <a:gd name="T23" fmla="*/ 1582 h 2206"/>
              <a:gd name="T24" fmla="*/ 2649 w 2704"/>
              <a:gd name="T25" fmla="*/ 1137 h 2206"/>
              <a:gd name="T26" fmla="*/ 2624 w 2704"/>
              <a:gd name="T27" fmla="*/ 753 h 2206"/>
              <a:gd name="T28" fmla="*/ 2595 w 2704"/>
              <a:gd name="T29" fmla="*/ 1113 h 2206"/>
              <a:gd name="T30" fmla="*/ 2400 w 2704"/>
              <a:gd name="T31" fmla="*/ 1558 h 2206"/>
              <a:gd name="T32" fmla="*/ 2282 w 2704"/>
              <a:gd name="T33" fmla="*/ 1665 h 2206"/>
              <a:gd name="T34" fmla="*/ 831 w 2704"/>
              <a:gd name="T35" fmla="*/ 2114 h 2206"/>
              <a:gd name="T36" fmla="*/ 774 w 2704"/>
              <a:gd name="T37" fmla="*/ 2123 h 2206"/>
              <a:gd name="T38" fmla="*/ 606 w 2704"/>
              <a:gd name="T39" fmla="*/ 2022 h 2206"/>
              <a:gd name="T40" fmla="*/ 124 w 2704"/>
              <a:gd name="T41" fmla="*/ 1133 h 2206"/>
              <a:gd name="T42" fmla="*/ 138 w 2704"/>
              <a:gd name="T43" fmla="*/ 769 h 2206"/>
              <a:gd name="T44" fmla="*/ 535 w 2704"/>
              <a:gd name="T45" fmla="*/ 147 h 2206"/>
              <a:gd name="T46" fmla="*/ 697 w 2704"/>
              <a:gd name="T47" fmla="*/ 59 h 2206"/>
              <a:gd name="T48" fmla="*/ 724 w 2704"/>
              <a:gd name="T49" fmla="*/ 60 h 2206"/>
              <a:gd name="T50" fmla="*/ 2100 w 2704"/>
              <a:gd name="T51" fmla="*/ 256 h 2206"/>
              <a:gd name="T52" fmla="*/ 2357 w 2704"/>
              <a:gd name="T53" fmla="*/ 426 h 2206"/>
              <a:gd name="T54" fmla="*/ 2573 w 2704"/>
              <a:gd name="T55" fmla="*/ 784 h 2206"/>
              <a:gd name="T56" fmla="*/ 2595 w 2704"/>
              <a:gd name="T57" fmla="*/ 1113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4" h="2206">
                <a:moveTo>
                  <a:pt x="2624" y="753"/>
                </a:moveTo>
                <a:cubicBezTo>
                  <a:pt x="2407" y="395"/>
                  <a:pt x="2407" y="395"/>
                  <a:pt x="2407" y="395"/>
                </a:cubicBezTo>
                <a:cubicBezTo>
                  <a:pt x="2342" y="288"/>
                  <a:pt x="2232" y="215"/>
                  <a:pt x="2108" y="198"/>
                </a:cubicBezTo>
                <a:cubicBezTo>
                  <a:pt x="732" y="3"/>
                  <a:pt x="732" y="3"/>
                  <a:pt x="732" y="3"/>
                </a:cubicBezTo>
                <a:cubicBezTo>
                  <a:pt x="720" y="1"/>
                  <a:pt x="708" y="0"/>
                  <a:pt x="697" y="0"/>
                </a:cubicBezTo>
                <a:cubicBezTo>
                  <a:pt x="611" y="0"/>
                  <a:pt x="532" y="44"/>
                  <a:pt x="486" y="116"/>
                </a:cubicBezTo>
                <a:cubicBezTo>
                  <a:pt x="88" y="738"/>
                  <a:pt x="88" y="738"/>
                  <a:pt x="88" y="738"/>
                </a:cubicBezTo>
                <a:cubicBezTo>
                  <a:pt x="6" y="866"/>
                  <a:pt x="0" y="1028"/>
                  <a:pt x="73" y="1161"/>
                </a:cubicBezTo>
                <a:cubicBezTo>
                  <a:pt x="553" y="2050"/>
                  <a:pt x="553" y="2050"/>
                  <a:pt x="553" y="2050"/>
                </a:cubicBezTo>
                <a:cubicBezTo>
                  <a:pt x="610" y="2155"/>
                  <a:pt x="733" y="2206"/>
                  <a:pt x="848" y="2170"/>
                </a:cubicBezTo>
                <a:cubicBezTo>
                  <a:pt x="2299" y="1721"/>
                  <a:pt x="2299" y="1721"/>
                  <a:pt x="2299" y="1721"/>
                </a:cubicBezTo>
                <a:cubicBezTo>
                  <a:pt x="2369" y="1699"/>
                  <a:pt x="2425" y="1649"/>
                  <a:pt x="2455" y="1582"/>
                </a:cubicBezTo>
                <a:cubicBezTo>
                  <a:pt x="2649" y="1137"/>
                  <a:pt x="2649" y="1137"/>
                  <a:pt x="2649" y="1137"/>
                </a:cubicBezTo>
                <a:cubicBezTo>
                  <a:pt x="2704" y="1012"/>
                  <a:pt x="2694" y="869"/>
                  <a:pt x="2624" y="753"/>
                </a:cubicBezTo>
                <a:close/>
                <a:moveTo>
                  <a:pt x="2595" y="1113"/>
                </a:moveTo>
                <a:cubicBezTo>
                  <a:pt x="2400" y="1558"/>
                  <a:pt x="2400" y="1558"/>
                  <a:pt x="2400" y="1558"/>
                </a:cubicBezTo>
                <a:cubicBezTo>
                  <a:pt x="2378" y="1609"/>
                  <a:pt x="2335" y="1648"/>
                  <a:pt x="2282" y="1665"/>
                </a:cubicBezTo>
                <a:cubicBezTo>
                  <a:pt x="831" y="2114"/>
                  <a:pt x="831" y="2114"/>
                  <a:pt x="831" y="2114"/>
                </a:cubicBezTo>
                <a:cubicBezTo>
                  <a:pt x="812" y="2120"/>
                  <a:pt x="793" y="2123"/>
                  <a:pt x="774" y="2123"/>
                </a:cubicBezTo>
                <a:cubicBezTo>
                  <a:pt x="704" y="2123"/>
                  <a:pt x="639" y="2084"/>
                  <a:pt x="606" y="2022"/>
                </a:cubicBezTo>
                <a:cubicBezTo>
                  <a:pt x="124" y="1133"/>
                  <a:pt x="124" y="1133"/>
                  <a:pt x="124" y="1133"/>
                </a:cubicBezTo>
                <a:cubicBezTo>
                  <a:pt x="62" y="1019"/>
                  <a:pt x="67" y="879"/>
                  <a:pt x="138" y="769"/>
                </a:cubicBezTo>
                <a:cubicBezTo>
                  <a:pt x="535" y="147"/>
                  <a:pt x="535" y="147"/>
                  <a:pt x="535" y="147"/>
                </a:cubicBezTo>
                <a:cubicBezTo>
                  <a:pt x="570" y="92"/>
                  <a:pt x="631" y="59"/>
                  <a:pt x="697" y="59"/>
                </a:cubicBezTo>
                <a:cubicBezTo>
                  <a:pt x="706" y="59"/>
                  <a:pt x="715" y="59"/>
                  <a:pt x="724" y="60"/>
                </a:cubicBezTo>
                <a:cubicBezTo>
                  <a:pt x="2100" y="256"/>
                  <a:pt x="2100" y="256"/>
                  <a:pt x="2100" y="256"/>
                </a:cubicBezTo>
                <a:cubicBezTo>
                  <a:pt x="2207" y="271"/>
                  <a:pt x="2301" y="333"/>
                  <a:pt x="2357" y="426"/>
                </a:cubicBezTo>
                <a:cubicBezTo>
                  <a:pt x="2573" y="784"/>
                  <a:pt x="2573" y="784"/>
                  <a:pt x="2573" y="784"/>
                </a:cubicBezTo>
                <a:cubicBezTo>
                  <a:pt x="2634" y="884"/>
                  <a:pt x="2642" y="1007"/>
                  <a:pt x="2595" y="1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91199"/>
            <a:ext cx="8352000" cy="2031231"/>
          </a:xfrm>
        </p:spPr>
        <p:txBody>
          <a:bodyPr anchor="b"/>
          <a:lstStyle>
            <a:lvl1pPr algn="l">
              <a:lnSpc>
                <a:spcPct val="90000"/>
              </a:lnSpc>
              <a:defRPr sz="7000">
                <a:solidFill>
                  <a:srgbClr val="004A26"/>
                </a:solidFill>
              </a:defRPr>
            </a:lvl1pPr>
          </a:lstStyle>
          <a:p>
            <a:r>
              <a:rPr lang="nl-NL" dirty="0"/>
              <a:t>[Titel]</a:t>
            </a:r>
          </a:p>
        </p:txBody>
      </p:sp>
      <p:sp>
        <p:nvSpPr>
          <p:cNvPr id="3" name="Ondertitel 2"/>
          <p:cNvSpPr>
            <a:spLocks noGrp="1" noSelect="1"/>
          </p:cNvSpPr>
          <p:nvPr>
            <p:ph type="subTitle" idx="1" hasCustomPrompt="1"/>
          </p:nvPr>
        </p:nvSpPr>
        <p:spPr>
          <a:xfrm>
            <a:off x="1321200" y="4050460"/>
            <a:ext cx="8352000" cy="1404000"/>
          </a:xfrm>
        </p:spPr>
        <p:txBody>
          <a:bodyPr/>
          <a:lstStyle>
            <a:lvl1pPr marL="0" indent="0" algn="l">
              <a:buNone/>
              <a:defRPr sz="3500">
                <a:solidFill>
                  <a:srgbClr val="0E864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a:noFill/>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a:noFill/>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21863587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eldia paars">
    <p:bg>
      <p:bgPr>
        <a:solidFill>
          <a:srgbClr val="852F81"/>
        </a:solidFill>
        <a:effectLst/>
      </p:bgPr>
    </p:bg>
    <p:spTree>
      <p:nvGrpSpPr>
        <p:cNvPr id="1" name=""/>
        <p:cNvGrpSpPr/>
        <p:nvPr/>
      </p:nvGrpSpPr>
      <p:grpSpPr>
        <a:xfrm>
          <a:off x="0" y="0"/>
          <a:ext cx="0" cy="0"/>
          <a:chOff x="0" y="0"/>
          <a:chExt cx="0" cy="0"/>
        </a:xfrm>
      </p:grpSpPr>
      <p:sp>
        <p:nvSpPr>
          <p:cNvPr id="9" name="Freeform 6"/>
          <p:cNvSpPr>
            <a:spLocks noSelect="1"/>
          </p:cNvSpPr>
          <p:nvPr userDrawn="1"/>
        </p:nvSpPr>
        <p:spPr bwMode="auto">
          <a:xfrm>
            <a:off x="0" y="0"/>
            <a:ext cx="11380788" cy="6858000"/>
          </a:xfrm>
          <a:custGeom>
            <a:avLst/>
            <a:gdLst>
              <a:gd name="T0" fmla="*/ 34525 w 35846"/>
              <a:gd name="T1" fmla="*/ 10375 h 21600"/>
              <a:gd name="T2" fmla="*/ 29683 w 35846"/>
              <a:gd name="T3" fmla="*/ 894 h 21600"/>
              <a:gd name="T4" fmla="*/ 29089 w 35846"/>
              <a:gd name="T5" fmla="*/ 0 h 21600"/>
              <a:gd name="T6" fmla="*/ 15840 w 35846"/>
              <a:gd name="T7" fmla="*/ 0 h 21600"/>
              <a:gd name="T8" fmla="*/ 3266 w 35846"/>
              <a:gd name="T9" fmla="*/ 0 h 21600"/>
              <a:gd name="T10" fmla="*/ 0 w 35846"/>
              <a:gd name="T11" fmla="*/ 0 h 21600"/>
              <a:gd name="T12" fmla="*/ 0 w 35846"/>
              <a:gd name="T13" fmla="*/ 2257 h 21600"/>
              <a:gd name="T14" fmla="*/ 0 w 35846"/>
              <a:gd name="T15" fmla="*/ 19312 h 21600"/>
              <a:gd name="T16" fmla="*/ 0 w 35846"/>
              <a:gd name="T17" fmla="*/ 21600 h 21600"/>
              <a:gd name="T18" fmla="*/ 2065 w 35846"/>
              <a:gd name="T19" fmla="*/ 21600 h 21600"/>
              <a:gd name="T20" fmla="*/ 15840 w 35846"/>
              <a:gd name="T21" fmla="*/ 21600 h 21600"/>
              <a:gd name="T22" fmla="*/ 17380 w 35846"/>
              <a:gd name="T23" fmla="*/ 21600 h 21600"/>
              <a:gd name="T24" fmla="*/ 31764 w 35846"/>
              <a:gd name="T25" fmla="*/ 17003 h 21600"/>
              <a:gd name="T26" fmla="*/ 34525 w 35846"/>
              <a:gd name="T27" fmla="*/ 10375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46" h="21600">
                <a:moveTo>
                  <a:pt x="34525" y="10375"/>
                </a:moveTo>
                <a:cubicBezTo>
                  <a:pt x="29683" y="894"/>
                  <a:pt x="29683" y="894"/>
                  <a:pt x="29683" y="894"/>
                </a:cubicBezTo>
                <a:cubicBezTo>
                  <a:pt x="29519" y="574"/>
                  <a:pt x="29320" y="274"/>
                  <a:pt x="29089" y="0"/>
                </a:cubicBezTo>
                <a:cubicBezTo>
                  <a:pt x="15840" y="0"/>
                  <a:pt x="15840" y="0"/>
                  <a:pt x="15840" y="0"/>
                </a:cubicBezTo>
                <a:cubicBezTo>
                  <a:pt x="3266" y="0"/>
                  <a:pt x="3266" y="0"/>
                  <a:pt x="3266" y="0"/>
                </a:cubicBezTo>
                <a:cubicBezTo>
                  <a:pt x="0" y="0"/>
                  <a:pt x="0" y="0"/>
                  <a:pt x="0" y="0"/>
                </a:cubicBezTo>
                <a:cubicBezTo>
                  <a:pt x="0" y="2257"/>
                  <a:pt x="0" y="2257"/>
                  <a:pt x="0" y="2257"/>
                </a:cubicBezTo>
                <a:cubicBezTo>
                  <a:pt x="0" y="19312"/>
                  <a:pt x="0" y="19312"/>
                  <a:pt x="0" y="19312"/>
                </a:cubicBezTo>
                <a:cubicBezTo>
                  <a:pt x="0" y="21600"/>
                  <a:pt x="0" y="21600"/>
                  <a:pt x="0" y="21600"/>
                </a:cubicBezTo>
                <a:cubicBezTo>
                  <a:pt x="2065" y="21600"/>
                  <a:pt x="2065" y="21600"/>
                  <a:pt x="2065" y="21600"/>
                </a:cubicBezTo>
                <a:cubicBezTo>
                  <a:pt x="15840" y="21600"/>
                  <a:pt x="15840" y="21600"/>
                  <a:pt x="15840" y="21600"/>
                </a:cubicBezTo>
                <a:cubicBezTo>
                  <a:pt x="17380" y="21600"/>
                  <a:pt x="17380" y="21600"/>
                  <a:pt x="17380" y="21600"/>
                </a:cubicBezTo>
                <a:cubicBezTo>
                  <a:pt x="31764" y="17003"/>
                  <a:pt x="31764" y="17003"/>
                  <a:pt x="31764" y="17003"/>
                </a:cubicBezTo>
                <a:cubicBezTo>
                  <a:pt x="34532" y="16118"/>
                  <a:pt x="35846" y="12963"/>
                  <a:pt x="34525" y="10375"/>
                </a:cubicBez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10" name="Freeform 7"/>
          <p:cNvSpPr>
            <a:spLocks noSelect="1"/>
          </p:cNvSpPr>
          <p:nvPr userDrawn="1"/>
        </p:nvSpPr>
        <p:spPr bwMode="auto">
          <a:xfrm>
            <a:off x="11193463" y="534988"/>
            <a:ext cx="160338" cy="184150"/>
          </a:xfrm>
          <a:custGeom>
            <a:avLst/>
            <a:gdLst>
              <a:gd name="T0" fmla="*/ 25 w 504"/>
              <a:gd name="T1" fmla="*/ 0 h 581"/>
              <a:gd name="T2" fmla="*/ 104 w 504"/>
              <a:gd name="T3" fmla="*/ 0 h 581"/>
              <a:gd name="T4" fmla="*/ 124 w 504"/>
              <a:gd name="T5" fmla="*/ 10 h 581"/>
              <a:gd name="T6" fmla="*/ 381 w 504"/>
              <a:gd name="T7" fmla="*/ 363 h 581"/>
              <a:gd name="T8" fmla="*/ 391 w 504"/>
              <a:gd name="T9" fmla="*/ 368 h 581"/>
              <a:gd name="T10" fmla="*/ 419 w 504"/>
              <a:gd name="T11" fmla="*/ 368 h 581"/>
              <a:gd name="T12" fmla="*/ 432 w 504"/>
              <a:gd name="T13" fmla="*/ 355 h 581"/>
              <a:gd name="T14" fmla="*/ 432 w 504"/>
              <a:gd name="T15" fmla="*/ 25 h 581"/>
              <a:gd name="T16" fmla="*/ 458 w 504"/>
              <a:gd name="T17" fmla="*/ 0 h 581"/>
              <a:gd name="T18" fmla="*/ 478 w 504"/>
              <a:gd name="T19" fmla="*/ 0 h 581"/>
              <a:gd name="T20" fmla="*/ 504 w 504"/>
              <a:gd name="T21" fmla="*/ 25 h 581"/>
              <a:gd name="T22" fmla="*/ 504 w 504"/>
              <a:gd name="T23" fmla="*/ 555 h 581"/>
              <a:gd name="T24" fmla="*/ 478 w 504"/>
              <a:gd name="T25" fmla="*/ 581 h 581"/>
              <a:gd name="T26" fmla="*/ 399 w 504"/>
              <a:gd name="T27" fmla="*/ 581 h 581"/>
              <a:gd name="T28" fmla="*/ 378 w 504"/>
              <a:gd name="T29" fmla="*/ 571 h 581"/>
              <a:gd name="T30" fmla="*/ 122 w 504"/>
              <a:gd name="T31" fmla="*/ 218 h 581"/>
              <a:gd name="T32" fmla="*/ 111 w 504"/>
              <a:gd name="T33" fmla="*/ 213 h 581"/>
              <a:gd name="T34" fmla="*/ 83 w 504"/>
              <a:gd name="T35" fmla="*/ 213 h 581"/>
              <a:gd name="T36" fmla="*/ 70 w 504"/>
              <a:gd name="T37" fmla="*/ 226 h 581"/>
              <a:gd name="T38" fmla="*/ 70 w 504"/>
              <a:gd name="T39" fmla="*/ 555 h 581"/>
              <a:gd name="T40" fmla="*/ 44 w 504"/>
              <a:gd name="T41" fmla="*/ 581 h 581"/>
              <a:gd name="T42" fmla="*/ 25 w 504"/>
              <a:gd name="T43" fmla="*/ 581 h 581"/>
              <a:gd name="T44" fmla="*/ 0 w 504"/>
              <a:gd name="T45" fmla="*/ 555 h 581"/>
              <a:gd name="T46" fmla="*/ 0 w 504"/>
              <a:gd name="T47" fmla="*/ 25 h 581"/>
              <a:gd name="T48" fmla="*/ 25 w 504"/>
              <a:gd name="T4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4" h="581">
                <a:moveTo>
                  <a:pt x="25" y="0"/>
                </a:moveTo>
                <a:cubicBezTo>
                  <a:pt x="104" y="0"/>
                  <a:pt x="104" y="0"/>
                  <a:pt x="104" y="0"/>
                </a:cubicBezTo>
                <a:cubicBezTo>
                  <a:pt x="112" y="0"/>
                  <a:pt x="120" y="4"/>
                  <a:pt x="124" y="10"/>
                </a:cubicBezTo>
                <a:cubicBezTo>
                  <a:pt x="381" y="363"/>
                  <a:pt x="381" y="363"/>
                  <a:pt x="381" y="363"/>
                </a:cubicBezTo>
                <a:cubicBezTo>
                  <a:pt x="383" y="366"/>
                  <a:pt x="387" y="368"/>
                  <a:pt x="391" y="368"/>
                </a:cubicBezTo>
                <a:cubicBezTo>
                  <a:pt x="419" y="368"/>
                  <a:pt x="419" y="368"/>
                  <a:pt x="419" y="368"/>
                </a:cubicBezTo>
                <a:cubicBezTo>
                  <a:pt x="426" y="368"/>
                  <a:pt x="432" y="362"/>
                  <a:pt x="432" y="355"/>
                </a:cubicBezTo>
                <a:cubicBezTo>
                  <a:pt x="432" y="25"/>
                  <a:pt x="432" y="25"/>
                  <a:pt x="432" y="25"/>
                </a:cubicBezTo>
                <a:cubicBezTo>
                  <a:pt x="432" y="11"/>
                  <a:pt x="444" y="0"/>
                  <a:pt x="458" y="0"/>
                </a:cubicBezTo>
                <a:cubicBezTo>
                  <a:pt x="478" y="0"/>
                  <a:pt x="478" y="0"/>
                  <a:pt x="478" y="0"/>
                </a:cubicBezTo>
                <a:cubicBezTo>
                  <a:pt x="492" y="0"/>
                  <a:pt x="504" y="11"/>
                  <a:pt x="504" y="25"/>
                </a:cubicBezTo>
                <a:cubicBezTo>
                  <a:pt x="504" y="555"/>
                  <a:pt x="504" y="555"/>
                  <a:pt x="504" y="555"/>
                </a:cubicBezTo>
                <a:cubicBezTo>
                  <a:pt x="504" y="570"/>
                  <a:pt x="492" y="581"/>
                  <a:pt x="478" y="581"/>
                </a:cubicBezTo>
                <a:cubicBezTo>
                  <a:pt x="399" y="581"/>
                  <a:pt x="399" y="581"/>
                  <a:pt x="399" y="581"/>
                </a:cubicBezTo>
                <a:cubicBezTo>
                  <a:pt x="390" y="581"/>
                  <a:pt x="382" y="577"/>
                  <a:pt x="378" y="571"/>
                </a:cubicBezTo>
                <a:cubicBezTo>
                  <a:pt x="122" y="218"/>
                  <a:pt x="122" y="218"/>
                  <a:pt x="122" y="218"/>
                </a:cubicBezTo>
                <a:cubicBezTo>
                  <a:pt x="120" y="215"/>
                  <a:pt x="116" y="213"/>
                  <a:pt x="111" y="213"/>
                </a:cubicBezTo>
                <a:cubicBezTo>
                  <a:pt x="83" y="213"/>
                  <a:pt x="83" y="213"/>
                  <a:pt x="83" y="213"/>
                </a:cubicBezTo>
                <a:cubicBezTo>
                  <a:pt x="76" y="213"/>
                  <a:pt x="70" y="219"/>
                  <a:pt x="70" y="226"/>
                </a:cubicBezTo>
                <a:cubicBezTo>
                  <a:pt x="70" y="555"/>
                  <a:pt x="70" y="555"/>
                  <a:pt x="70" y="555"/>
                </a:cubicBezTo>
                <a:cubicBezTo>
                  <a:pt x="70" y="570"/>
                  <a:pt x="59" y="581"/>
                  <a:pt x="44" y="581"/>
                </a:cubicBezTo>
                <a:cubicBezTo>
                  <a:pt x="25" y="581"/>
                  <a:pt x="25" y="581"/>
                  <a:pt x="25" y="581"/>
                </a:cubicBezTo>
                <a:cubicBezTo>
                  <a:pt x="11" y="581"/>
                  <a:pt x="0" y="570"/>
                  <a:pt x="0" y="555"/>
                </a:cubicBezTo>
                <a:cubicBezTo>
                  <a:pt x="0" y="25"/>
                  <a:pt x="0" y="25"/>
                  <a:pt x="0" y="25"/>
                </a:cubicBezTo>
                <a:cubicBezTo>
                  <a:pt x="0" y="11"/>
                  <a:pt x="11"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1" name="Freeform 8"/>
          <p:cNvSpPr>
            <a:spLocks noSelect="1"/>
          </p:cNvSpPr>
          <p:nvPr userDrawn="1"/>
        </p:nvSpPr>
        <p:spPr bwMode="auto">
          <a:xfrm>
            <a:off x="11374438" y="534988"/>
            <a:ext cx="152400" cy="184150"/>
          </a:xfrm>
          <a:custGeom>
            <a:avLst/>
            <a:gdLst>
              <a:gd name="T0" fmla="*/ 478 w 478"/>
              <a:gd name="T1" fmla="*/ 480 h 581"/>
              <a:gd name="T2" fmla="*/ 478 w 478"/>
              <a:gd name="T3" fmla="*/ 556 h 581"/>
              <a:gd name="T4" fmla="*/ 452 w 478"/>
              <a:gd name="T5" fmla="*/ 581 h 581"/>
              <a:gd name="T6" fmla="*/ 26 w 478"/>
              <a:gd name="T7" fmla="*/ 581 h 581"/>
              <a:gd name="T8" fmla="*/ 0 w 478"/>
              <a:gd name="T9" fmla="*/ 556 h 581"/>
              <a:gd name="T10" fmla="*/ 0 w 478"/>
              <a:gd name="T11" fmla="*/ 496 h 581"/>
              <a:gd name="T12" fmla="*/ 7 w 478"/>
              <a:gd name="T13" fmla="*/ 479 h 581"/>
              <a:gd name="T14" fmla="*/ 303 w 478"/>
              <a:gd name="T15" fmla="*/ 171 h 581"/>
              <a:gd name="T16" fmla="*/ 302 w 478"/>
              <a:gd name="T17" fmla="*/ 134 h 581"/>
              <a:gd name="T18" fmla="*/ 284 w 478"/>
              <a:gd name="T19" fmla="*/ 127 h 581"/>
              <a:gd name="T20" fmla="*/ 29 w 478"/>
              <a:gd name="T21" fmla="*/ 127 h 581"/>
              <a:gd name="T22" fmla="*/ 4 w 478"/>
              <a:gd name="T23" fmla="*/ 101 h 581"/>
              <a:gd name="T24" fmla="*/ 4 w 478"/>
              <a:gd name="T25" fmla="*/ 101 h 581"/>
              <a:gd name="T26" fmla="*/ 4 w 478"/>
              <a:gd name="T27" fmla="*/ 25 h 581"/>
              <a:gd name="T28" fmla="*/ 29 w 478"/>
              <a:gd name="T29" fmla="*/ 0 h 581"/>
              <a:gd name="T30" fmla="*/ 29 w 478"/>
              <a:gd name="T31" fmla="*/ 0 h 581"/>
              <a:gd name="T32" fmla="*/ 447 w 478"/>
              <a:gd name="T33" fmla="*/ 0 h 581"/>
              <a:gd name="T34" fmla="*/ 472 w 478"/>
              <a:gd name="T35" fmla="*/ 25 h 581"/>
              <a:gd name="T36" fmla="*/ 472 w 478"/>
              <a:gd name="T37" fmla="*/ 85 h 581"/>
              <a:gd name="T38" fmla="*/ 465 w 478"/>
              <a:gd name="T39" fmla="*/ 102 h 581"/>
              <a:gd name="T40" fmla="*/ 170 w 478"/>
              <a:gd name="T41" fmla="*/ 410 h 581"/>
              <a:gd name="T42" fmla="*/ 171 w 478"/>
              <a:gd name="T43" fmla="*/ 447 h 581"/>
              <a:gd name="T44" fmla="*/ 189 w 478"/>
              <a:gd name="T45" fmla="*/ 454 h 581"/>
              <a:gd name="T46" fmla="*/ 452 w 478"/>
              <a:gd name="T47" fmla="*/ 454 h 581"/>
              <a:gd name="T48" fmla="*/ 478 w 478"/>
              <a:gd name="T49" fmla="*/ 4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581">
                <a:moveTo>
                  <a:pt x="478" y="480"/>
                </a:moveTo>
                <a:cubicBezTo>
                  <a:pt x="478" y="556"/>
                  <a:pt x="478" y="556"/>
                  <a:pt x="478" y="556"/>
                </a:cubicBezTo>
                <a:cubicBezTo>
                  <a:pt x="478" y="570"/>
                  <a:pt x="467" y="581"/>
                  <a:pt x="452" y="581"/>
                </a:cubicBezTo>
                <a:cubicBezTo>
                  <a:pt x="26" y="581"/>
                  <a:pt x="26" y="581"/>
                  <a:pt x="26" y="581"/>
                </a:cubicBezTo>
                <a:cubicBezTo>
                  <a:pt x="12" y="581"/>
                  <a:pt x="0" y="570"/>
                  <a:pt x="0" y="556"/>
                </a:cubicBezTo>
                <a:cubicBezTo>
                  <a:pt x="0" y="496"/>
                  <a:pt x="0" y="496"/>
                  <a:pt x="0" y="496"/>
                </a:cubicBezTo>
                <a:cubicBezTo>
                  <a:pt x="0" y="490"/>
                  <a:pt x="3" y="483"/>
                  <a:pt x="7" y="479"/>
                </a:cubicBezTo>
                <a:cubicBezTo>
                  <a:pt x="303" y="171"/>
                  <a:pt x="303" y="171"/>
                  <a:pt x="303" y="171"/>
                </a:cubicBezTo>
                <a:cubicBezTo>
                  <a:pt x="312" y="160"/>
                  <a:pt x="312" y="144"/>
                  <a:pt x="302" y="134"/>
                </a:cubicBezTo>
                <a:cubicBezTo>
                  <a:pt x="297" y="130"/>
                  <a:pt x="291" y="127"/>
                  <a:pt x="284" y="127"/>
                </a:cubicBezTo>
                <a:cubicBezTo>
                  <a:pt x="29" y="127"/>
                  <a:pt x="29" y="127"/>
                  <a:pt x="29" y="127"/>
                </a:cubicBezTo>
                <a:cubicBezTo>
                  <a:pt x="15" y="127"/>
                  <a:pt x="4" y="115"/>
                  <a:pt x="4" y="101"/>
                </a:cubicBezTo>
                <a:cubicBezTo>
                  <a:pt x="4" y="101"/>
                  <a:pt x="4" y="101"/>
                  <a:pt x="4" y="101"/>
                </a:cubicBezTo>
                <a:cubicBezTo>
                  <a:pt x="4" y="25"/>
                  <a:pt x="4" y="25"/>
                  <a:pt x="4" y="25"/>
                </a:cubicBezTo>
                <a:cubicBezTo>
                  <a:pt x="4" y="11"/>
                  <a:pt x="15" y="0"/>
                  <a:pt x="29" y="0"/>
                </a:cubicBezTo>
                <a:cubicBezTo>
                  <a:pt x="29" y="0"/>
                  <a:pt x="29" y="0"/>
                  <a:pt x="29" y="0"/>
                </a:cubicBezTo>
                <a:cubicBezTo>
                  <a:pt x="447" y="0"/>
                  <a:pt x="447" y="0"/>
                  <a:pt x="447" y="0"/>
                </a:cubicBezTo>
                <a:cubicBezTo>
                  <a:pt x="461" y="0"/>
                  <a:pt x="472" y="11"/>
                  <a:pt x="472" y="25"/>
                </a:cubicBezTo>
                <a:cubicBezTo>
                  <a:pt x="472" y="85"/>
                  <a:pt x="472" y="85"/>
                  <a:pt x="472" y="85"/>
                </a:cubicBezTo>
                <a:cubicBezTo>
                  <a:pt x="472" y="91"/>
                  <a:pt x="470" y="98"/>
                  <a:pt x="465" y="102"/>
                </a:cubicBezTo>
                <a:cubicBezTo>
                  <a:pt x="170" y="410"/>
                  <a:pt x="170" y="410"/>
                  <a:pt x="170" y="410"/>
                </a:cubicBezTo>
                <a:cubicBezTo>
                  <a:pt x="160" y="421"/>
                  <a:pt x="160" y="437"/>
                  <a:pt x="171" y="447"/>
                </a:cubicBezTo>
                <a:cubicBezTo>
                  <a:pt x="175" y="451"/>
                  <a:pt x="182" y="454"/>
                  <a:pt x="189" y="454"/>
                </a:cubicBezTo>
                <a:cubicBezTo>
                  <a:pt x="452" y="454"/>
                  <a:pt x="452" y="454"/>
                  <a:pt x="452" y="454"/>
                </a:cubicBezTo>
                <a:cubicBezTo>
                  <a:pt x="467" y="454"/>
                  <a:pt x="478" y="465"/>
                  <a:pt x="478" y="4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526838" y="530225"/>
            <a:ext cx="187325" cy="193675"/>
          </a:xfrm>
          <a:custGeom>
            <a:avLst/>
            <a:gdLst>
              <a:gd name="T0" fmla="*/ 588 w 588"/>
              <a:gd name="T1" fmla="*/ 39 h 609"/>
              <a:gd name="T2" fmla="*/ 562 w 588"/>
              <a:gd name="T3" fmla="*/ 13 h 609"/>
              <a:gd name="T4" fmla="*/ 543 w 588"/>
              <a:gd name="T5" fmla="*/ 13 h 609"/>
              <a:gd name="T6" fmla="*/ 517 w 588"/>
              <a:gd name="T7" fmla="*/ 39 h 609"/>
              <a:gd name="T8" fmla="*/ 517 w 588"/>
              <a:gd name="T9" fmla="*/ 108 h 609"/>
              <a:gd name="T10" fmla="*/ 286 w 588"/>
              <a:gd name="T11" fmla="*/ 0 h 609"/>
              <a:gd name="T12" fmla="*/ 0 w 588"/>
              <a:gd name="T13" fmla="*/ 304 h 609"/>
              <a:gd name="T14" fmla="*/ 286 w 588"/>
              <a:gd name="T15" fmla="*/ 609 h 609"/>
              <a:gd name="T16" fmla="*/ 517 w 588"/>
              <a:gd name="T17" fmla="*/ 500 h 609"/>
              <a:gd name="T18" fmla="*/ 517 w 588"/>
              <a:gd name="T19" fmla="*/ 569 h 609"/>
              <a:gd name="T20" fmla="*/ 543 w 588"/>
              <a:gd name="T21" fmla="*/ 595 h 609"/>
              <a:gd name="T22" fmla="*/ 562 w 588"/>
              <a:gd name="T23" fmla="*/ 595 h 609"/>
              <a:gd name="T24" fmla="*/ 588 w 588"/>
              <a:gd name="T25" fmla="*/ 569 h 609"/>
              <a:gd name="T26" fmla="*/ 588 w 588"/>
              <a:gd name="T27" fmla="*/ 39 h 609"/>
              <a:gd name="T28" fmla="*/ 311 w 588"/>
              <a:gd name="T29" fmla="*/ 474 h 609"/>
              <a:gd name="T30" fmla="*/ 103 w 588"/>
              <a:gd name="T31" fmla="*/ 304 h 609"/>
              <a:gd name="T32" fmla="*/ 311 w 588"/>
              <a:gd name="T33" fmla="*/ 135 h 609"/>
              <a:gd name="T34" fmla="*/ 517 w 588"/>
              <a:gd name="T35" fmla="*/ 304 h 609"/>
              <a:gd name="T36" fmla="*/ 311 w 588"/>
              <a:gd name="T37" fmla="*/ 47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8" h="609">
                <a:moveTo>
                  <a:pt x="588" y="39"/>
                </a:moveTo>
                <a:cubicBezTo>
                  <a:pt x="588" y="25"/>
                  <a:pt x="576" y="13"/>
                  <a:pt x="562" y="13"/>
                </a:cubicBezTo>
                <a:cubicBezTo>
                  <a:pt x="543" y="13"/>
                  <a:pt x="543" y="13"/>
                  <a:pt x="543" y="13"/>
                </a:cubicBezTo>
                <a:cubicBezTo>
                  <a:pt x="529" y="13"/>
                  <a:pt x="517" y="25"/>
                  <a:pt x="517" y="39"/>
                </a:cubicBezTo>
                <a:cubicBezTo>
                  <a:pt x="517" y="108"/>
                  <a:pt x="517" y="108"/>
                  <a:pt x="517" y="108"/>
                </a:cubicBezTo>
                <a:cubicBezTo>
                  <a:pt x="498" y="73"/>
                  <a:pt x="427" y="0"/>
                  <a:pt x="286" y="0"/>
                </a:cubicBezTo>
                <a:cubicBezTo>
                  <a:pt x="122" y="0"/>
                  <a:pt x="0" y="131"/>
                  <a:pt x="0" y="304"/>
                </a:cubicBezTo>
                <a:cubicBezTo>
                  <a:pt x="0" y="478"/>
                  <a:pt x="122" y="609"/>
                  <a:pt x="286" y="609"/>
                </a:cubicBezTo>
                <a:cubicBezTo>
                  <a:pt x="427" y="609"/>
                  <a:pt x="498" y="535"/>
                  <a:pt x="517" y="500"/>
                </a:cubicBezTo>
                <a:cubicBezTo>
                  <a:pt x="517" y="569"/>
                  <a:pt x="517" y="569"/>
                  <a:pt x="517" y="569"/>
                </a:cubicBezTo>
                <a:cubicBezTo>
                  <a:pt x="517" y="583"/>
                  <a:pt x="529" y="595"/>
                  <a:pt x="543" y="595"/>
                </a:cubicBezTo>
                <a:cubicBezTo>
                  <a:pt x="562" y="595"/>
                  <a:pt x="562" y="595"/>
                  <a:pt x="562" y="595"/>
                </a:cubicBezTo>
                <a:cubicBezTo>
                  <a:pt x="576" y="595"/>
                  <a:pt x="588" y="583"/>
                  <a:pt x="588" y="569"/>
                </a:cubicBezTo>
                <a:lnTo>
                  <a:pt x="588" y="39"/>
                </a:lnTo>
                <a:close/>
                <a:moveTo>
                  <a:pt x="311" y="474"/>
                </a:moveTo>
                <a:cubicBezTo>
                  <a:pt x="192" y="474"/>
                  <a:pt x="103" y="401"/>
                  <a:pt x="103" y="304"/>
                </a:cubicBezTo>
                <a:cubicBezTo>
                  <a:pt x="103" y="208"/>
                  <a:pt x="192" y="135"/>
                  <a:pt x="311" y="135"/>
                </a:cubicBezTo>
                <a:cubicBezTo>
                  <a:pt x="430" y="135"/>
                  <a:pt x="517" y="208"/>
                  <a:pt x="517" y="304"/>
                </a:cubicBezTo>
                <a:cubicBezTo>
                  <a:pt x="517" y="401"/>
                  <a:pt x="429" y="474"/>
                  <a:pt x="311" y="4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noEditPoints="1"/>
          </p:cNvSpPr>
          <p:nvPr userDrawn="1"/>
        </p:nvSpPr>
        <p:spPr bwMode="auto">
          <a:xfrm>
            <a:off x="11025188" y="314325"/>
            <a:ext cx="858838" cy="700088"/>
          </a:xfrm>
          <a:custGeom>
            <a:avLst/>
            <a:gdLst>
              <a:gd name="T0" fmla="*/ 2624 w 2704"/>
              <a:gd name="T1" fmla="*/ 753 h 2206"/>
              <a:gd name="T2" fmla="*/ 2407 w 2704"/>
              <a:gd name="T3" fmla="*/ 395 h 2206"/>
              <a:gd name="T4" fmla="*/ 2108 w 2704"/>
              <a:gd name="T5" fmla="*/ 198 h 2206"/>
              <a:gd name="T6" fmla="*/ 732 w 2704"/>
              <a:gd name="T7" fmla="*/ 3 h 2206"/>
              <a:gd name="T8" fmla="*/ 697 w 2704"/>
              <a:gd name="T9" fmla="*/ 0 h 2206"/>
              <a:gd name="T10" fmla="*/ 486 w 2704"/>
              <a:gd name="T11" fmla="*/ 116 h 2206"/>
              <a:gd name="T12" fmla="*/ 88 w 2704"/>
              <a:gd name="T13" fmla="*/ 738 h 2206"/>
              <a:gd name="T14" fmla="*/ 73 w 2704"/>
              <a:gd name="T15" fmla="*/ 1161 h 2206"/>
              <a:gd name="T16" fmla="*/ 553 w 2704"/>
              <a:gd name="T17" fmla="*/ 2050 h 2206"/>
              <a:gd name="T18" fmla="*/ 848 w 2704"/>
              <a:gd name="T19" fmla="*/ 2170 h 2206"/>
              <a:gd name="T20" fmla="*/ 2299 w 2704"/>
              <a:gd name="T21" fmla="*/ 1721 h 2206"/>
              <a:gd name="T22" fmla="*/ 2455 w 2704"/>
              <a:gd name="T23" fmla="*/ 1582 h 2206"/>
              <a:gd name="T24" fmla="*/ 2649 w 2704"/>
              <a:gd name="T25" fmla="*/ 1137 h 2206"/>
              <a:gd name="T26" fmla="*/ 2624 w 2704"/>
              <a:gd name="T27" fmla="*/ 753 h 2206"/>
              <a:gd name="T28" fmla="*/ 2595 w 2704"/>
              <a:gd name="T29" fmla="*/ 1113 h 2206"/>
              <a:gd name="T30" fmla="*/ 2400 w 2704"/>
              <a:gd name="T31" fmla="*/ 1558 h 2206"/>
              <a:gd name="T32" fmla="*/ 2282 w 2704"/>
              <a:gd name="T33" fmla="*/ 1665 h 2206"/>
              <a:gd name="T34" fmla="*/ 831 w 2704"/>
              <a:gd name="T35" fmla="*/ 2114 h 2206"/>
              <a:gd name="T36" fmla="*/ 774 w 2704"/>
              <a:gd name="T37" fmla="*/ 2123 h 2206"/>
              <a:gd name="T38" fmla="*/ 606 w 2704"/>
              <a:gd name="T39" fmla="*/ 2022 h 2206"/>
              <a:gd name="T40" fmla="*/ 124 w 2704"/>
              <a:gd name="T41" fmla="*/ 1133 h 2206"/>
              <a:gd name="T42" fmla="*/ 138 w 2704"/>
              <a:gd name="T43" fmla="*/ 769 h 2206"/>
              <a:gd name="T44" fmla="*/ 535 w 2704"/>
              <a:gd name="T45" fmla="*/ 147 h 2206"/>
              <a:gd name="T46" fmla="*/ 697 w 2704"/>
              <a:gd name="T47" fmla="*/ 59 h 2206"/>
              <a:gd name="T48" fmla="*/ 724 w 2704"/>
              <a:gd name="T49" fmla="*/ 60 h 2206"/>
              <a:gd name="T50" fmla="*/ 2100 w 2704"/>
              <a:gd name="T51" fmla="*/ 256 h 2206"/>
              <a:gd name="T52" fmla="*/ 2357 w 2704"/>
              <a:gd name="T53" fmla="*/ 426 h 2206"/>
              <a:gd name="T54" fmla="*/ 2573 w 2704"/>
              <a:gd name="T55" fmla="*/ 784 h 2206"/>
              <a:gd name="T56" fmla="*/ 2595 w 2704"/>
              <a:gd name="T57" fmla="*/ 1113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4" h="2206">
                <a:moveTo>
                  <a:pt x="2624" y="753"/>
                </a:moveTo>
                <a:cubicBezTo>
                  <a:pt x="2407" y="395"/>
                  <a:pt x="2407" y="395"/>
                  <a:pt x="2407" y="395"/>
                </a:cubicBezTo>
                <a:cubicBezTo>
                  <a:pt x="2342" y="288"/>
                  <a:pt x="2232" y="215"/>
                  <a:pt x="2108" y="198"/>
                </a:cubicBezTo>
                <a:cubicBezTo>
                  <a:pt x="732" y="3"/>
                  <a:pt x="732" y="3"/>
                  <a:pt x="732" y="3"/>
                </a:cubicBezTo>
                <a:cubicBezTo>
                  <a:pt x="720" y="1"/>
                  <a:pt x="708" y="0"/>
                  <a:pt x="697" y="0"/>
                </a:cubicBezTo>
                <a:cubicBezTo>
                  <a:pt x="611" y="0"/>
                  <a:pt x="532" y="44"/>
                  <a:pt x="486" y="116"/>
                </a:cubicBezTo>
                <a:cubicBezTo>
                  <a:pt x="88" y="738"/>
                  <a:pt x="88" y="738"/>
                  <a:pt x="88" y="738"/>
                </a:cubicBezTo>
                <a:cubicBezTo>
                  <a:pt x="6" y="866"/>
                  <a:pt x="0" y="1028"/>
                  <a:pt x="73" y="1161"/>
                </a:cubicBezTo>
                <a:cubicBezTo>
                  <a:pt x="553" y="2050"/>
                  <a:pt x="553" y="2050"/>
                  <a:pt x="553" y="2050"/>
                </a:cubicBezTo>
                <a:cubicBezTo>
                  <a:pt x="610" y="2155"/>
                  <a:pt x="733" y="2206"/>
                  <a:pt x="848" y="2170"/>
                </a:cubicBezTo>
                <a:cubicBezTo>
                  <a:pt x="2299" y="1721"/>
                  <a:pt x="2299" y="1721"/>
                  <a:pt x="2299" y="1721"/>
                </a:cubicBezTo>
                <a:cubicBezTo>
                  <a:pt x="2369" y="1699"/>
                  <a:pt x="2425" y="1649"/>
                  <a:pt x="2455" y="1582"/>
                </a:cubicBezTo>
                <a:cubicBezTo>
                  <a:pt x="2649" y="1137"/>
                  <a:pt x="2649" y="1137"/>
                  <a:pt x="2649" y="1137"/>
                </a:cubicBezTo>
                <a:cubicBezTo>
                  <a:pt x="2704" y="1012"/>
                  <a:pt x="2694" y="869"/>
                  <a:pt x="2624" y="753"/>
                </a:cubicBezTo>
                <a:close/>
                <a:moveTo>
                  <a:pt x="2595" y="1113"/>
                </a:moveTo>
                <a:cubicBezTo>
                  <a:pt x="2400" y="1558"/>
                  <a:pt x="2400" y="1558"/>
                  <a:pt x="2400" y="1558"/>
                </a:cubicBezTo>
                <a:cubicBezTo>
                  <a:pt x="2378" y="1609"/>
                  <a:pt x="2335" y="1648"/>
                  <a:pt x="2282" y="1665"/>
                </a:cubicBezTo>
                <a:cubicBezTo>
                  <a:pt x="831" y="2114"/>
                  <a:pt x="831" y="2114"/>
                  <a:pt x="831" y="2114"/>
                </a:cubicBezTo>
                <a:cubicBezTo>
                  <a:pt x="812" y="2120"/>
                  <a:pt x="793" y="2123"/>
                  <a:pt x="774" y="2123"/>
                </a:cubicBezTo>
                <a:cubicBezTo>
                  <a:pt x="704" y="2123"/>
                  <a:pt x="639" y="2084"/>
                  <a:pt x="606" y="2022"/>
                </a:cubicBezTo>
                <a:cubicBezTo>
                  <a:pt x="124" y="1133"/>
                  <a:pt x="124" y="1133"/>
                  <a:pt x="124" y="1133"/>
                </a:cubicBezTo>
                <a:cubicBezTo>
                  <a:pt x="62" y="1019"/>
                  <a:pt x="67" y="879"/>
                  <a:pt x="138" y="769"/>
                </a:cubicBezTo>
                <a:cubicBezTo>
                  <a:pt x="535" y="147"/>
                  <a:pt x="535" y="147"/>
                  <a:pt x="535" y="147"/>
                </a:cubicBezTo>
                <a:cubicBezTo>
                  <a:pt x="570" y="92"/>
                  <a:pt x="631" y="59"/>
                  <a:pt x="697" y="59"/>
                </a:cubicBezTo>
                <a:cubicBezTo>
                  <a:pt x="706" y="59"/>
                  <a:pt x="715" y="59"/>
                  <a:pt x="724" y="60"/>
                </a:cubicBezTo>
                <a:cubicBezTo>
                  <a:pt x="2100" y="256"/>
                  <a:pt x="2100" y="256"/>
                  <a:pt x="2100" y="256"/>
                </a:cubicBezTo>
                <a:cubicBezTo>
                  <a:pt x="2207" y="271"/>
                  <a:pt x="2301" y="333"/>
                  <a:pt x="2357" y="426"/>
                </a:cubicBezTo>
                <a:cubicBezTo>
                  <a:pt x="2573" y="784"/>
                  <a:pt x="2573" y="784"/>
                  <a:pt x="2573" y="784"/>
                </a:cubicBezTo>
                <a:cubicBezTo>
                  <a:pt x="2634" y="884"/>
                  <a:pt x="2642" y="1007"/>
                  <a:pt x="2595" y="1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91199"/>
            <a:ext cx="8352000" cy="2031231"/>
          </a:xfrm>
        </p:spPr>
        <p:txBody>
          <a:bodyPr anchor="b"/>
          <a:lstStyle>
            <a:lvl1pPr algn="l">
              <a:lnSpc>
                <a:spcPct val="90000"/>
              </a:lnSpc>
              <a:defRPr sz="7000">
                <a:solidFill>
                  <a:srgbClr val="591F58"/>
                </a:solidFill>
              </a:defRPr>
            </a:lvl1pPr>
          </a:lstStyle>
          <a:p>
            <a:r>
              <a:rPr lang="nl-NL" dirty="0"/>
              <a:t>[Titel]</a:t>
            </a:r>
          </a:p>
        </p:txBody>
      </p:sp>
      <p:sp>
        <p:nvSpPr>
          <p:cNvPr id="3" name="Ondertitel 2"/>
          <p:cNvSpPr>
            <a:spLocks noGrp="1" noSelect="1"/>
          </p:cNvSpPr>
          <p:nvPr>
            <p:ph type="subTitle" idx="1" hasCustomPrompt="1"/>
          </p:nvPr>
        </p:nvSpPr>
        <p:spPr>
          <a:xfrm>
            <a:off x="1321200" y="4050460"/>
            <a:ext cx="8352000" cy="1404000"/>
          </a:xfrm>
        </p:spPr>
        <p:txBody>
          <a:bodyPr/>
          <a:lstStyle>
            <a:lvl1pPr marL="0" indent="0" algn="l">
              <a:buNone/>
              <a:defRPr sz="3500">
                <a:solidFill>
                  <a:srgbClr val="852F8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a:noFill/>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a:noFill/>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18912286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eldia roze">
    <p:bg>
      <p:bgPr>
        <a:solidFill>
          <a:srgbClr val="B15688"/>
        </a:solidFill>
        <a:effectLst/>
      </p:bgPr>
    </p:bg>
    <p:spTree>
      <p:nvGrpSpPr>
        <p:cNvPr id="1" name=""/>
        <p:cNvGrpSpPr/>
        <p:nvPr/>
      </p:nvGrpSpPr>
      <p:grpSpPr>
        <a:xfrm>
          <a:off x="0" y="0"/>
          <a:ext cx="0" cy="0"/>
          <a:chOff x="0" y="0"/>
          <a:chExt cx="0" cy="0"/>
        </a:xfrm>
      </p:grpSpPr>
      <p:sp>
        <p:nvSpPr>
          <p:cNvPr id="9" name="Freeform 6"/>
          <p:cNvSpPr>
            <a:spLocks noSelect="1"/>
          </p:cNvSpPr>
          <p:nvPr userDrawn="1"/>
        </p:nvSpPr>
        <p:spPr bwMode="auto">
          <a:xfrm>
            <a:off x="0" y="0"/>
            <a:ext cx="11380788" cy="6858000"/>
          </a:xfrm>
          <a:custGeom>
            <a:avLst/>
            <a:gdLst>
              <a:gd name="T0" fmla="*/ 34525 w 35846"/>
              <a:gd name="T1" fmla="*/ 10375 h 21600"/>
              <a:gd name="T2" fmla="*/ 29683 w 35846"/>
              <a:gd name="T3" fmla="*/ 894 h 21600"/>
              <a:gd name="T4" fmla="*/ 29089 w 35846"/>
              <a:gd name="T5" fmla="*/ 0 h 21600"/>
              <a:gd name="T6" fmla="*/ 15840 w 35846"/>
              <a:gd name="T7" fmla="*/ 0 h 21600"/>
              <a:gd name="T8" fmla="*/ 3266 w 35846"/>
              <a:gd name="T9" fmla="*/ 0 h 21600"/>
              <a:gd name="T10" fmla="*/ 0 w 35846"/>
              <a:gd name="T11" fmla="*/ 0 h 21600"/>
              <a:gd name="T12" fmla="*/ 0 w 35846"/>
              <a:gd name="T13" fmla="*/ 2257 h 21600"/>
              <a:gd name="T14" fmla="*/ 0 w 35846"/>
              <a:gd name="T15" fmla="*/ 19312 h 21600"/>
              <a:gd name="T16" fmla="*/ 0 w 35846"/>
              <a:gd name="T17" fmla="*/ 21600 h 21600"/>
              <a:gd name="T18" fmla="*/ 2065 w 35846"/>
              <a:gd name="T19" fmla="*/ 21600 h 21600"/>
              <a:gd name="T20" fmla="*/ 15840 w 35846"/>
              <a:gd name="T21" fmla="*/ 21600 h 21600"/>
              <a:gd name="T22" fmla="*/ 17380 w 35846"/>
              <a:gd name="T23" fmla="*/ 21600 h 21600"/>
              <a:gd name="T24" fmla="*/ 31764 w 35846"/>
              <a:gd name="T25" fmla="*/ 17003 h 21600"/>
              <a:gd name="T26" fmla="*/ 34525 w 35846"/>
              <a:gd name="T27" fmla="*/ 10375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846" h="21600">
                <a:moveTo>
                  <a:pt x="34525" y="10375"/>
                </a:moveTo>
                <a:cubicBezTo>
                  <a:pt x="29683" y="894"/>
                  <a:pt x="29683" y="894"/>
                  <a:pt x="29683" y="894"/>
                </a:cubicBezTo>
                <a:cubicBezTo>
                  <a:pt x="29519" y="574"/>
                  <a:pt x="29320" y="274"/>
                  <a:pt x="29089" y="0"/>
                </a:cubicBezTo>
                <a:cubicBezTo>
                  <a:pt x="15840" y="0"/>
                  <a:pt x="15840" y="0"/>
                  <a:pt x="15840" y="0"/>
                </a:cubicBezTo>
                <a:cubicBezTo>
                  <a:pt x="3266" y="0"/>
                  <a:pt x="3266" y="0"/>
                  <a:pt x="3266" y="0"/>
                </a:cubicBezTo>
                <a:cubicBezTo>
                  <a:pt x="0" y="0"/>
                  <a:pt x="0" y="0"/>
                  <a:pt x="0" y="0"/>
                </a:cubicBezTo>
                <a:cubicBezTo>
                  <a:pt x="0" y="2257"/>
                  <a:pt x="0" y="2257"/>
                  <a:pt x="0" y="2257"/>
                </a:cubicBezTo>
                <a:cubicBezTo>
                  <a:pt x="0" y="19312"/>
                  <a:pt x="0" y="19312"/>
                  <a:pt x="0" y="19312"/>
                </a:cubicBezTo>
                <a:cubicBezTo>
                  <a:pt x="0" y="21600"/>
                  <a:pt x="0" y="21600"/>
                  <a:pt x="0" y="21600"/>
                </a:cubicBezTo>
                <a:cubicBezTo>
                  <a:pt x="2065" y="21600"/>
                  <a:pt x="2065" y="21600"/>
                  <a:pt x="2065" y="21600"/>
                </a:cubicBezTo>
                <a:cubicBezTo>
                  <a:pt x="15840" y="21600"/>
                  <a:pt x="15840" y="21600"/>
                  <a:pt x="15840" y="21600"/>
                </a:cubicBezTo>
                <a:cubicBezTo>
                  <a:pt x="17380" y="21600"/>
                  <a:pt x="17380" y="21600"/>
                  <a:pt x="17380" y="21600"/>
                </a:cubicBezTo>
                <a:cubicBezTo>
                  <a:pt x="31764" y="17003"/>
                  <a:pt x="31764" y="17003"/>
                  <a:pt x="31764" y="17003"/>
                </a:cubicBezTo>
                <a:cubicBezTo>
                  <a:pt x="34532" y="16118"/>
                  <a:pt x="35846" y="12963"/>
                  <a:pt x="34525" y="10375"/>
                </a:cubicBez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10" name="Freeform 7"/>
          <p:cNvSpPr>
            <a:spLocks noSelect="1"/>
          </p:cNvSpPr>
          <p:nvPr userDrawn="1"/>
        </p:nvSpPr>
        <p:spPr bwMode="auto">
          <a:xfrm>
            <a:off x="11193463" y="534988"/>
            <a:ext cx="160338" cy="184150"/>
          </a:xfrm>
          <a:custGeom>
            <a:avLst/>
            <a:gdLst>
              <a:gd name="T0" fmla="*/ 25 w 504"/>
              <a:gd name="T1" fmla="*/ 0 h 581"/>
              <a:gd name="T2" fmla="*/ 104 w 504"/>
              <a:gd name="T3" fmla="*/ 0 h 581"/>
              <a:gd name="T4" fmla="*/ 124 w 504"/>
              <a:gd name="T5" fmla="*/ 10 h 581"/>
              <a:gd name="T6" fmla="*/ 381 w 504"/>
              <a:gd name="T7" fmla="*/ 363 h 581"/>
              <a:gd name="T8" fmla="*/ 391 w 504"/>
              <a:gd name="T9" fmla="*/ 368 h 581"/>
              <a:gd name="T10" fmla="*/ 419 w 504"/>
              <a:gd name="T11" fmla="*/ 368 h 581"/>
              <a:gd name="T12" fmla="*/ 432 w 504"/>
              <a:gd name="T13" fmla="*/ 355 h 581"/>
              <a:gd name="T14" fmla="*/ 432 w 504"/>
              <a:gd name="T15" fmla="*/ 25 h 581"/>
              <a:gd name="T16" fmla="*/ 458 w 504"/>
              <a:gd name="T17" fmla="*/ 0 h 581"/>
              <a:gd name="T18" fmla="*/ 478 w 504"/>
              <a:gd name="T19" fmla="*/ 0 h 581"/>
              <a:gd name="T20" fmla="*/ 504 w 504"/>
              <a:gd name="T21" fmla="*/ 25 h 581"/>
              <a:gd name="T22" fmla="*/ 504 w 504"/>
              <a:gd name="T23" fmla="*/ 555 h 581"/>
              <a:gd name="T24" fmla="*/ 478 w 504"/>
              <a:gd name="T25" fmla="*/ 581 h 581"/>
              <a:gd name="T26" fmla="*/ 399 w 504"/>
              <a:gd name="T27" fmla="*/ 581 h 581"/>
              <a:gd name="T28" fmla="*/ 378 w 504"/>
              <a:gd name="T29" fmla="*/ 571 h 581"/>
              <a:gd name="T30" fmla="*/ 122 w 504"/>
              <a:gd name="T31" fmla="*/ 218 h 581"/>
              <a:gd name="T32" fmla="*/ 111 w 504"/>
              <a:gd name="T33" fmla="*/ 213 h 581"/>
              <a:gd name="T34" fmla="*/ 83 w 504"/>
              <a:gd name="T35" fmla="*/ 213 h 581"/>
              <a:gd name="T36" fmla="*/ 70 w 504"/>
              <a:gd name="T37" fmla="*/ 226 h 581"/>
              <a:gd name="T38" fmla="*/ 70 w 504"/>
              <a:gd name="T39" fmla="*/ 555 h 581"/>
              <a:gd name="T40" fmla="*/ 44 w 504"/>
              <a:gd name="T41" fmla="*/ 581 h 581"/>
              <a:gd name="T42" fmla="*/ 25 w 504"/>
              <a:gd name="T43" fmla="*/ 581 h 581"/>
              <a:gd name="T44" fmla="*/ 0 w 504"/>
              <a:gd name="T45" fmla="*/ 555 h 581"/>
              <a:gd name="T46" fmla="*/ 0 w 504"/>
              <a:gd name="T47" fmla="*/ 25 h 581"/>
              <a:gd name="T48" fmla="*/ 25 w 504"/>
              <a:gd name="T49"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4" h="581">
                <a:moveTo>
                  <a:pt x="25" y="0"/>
                </a:moveTo>
                <a:cubicBezTo>
                  <a:pt x="104" y="0"/>
                  <a:pt x="104" y="0"/>
                  <a:pt x="104" y="0"/>
                </a:cubicBezTo>
                <a:cubicBezTo>
                  <a:pt x="112" y="0"/>
                  <a:pt x="120" y="4"/>
                  <a:pt x="124" y="10"/>
                </a:cubicBezTo>
                <a:cubicBezTo>
                  <a:pt x="381" y="363"/>
                  <a:pt x="381" y="363"/>
                  <a:pt x="381" y="363"/>
                </a:cubicBezTo>
                <a:cubicBezTo>
                  <a:pt x="383" y="366"/>
                  <a:pt x="387" y="368"/>
                  <a:pt x="391" y="368"/>
                </a:cubicBezTo>
                <a:cubicBezTo>
                  <a:pt x="419" y="368"/>
                  <a:pt x="419" y="368"/>
                  <a:pt x="419" y="368"/>
                </a:cubicBezTo>
                <a:cubicBezTo>
                  <a:pt x="426" y="368"/>
                  <a:pt x="432" y="362"/>
                  <a:pt x="432" y="355"/>
                </a:cubicBezTo>
                <a:cubicBezTo>
                  <a:pt x="432" y="25"/>
                  <a:pt x="432" y="25"/>
                  <a:pt x="432" y="25"/>
                </a:cubicBezTo>
                <a:cubicBezTo>
                  <a:pt x="432" y="11"/>
                  <a:pt x="444" y="0"/>
                  <a:pt x="458" y="0"/>
                </a:cubicBezTo>
                <a:cubicBezTo>
                  <a:pt x="478" y="0"/>
                  <a:pt x="478" y="0"/>
                  <a:pt x="478" y="0"/>
                </a:cubicBezTo>
                <a:cubicBezTo>
                  <a:pt x="492" y="0"/>
                  <a:pt x="504" y="11"/>
                  <a:pt x="504" y="25"/>
                </a:cubicBezTo>
                <a:cubicBezTo>
                  <a:pt x="504" y="555"/>
                  <a:pt x="504" y="555"/>
                  <a:pt x="504" y="555"/>
                </a:cubicBezTo>
                <a:cubicBezTo>
                  <a:pt x="504" y="570"/>
                  <a:pt x="492" y="581"/>
                  <a:pt x="478" y="581"/>
                </a:cubicBezTo>
                <a:cubicBezTo>
                  <a:pt x="399" y="581"/>
                  <a:pt x="399" y="581"/>
                  <a:pt x="399" y="581"/>
                </a:cubicBezTo>
                <a:cubicBezTo>
                  <a:pt x="390" y="581"/>
                  <a:pt x="382" y="577"/>
                  <a:pt x="378" y="571"/>
                </a:cubicBezTo>
                <a:cubicBezTo>
                  <a:pt x="122" y="218"/>
                  <a:pt x="122" y="218"/>
                  <a:pt x="122" y="218"/>
                </a:cubicBezTo>
                <a:cubicBezTo>
                  <a:pt x="120" y="215"/>
                  <a:pt x="116" y="213"/>
                  <a:pt x="111" y="213"/>
                </a:cubicBezTo>
                <a:cubicBezTo>
                  <a:pt x="83" y="213"/>
                  <a:pt x="83" y="213"/>
                  <a:pt x="83" y="213"/>
                </a:cubicBezTo>
                <a:cubicBezTo>
                  <a:pt x="76" y="213"/>
                  <a:pt x="70" y="219"/>
                  <a:pt x="70" y="226"/>
                </a:cubicBezTo>
                <a:cubicBezTo>
                  <a:pt x="70" y="555"/>
                  <a:pt x="70" y="555"/>
                  <a:pt x="70" y="555"/>
                </a:cubicBezTo>
                <a:cubicBezTo>
                  <a:pt x="70" y="570"/>
                  <a:pt x="59" y="581"/>
                  <a:pt x="44" y="581"/>
                </a:cubicBezTo>
                <a:cubicBezTo>
                  <a:pt x="25" y="581"/>
                  <a:pt x="25" y="581"/>
                  <a:pt x="25" y="581"/>
                </a:cubicBezTo>
                <a:cubicBezTo>
                  <a:pt x="11" y="581"/>
                  <a:pt x="0" y="570"/>
                  <a:pt x="0" y="555"/>
                </a:cubicBezTo>
                <a:cubicBezTo>
                  <a:pt x="0" y="25"/>
                  <a:pt x="0" y="25"/>
                  <a:pt x="0" y="25"/>
                </a:cubicBezTo>
                <a:cubicBezTo>
                  <a:pt x="0" y="11"/>
                  <a:pt x="11" y="0"/>
                  <a:pt x="2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1" name="Freeform 8"/>
          <p:cNvSpPr>
            <a:spLocks noSelect="1"/>
          </p:cNvSpPr>
          <p:nvPr userDrawn="1"/>
        </p:nvSpPr>
        <p:spPr bwMode="auto">
          <a:xfrm>
            <a:off x="11374438" y="534988"/>
            <a:ext cx="152400" cy="184150"/>
          </a:xfrm>
          <a:custGeom>
            <a:avLst/>
            <a:gdLst>
              <a:gd name="T0" fmla="*/ 478 w 478"/>
              <a:gd name="T1" fmla="*/ 480 h 581"/>
              <a:gd name="T2" fmla="*/ 478 w 478"/>
              <a:gd name="T3" fmla="*/ 556 h 581"/>
              <a:gd name="T4" fmla="*/ 452 w 478"/>
              <a:gd name="T5" fmla="*/ 581 h 581"/>
              <a:gd name="T6" fmla="*/ 26 w 478"/>
              <a:gd name="T7" fmla="*/ 581 h 581"/>
              <a:gd name="T8" fmla="*/ 0 w 478"/>
              <a:gd name="T9" fmla="*/ 556 h 581"/>
              <a:gd name="T10" fmla="*/ 0 w 478"/>
              <a:gd name="T11" fmla="*/ 496 h 581"/>
              <a:gd name="T12" fmla="*/ 7 w 478"/>
              <a:gd name="T13" fmla="*/ 479 h 581"/>
              <a:gd name="T14" fmla="*/ 303 w 478"/>
              <a:gd name="T15" fmla="*/ 171 h 581"/>
              <a:gd name="T16" fmla="*/ 302 w 478"/>
              <a:gd name="T17" fmla="*/ 134 h 581"/>
              <a:gd name="T18" fmla="*/ 284 w 478"/>
              <a:gd name="T19" fmla="*/ 127 h 581"/>
              <a:gd name="T20" fmla="*/ 29 w 478"/>
              <a:gd name="T21" fmla="*/ 127 h 581"/>
              <a:gd name="T22" fmla="*/ 4 w 478"/>
              <a:gd name="T23" fmla="*/ 101 h 581"/>
              <a:gd name="T24" fmla="*/ 4 w 478"/>
              <a:gd name="T25" fmla="*/ 101 h 581"/>
              <a:gd name="T26" fmla="*/ 4 w 478"/>
              <a:gd name="T27" fmla="*/ 25 h 581"/>
              <a:gd name="T28" fmla="*/ 29 w 478"/>
              <a:gd name="T29" fmla="*/ 0 h 581"/>
              <a:gd name="T30" fmla="*/ 29 w 478"/>
              <a:gd name="T31" fmla="*/ 0 h 581"/>
              <a:gd name="T32" fmla="*/ 447 w 478"/>
              <a:gd name="T33" fmla="*/ 0 h 581"/>
              <a:gd name="T34" fmla="*/ 472 w 478"/>
              <a:gd name="T35" fmla="*/ 25 h 581"/>
              <a:gd name="T36" fmla="*/ 472 w 478"/>
              <a:gd name="T37" fmla="*/ 85 h 581"/>
              <a:gd name="T38" fmla="*/ 465 w 478"/>
              <a:gd name="T39" fmla="*/ 102 h 581"/>
              <a:gd name="T40" fmla="*/ 170 w 478"/>
              <a:gd name="T41" fmla="*/ 410 h 581"/>
              <a:gd name="T42" fmla="*/ 171 w 478"/>
              <a:gd name="T43" fmla="*/ 447 h 581"/>
              <a:gd name="T44" fmla="*/ 189 w 478"/>
              <a:gd name="T45" fmla="*/ 454 h 581"/>
              <a:gd name="T46" fmla="*/ 452 w 478"/>
              <a:gd name="T47" fmla="*/ 454 h 581"/>
              <a:gd name="T48" fmla="*/ 478 w 478"/>
              <a:gd name="T49" fmla="*/ 48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8" h="581">
                <a:moveTo>
                  <a:pt x="478" y="480"/>
                </a:moveTo>
                <a:cubicBezTo>
                  <a:pt x="478" y="556"/>
                  <a:pt x="478" y="556"/>
                  <a:pt x="478" y="556"/>
                </a:cubicBezTo>
                <a:cubicBezTo>
                  <a:pt x="478" y="570"/>
                  <a:pt x="467" y="581"/>
                  <a:pt x="452" y="581"/>
                </a:cubicBezTo>
                <a:cubicBezTo>
                  <a:pt x="26" y="581"/>
                  <a:pt x="26" y="581"/>
                  <a:pt x="26" y="581"/>
                </a:cubicBezTo>
                <a:cubicBezTo>
                  <a:pt x="12" y="581"/>
                  <a:pt x="0" y="570"/>
                  <a:pt x="0" y="556"/>
                </a:cubicBezTo>
                <a:cubicBezTo>
                  <a:pt x="0" y="496"/>
                  <a:pt x="0" y="496"/>
                  <a:pt x="0" y="496"/>
                </a:cubicBezTo>
                <a:cubicBezTo>
                  <a:pt x="0" y="490"/>
                  <a:pt x="3" y="483"/>
                  <a:pt x="7" y="479"/>
                </a:cubicBezTo>
                <a:cubicBezTo>
                  <a:pt x="303" y="171"/>
                  <a:pt x="303" y="171"/>
                  <a:pt x="303" y="171"/>
                </a:cubicBezTo>
                <a:cubicBezTo>
                  <a:pt x="312" y="160"/>
                  <a:pt x="312" y="144"/>
                  <a:pt x="302" y="134"/>
                </a:cubicBezTo>
                <a:cubicBezTo>
                  <a:pt x="297" y="130"/>
                  <a:pt x="291" y="127"/>
                  <a:pt x="284" y="127"/>
                </a:cubicBezTo>
                <a:cubicBezTo>
                  <a:pt x="29" y="127"/>
                  <a:pt x="29" y="127"/>
                  <a:pt x="29" y="127"/>
                </a:cubicBezTo>
                <a:cubicBezTo>
                  <a:pt x="15" y="127"/>
                  <a:pt x="4" y="115"/>
                  <a:pt x="4" y="101"/>
                </a:cubicBezTo>
                <a:cubicBezTo>
                  <a:pt x="4" y="101"/>
                  <a:pt x="4" y="101"/>
                  <a:pt x="4" y="101"/>
                </a:cubicBezTo>
                <a:cubicBezTo>
                  <a:pt x="4" y="25"/>
                  <a:pt x="4" y="25"/>
                  <a:pt x="4" y="25"/>
                </a:cubicBezTo>
                <a:cubicBezTo>
                  <a:pt x="4" y="11"/>
                  <a:pt x="15" y="0"/>
                  <a:pt x="29" y="0"/>
                </a:cubicBezTo>
                <a:cubicBezTo>
                  <a:pt x="29" y="0"/>
                  <a:pt x="29" y="0"/>
                  <a:pt x="29" y="0"/>
                </a:cubicBezTo>
                <a:cubicBezTo>
                  <a:pt x="447" y="0"/>
                  <a:pt x="447" y="0"/>
                  <a:pt x="447" y="0"/>
                </a:cubicBezTo>
                <a:cubicBezTo>
                  <a:pt x="461" y="0"/>
                  <a:pt x="472" y="11"/>
                  <a:pt x="472" y="25"/>
                </a:cubicBezTo>
                <a:cubicBezTo>
                  <a:pt x="472" y="85"/>
                  <a:pt x="472" y="85"/>
                  <a:pt x="472" y="85"/>
                </a:cubicBezTo>
                <a:cubicBezTo>
                  <a:pt x="472" y="91"/>
                  <a:pt x="470" y="98"/>
                  <a:pt x="465" y="102"/>
                </a:cubicBezTo>
                <a:cubicBezTo>
                  <a:pt x="170" y="410"/>
                  <a:pt x="170" y="410"/>
                  <a:pt x="170" y="410"/>
                </a:cubicBezTo>
                <a:cubicBezTo>
                  <a:pt x="160" y="421"/>
                  <a:pt x="160" y="437"/>
                  <a:pt x="171" y="447"/>
                </a:cubicBezTo>
                <a:cubicBezTo>
                  <a:pt x="175" y="451"/>
                  <a:pt x="182" y="454"/>
                  <a:pt x="189" y="454"/>
                </a:cubicBezTo>
                <a:cubicBezTo>
                  <a:pt x="452" y="454"/>
                  <a:pt x="452" y="454"/>
                  <a:pt x="452" y="454"/>
                </a:cubicBezTo>
                <a:cubicBezTo>
                  <a:pt x="467" y="454"/>
                  <a:pt x="478" y="465"/>
                  <a:pt x="478" y="4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526838" y="530225"/>
            <a:ext cx="187325" cy="193675"/>
          </a:xfrm>
          <a:custGeom>
            <a:avLst/>
            <a:gdLst>
              <a:gd name="T0" fmla="*/ 588 w 588"/>
              <a:gd name="T1" fmla="*/ 39 h 609"/>
              <a:gd name="T2" fmla="*/ 562 w 588"/>
              <a:gd name="T3" fmla="*/ 13 h 609"/>
              <a:gd name="T4" fmla="*/ 543 w 588"/>
              <a:gd name="T5" fmla="*/ 13 h 609"/>
              <a:gd name="T6" fmla="*/ 517 w 588"/>
              <a:gd name="T7" fmla="*/ 39 h 609"/>
              <a:gd name="T8" fmla="*/ 517 w 588"/>
              <a:gd name="T9" fmla="*/ 108 h 609"/>
              <a:gd name="T10" fmla="*/ 286 w 588"/>
              <a:gd name="T11" fmla="*/ 0 h 609"/>
              <a:gd name="T12" fmla="*/ 0 w 588"/>
              <a:gd name="T13" fmla="*/ 304 h 609"/>
              <a:gd name="T14" fmla="*/ 286 w 588"/>
              <a:gd name="T15" fmla="*/ 609 h 609"/>
              <a:gd name="T16" fmla="*/ 517 w 588"/>
              <a:gd name="T17" fmla="*/ 500 h 609"/>
              <a:gd name="T18" fmla="*/ 517 w 588"/>
              <a:gd name="T19" fmla="*/ 569 h 609"/>
              <a:gd name="T20" fmla="*/ 543 w 588"/>
              <a:gd name="T21" fmla="*/ 595 h 609"/>
              <a:gd name="T22" fmla="*/ 562 w 588"/>
              <a:gd name="T23" fmla="*/ 595 h 609"/>
              <a:gd name="T24" fmla="*/ 588 w 588"/>
              <a:gd name="T25" fmla="*/ 569 h 609"/>
              <a:gd name="T26" fmla="*/ 588 w 588"/>
              <a:gd name="T27" fmla="*/ 39 h 609"/>
              <a:gd name="T28" fmla="*/ 311 w 588"/>
              <a:gd name="T29" fmla="*/ 474 h 609"/>
              <a:gd name="T30" fmla="*/ 103 w 588"/>
              <a:gd name="T31" fmla="*/ 304 h 609"/>
              <a:gd name="T32" fmla="*/ 311 w 588"/>
              <a:gd name="T33" fmla="*/ 135 h 609"/>
              <a:gd name="T34" fmla="*/ 517 w 588"/>
              <a:gd name="T35" fmla="*/ 304 h 609"/>
              <a:gd name="T36" fmla="*/ 311 w 588"/>
              <a:gd name="T37" fmla="*/ 474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8" h="609">
                <a:moveTo>
                  <a:pt x="588" y="39"/>
                </a:moveTo>
                <a:cubicBezTo>
                  <a:pt x="588" y="25"/>
                  <a:pt x="576" y="13"/>
                  <a:pt x="562" y="13"/>
                </a:cubicBezTo>
                <a:cubicBezTo>
                  <a:pt x="543" y="13"/>
                  <a:pt x="543" y="13"/>
                  <a:pt x="543" y="13"/>
                </a:cubicBezTo>
                <a:cubicBezTo>
                  <a:pt x="529" y="13"/>
                  <a:pt x="517" y="25"/>
                  <a:pt x="517" y="39"/>
                </a:cubicBezTo>
                <a:cubicBezTo>
                  <a:pt x="517" y="108"/>
                  <a:pt x="517" y="108"/>
                  <a:pt x="517" y="108"/>
                </a:cubicBezTo>
                <a:cubicBezTo>
                  <a:pt x="498" y="73"/>
                  <a:pt x="427" y="0"/>
                  <a:pt x="286" y="0"/>
                </a:cubicBezTo>
                <a:cubicBezTo>
                  <a:pt x="122" y="0"/>
                  <a:pt x="0" y="131"/>
                  <a:pt x="0" y="304"/>
                </a:cubicBezTo>
                <a:cubicBezTo>
                  <a:pt x="0" y="478"/>
                  <a:pt x="122" y="609"/>
                  <a:pt x="286" y="609"/>
                </a:cubicBezTo>
                <a:cubicBezTo>
                  <a:pt x="427" y="609"/>
                  <a:pt x="498" y="535"/>
                  <a:pt x="517" y="500"/>
                </a:cubicBezTo>
                <a:cubicBezTo>
                  <a:pt x="517" y="569"/>
                  <a:pt x="517" y="569"/>
                  <a:pt x="517" y="569"/>
                </a:cubicBezTo>
                <a:cubicBezTo>
                  <a:pt x="517" y="583"/>
                  <a:pt x="529" y="595"/>
                  <a:pt x="543" y="595"/>
                </a:cubicBezTo>
                <a:cubicBezTo>
                  <a:pt x="562" y="595"/>
                  <a:pt x="562" y="595"/>
                  <a:pt x="562" y="595"/>
                </a:cubicBezTo>
                <a:cubicBezTo>
                  <a:pt x="576" y="595"/>
                  <a:pt x="588" y="583"/>
                  <a:pt x="588" y="569"/>
                </a:cubicBezTo>
                <a:lnTo>
                  <a:pt x="588" y="39"/>
                </a:lnTo>
                <a:close/>
                <a:moveTo>
                  <a:pt x="311" y="474"/>
                </a:moveTo>
                <a:cubicBezTo>
                  <a:pt x="192" y="474"/>
                  <a:pt x="103" y="401"/>
                  <a:pt x="103" y="304"/>
                </a:cubicBezTo>
                <a:cubicBezTo>
                  <a:pt x="103" y="208"/>
                  <a:pt x="192" y="135"/>
                  <a:pt x="311" y="135"/>
                </a:cubicBezTo>
                <a:cubicBezTo>
                  <a:pt x="430" y="135"/>
                  <a:pt x="517" y="208"/>
                  <a:pt x="517" y="304"/>
                </a:cubicBezTo>
                <a:cubicBezTo>
                  <a:pt x="517" y="401"/>
                  <a:pt x="429" y="474"/>
                  <a:pt x="311" y="4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noEditPoints="1"/>
          </p:cNvSpPr>
          <p:nvPr userDrawn="1"/>
        </p:nvSpPr>
        <p:spPr bwMode="auto">
          <a:xfrm>
            <a:off x="11025188" y="314325"/>
            <a:ext cx="858838" cy="700088"/>
          </a:xfrm>
          <a:custGeom>
            <a:avLst/>
            <a:gdLst>
              <a:gd name="T0" fmla="*/ 2624 w 2704"/>
              <a:gd name="T1" fmla="*/ 753 h 2206"/>
              <a:gd name="T2" fmla="*/ 2407 w 2704"/>
              <a:gd name="T3" fmla="*/ 395 h 2206"/>
              <a:gd name="T4" fmla="*/ 2108 w 2704"/>
              <a:gd name="T5" fmla="*/ 198 h 2206"/>
              <a:gd name="T6" fmla="*/ 732 w 2704"/>
              <a:gd name="T7" fmla="*/ 3 h 2206"/>
              <a:gd name="T8" fmla="*/ 697 w 2704"/>
              <a:gd name="T9" fmla="*/ 0 h 2206"/>
              <a:gd name="T10" fmla="*/ 486 w 2704"/>
              <a:gd name="T11" fmla="*/ 116 h 2206"/>
              <a:gd name="T12" fmla="*/ 88 w 2704"/>
              <a:gd name="T13" fmla="*/ 738 h 2206"/>
              <a:gd name="T14" fmla="*/ 73 w 2704"/>
              <a:gd name="T15" fmla="*/ 1161 h 2206"/>
              <a:gd name="T16" fmla="*/ 553 w 2704"/>
              <a:gd name="T17" fmla="*/ 2050 h 2206"/>
              <a:gd name="T18" fmla="*/ 848 w 2704"/>
              <a:gd name="T19" fmla="*/ 2170 h 2206"/>
              <a:gd name="T20" fmla="*/ 2299 w 2704"/>
              <a:gd name="T21" fmla="*/ 1721 h 2206"/>
              <a:gd name="T22" fmla="*/ 2455 w 2704"/>
              <a:gd name="T23" fmla="*/ 1582 h 2206"/>
              <a:gd name="T24" fmla="*/ 2649 w 2704"/>
              <a:gd name="T25" fmla="*/ 1137 h 2206"/>
              <a:gd name="T26" fmla="*/ 2624 w 2704"/>
              <a:gd name="T27" fmla="*/ 753 h 2206"/>
              <a:gd name="T28" fmla="*/ 2595 w 2704"/>
              <a:gd name="T29" fmla="*/ 1113 h 2206"/>
              <a:gd name="T30" fmla="*/ 2400 w 2704"/>
              <a:gd name="T31" fmla="*/ 1558 h 2206"/>
              <a:gd name="T32" fmla="*/ 2282 w 2704"/>
              <a:gd name="T33" fmla="*/ 1665 h 2206"/>
              <a:gd name="T34" fmla="*/ 831 w 2704"/>
              <a:gd name="T35" fmla="*/ 2114 h 2206"/>
              <a:gd name="T36" fmla="*/ 774 w 2704"/>
              <a:gd name="T37" fmla="*/ 2123 h 2206"/>
              <a:gd name="T38" fmla="*/ 606 w 2704"/>
              <a:gd name="T39" fmla="*/ 2022 h 2206"/>
              <a:gd name="T40" fmla="*/ 124 w 2704"/>
              <a:gd name="T41" fmla="*/ 1133 h 2206"/>
              <a:gd name="T42" fmla="*/ 138 w 2704"/>
              <a:gd name="T43" fmla="*/ 769 h 2206"/>
              <a:gd name="T44" fmla="*/ 535 w 2704"/>
              <a:gd name="T45" fmla="*/ 147 h 2206"/>
              <a:gd name="T46" fmla="*/ 697 w 2704"/>
              <a:gd name="T47" fmla="*/ 59 h 2206"/>
              <a:gd name="T48" fmla="*/ 724 w 2704"/>
              <a:gd name="T49" fmla="*/ 60 h 2206"/>
              <a:gd name="T50" fmla="*/ 2100 w 2704"/>
              <a:gd name="T51" fmla="*/ 256 h 2206"/>
              <a:gd name="T52" fmla="*/ 2357 w 2704"/>
              <a:gd name="T53" fmla="*/ 426 h 2206"/>
              <a:gd name="T54" fmla="*/ 2573 w 2704"/>
              <a:gd name="T55" fmla="*/ 784 h 2206"/>
              <a:gd name="T56" fmla="*/ 2595 w 2704"/>
              <a:gd name="T57" fmla="*/ 1113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04" h="2206">
                <a:moveTo>
                  <a:pt x="2624" y="753"/>
                </a:moveTo>
                <a:cubicBezTo>
                  <a:pt x="2407" y="395"/>
                  <a:pt x="2407" y="395"/>
                  <a:pt x="2407" y="395"/>
                </a:cubicBezTo>
                <a:cubicBezTo>
                  <a:pt x="2342" y="288"/>
                  <a:pt x="2232" y="215"/>
                  <a:pt x="2108" y="198"/>
                </a:cubicBezTo>
                <a:cubicBezTo>
                  <a:pt x="732" y="3"/>
                  <a:pt x="732" y="3"/>
                  <a:pt x="732" y="3"/>
                </a:cubicBezTo>
                <a:cubicBezTo>
                  <a:pt x="720" y="1"/>
                  <a:pt x="708" y="0"/>
                  <a:pt x="697" y="0"/>
                </a:cubicBezTo>
                <a:cubicBezTo>
                  <a:pt x="611" y="0"/>
                  <a:pt x="532" y="44"/>
                  <a:pt x="486" y="116"/>
                </a:cubicBezTo>
                <a:cubicBezTo>
                  <a:pt x="88" y="738"/>
                  <a:pt x="88" y="738"/>
                  <a:pt x="88" y="738"/>
                </a:cubicBezTo>
                <a:cubicBezTo>
                  <a:pt x="6" y="866"/>
                  <a:pt x="0" y="1028"/>
                  <a:pt x="73" y="1161"/>
                </a:cubicBezTo>
                <a:cubicBezTo>
                  <a:pt x="553" y="2050"/>
                  <a:pt x="553" y="2050"/>
                  <a:pt x="553" y="2050"/>
                </a:cubicBezTo>
                <a:cubicBezTo>
                  <a:pt x="610" y="2155"/>
                  <a:pt x="733" y="2206"/>
                  <a:pt x="848" y="2170"/>
                </a:cubicBezTo>
                <a:cubicBezTo>
                  <a:pt x="2299" y="1721"/>
                  <a:pt x="2299" y="1721"/>
                  <a:pt x="2299" y="1721"/>
                </a:cubicBezTo>
                <a:cubicBezTo>
                  <a:pt x="2369" y="1699"/>
                  <a:pt x="2425" y="1649"/>
                  <a:pt x="2455" y="1582"/>
                </a:cubicBezTo>
                <a:cubicBezTo>
                  <a:pt x="2649" y="1137"/>
                  <a:pt x="2649" y="1137"/>
                  <a:pt x="2649" y="1137"/>
                </a:cubicBezTo>
                <a:cubicBezTo>
                  <a:pt x="2704" y="1012"/>
                  <a:pt x="2694" y="869"/>
                  <a:pt x="2624" y="753"/>
                </a:cubicBezTo>
                <a:close/>
                <a:moveTo>
                  <a:pt x="2595" y="1113"/>
                </a:moveTo>
                <a:cubicBezTo>
                  <a:pt x="2400" y="1558"/>
                  <a:pt x="2400" y="1558"/>
                  <a:pt x="2400" y="1558"/>
                </a:cubicBezTo>
                <a:cubicBezTo>
                  <a:pt x="2378" y="1609"/>
                  <a:pt x="2335" y="1648"/>
                  <a:pt x="2282" y="1665"/>
                </a:cubicBezTo>
                <a:cubicBezTo>
                  <a:pt x="831" y="2114"/>
                  <a:pt x="831" y="2114"/>
                  <a:pt x="831" y="2114"/>
                </a:cubicBezTo>
                <a:cubicBezTo>
                  <a:pt x="812" y="2120"/>
                  <a:pt x="793" y="2123"/>
                  <a:pt x="774" y="2123"/>
                </a:cubicBezTo>
                <a:cubicBezTo>
                  <a:pt x="704" y="2123"/>
                  <a:pt x="639" y="2084"/>
                  <a:pt x="606" y="2022"/>
                </a:cubicBezTo>
                <a:cubicBezTo>
                  <a:pt x="124" y="1133"/>
                  <a:pt x="124" y="1133"/>
                  <a:pt x="124" y="1133"/>
                </a:cubicBezTo>
                <a:cubicBezTo>
                  <a:pt x="62" y="1019"/>
                  <a:pt x="67" y="879"/>
                  <a:pt x="138" y="769"/>
                </a:cubicBezTo>
                <a:cubicBezTo>
                  <a:pt x="535" y="147"/>
                  <a:pt x="535" y="147"/>
                  <a:pt x="535" y="147"/>
                </a:cubicBezTo>
                <a:cubicBezTo>
                  <a:pt x="570" y="92"/>
                  <a:pt x="631" y="59"/>
                  <a:pt x="697" y="59"/>
                </a:cubicBezTo>
                <a:cubicBezTo>
                  <a:pt x="706" y="59"/>
                  <a:pt x="715" y="59"/>
                  <a:pt x="724" y="60"/>
                </a:cubicBezTo>
                <a:cubicBezTo>
                  <a:pt x="2100" y="256"/>
                  <a:pt x="2100" y="256"/>
                  <a:pt x="2100" y="256"/>
                </a:cubicBezTo>
                <a:cubicBezTo>
                  <a:pt x="2207" y="271"/>
                  <a:pt x="2301" y="333"/>
                  <a:pt x="2357" y="426"/>
                </a:cubicBezTo>
                <a:cubicBezTo>
                  <a:pt x="2573" y="784"/>
                  <a:pt x="2573" y="784"/>
                  <a:pt x="2573" y="784"/>
                </a:cubicBezTo>
                <a:cubicBezTo>
                  <a:pt x="2634" y="884"/>
                  <a:pt x="2642" y="1007"/>
                  <a:pt x="2595" y="1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91199"/>
            <a:ext cx="8352000" cy="2031231"/>
          </a:xfrm>
        </p:spPr>
        <p:txBody>
          <a:bodyPr anchor="b"/>
          <a:lstStyle>
            <a:lvl1pPr algn="l">
              <a:lnSpc>
                <a:spcPct val="90000"/>
              </a:lnSpc>
              <a:defRPr sz="7000">
                <a:solidFill>
                  <a:srgbClr val="9E145C"/>
                </a:solidFill>
              </a:defRPr>
            </a:lvl1pPr>
          </a:lstStyle>
          <a:p>
            <a:r>
              <a:rPr lang="nl-NL" dirty="0"/>
              <a:t>[Titel]</a:t>
            </a:r>
          </a:p>
        </p:txBody>
      </p:sp>
      <p:sp>
        <p:nvSpPr>
          <p:cNvPr id="3" name="Ondertitel 2"/>
          <p:cNvSpPr>
            <a:spLocks noGrp="1" noSelect="1"/>
          </p:cNvSpPr>
          <p:nvPr>
            <p:ph type="subTitle" idx="1" hasCustomPrompt="1"/>
          </p:nvPr>
        </p:nvSpPr>
        <p:spPr>
          <a:xfrm>
            <a:off x="1321200" y="4050460"/>
            <a:ext cx="8352000" cy="1404000"/>
          </a:xfrm>
        </p:spPr>
        <p:txBody>
          <a:bodyPr/>
          <a:lstStyle>
            <a:lvl1pPr marL="0" indent="0" algn="l">
              <a:buNone/>
              <a:defRPr sz="3500">
                <a:solidFill>
                  <a:srgbClr val="B1568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a:noFill/>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a:noFill/>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464750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eldia met beeld">
    <p:bg>
      <p:bgPr>
        <a:solidFill>
          <a:srgbClr val="3F7C9B"/>
        </a:solidFill>
        <a:effectLst/>
      </p:bgPr>
    </p:bg>
    <p:spTree>
      <p:nvGrpSpPr>
        <p:cNvPr id="1" name=""/>
        <p:cNvGrpSpPr/>
        <p:nvPr/>
      </p:nvGrpSpPr>
      <p:grpSpPr>
        <a:xfrm>
          <a:off x="0" y="0"/>
          <a:ext cx="0" cy="0"/>
          <a:chOff x="0" y="0"/>
          <a:chExt cx="0" cy="0"/>
        </a:xfrm>
      </p:grpSpPr>
      <p:sp>
        <p:nvSpPr>
          <p:cNvPr id="9" name="Freeform 7"/>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Tijdelijke aanduiding voor afbeelding 11"/>
          <p:cNvSpPr>
            <a:spLocks noGrp="1" noSelect="1"/>
          </p:cNvSpPr>
          <p:nvPr>
            <p:ph type="pic" idx="13" hasCustomPrompt="1"/>
          </p:nvPr>
        </p:nvSpPr>
        <p:spPr>
          <a:xfrm>
            <a:off x="1" y="0"/>
            <a:ext cx="5780731" cy="6858000"/>
          </a:xfrm>
          <a:custGeom>
            <a:avLst/>
            <a:gdLst>
              <a:gd name="connsiteX0" fmla="*/ 0 w 5780731"/>
              <a:gd name="connsiteY0" fmla="*/ 0 h 6858000"/>
              <a:gd name="connsiteX1" fmla="*/ 3890548 w 5780731"/>
              <a:gd name="connsiteY1" fmla="*/ 0 h 6858000"/>
              <a:gd name="connsiteX2" fmla="*/ 3943569 w 5780731"/>
              <a:gd name="connsiteY2" fmla="*/ 66675 h 6858000"/>
              <a:gd name="connsiteX3" fmla="*/ 3967063 w 5780731"/>
              <a:gd name="connsiteY3" fmla="*/ 99060 h 6858000"/>
              <a:gd name="connsiteX4" fmla="*/ 4008972 w 5780731"/>
              <a:gd name="connsiteY4" fmla="*/ 161290 h 6858000"/>
              <a:gd name="connsiteX5" fmla="*/ 4021672 w 5780731"/>
              <a:gd name="connsiteY5" fmla="*/ 181610 h 6858000"/>
              <a:gd name="connsiteX6" fmla="*/ 4033736 w 5780731"/>
              <a:gd name="connsiteY6" fmla="*/ 201930 h 6858000"/>
              <a:gd name="connsiteX7" fmla="*/ 4044531 w 5780731"/>
              <a:gd name="connsiteY7" fmla="*/ 219710 h 6858000"/>
              <a:gd name="connsiteX8" fmla="*/ 4062311 w 5780731"/>
              <a:gd name="connsiteY8" fmla="*/ 251778 h 6858000"/>
              <a:gd name="connsiteX9" fmla="*/ 4079138 w 5780731"/>
              <a:gd name="connsiteY9" fmla="*/ 283845 h 6858000"/>
              <a:gd name="connsiteX10" fmla="*/ 5616432 w 5780731"/>
              <a:gd name="connsiteY10" fmla="*/ 3294063 h 6858000"/>
              <a:gd name="connsiteX11" fmla="*/ 4739839 w 5780731"/>
              <a:gd name="connsiteY11" fmla="*/ 5398453 h 6858000"/>
              <a:gd name="connsiteX12" fmla="*/ 173038 w 5780731"/>
              <a:gd name="connsiteY12" fmla="*/ 6858000 h 6858000"/>
              <a:gd name="connsiteX13" fmla="*/ 0 w 5780731"/>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0731" h="6858000">
                <a:moveTo>
                  <a:pt x="0" y="0"/>
                </a:moveTo>
                <a:lnTo>
                  <a:pt x="3890548" y="0"/>
                </a:lnTo>
                <a:cubicBezTo>
                  <a:pt x="3908962" y="21590"/>
                  <a:pt x="3926424" y="43815"/>
                  <a:pt x="3943569" y="66675"/>
                </a:cubicBezTo>
                <a:cubicBezTo>
                  <a:pt x="3951506" y="77470"/>
                  <a:pt x="3959444" y="87948"/>
                  <a:pt x="3967063" y="99060"/>
                </a:cubicBezTo>
                <a:cubicBezTo>
                  <a:pt x="3981668" y="119380"/>
                  <a:pt x="3995638" y="140335"/>
                  <a:pt x="4008972" y="161290"/>
                </a:cubicBezTo>
                <a:cubicBezTo>
                  <a:pt x="4013417" y="167958"/>
                  <a:pt x="4017544" y="174943"/>
                  <a:pt x="4021672" y="181610"/>
                </a:cubicBezTo>
                <a:cubicBezTo>
                  <a:pt x="4025799" y="188278"/>
                  <a:pt x="4029927" y="194945"/>
                  <a:pt x="4033736" y="201930"/>
                </a:cubicBezTo>
                <a:cubicBezTo>
                  <a:pt x="4037546" y="207645"/>
                  <a:pt x="4041039" y="213995"/>
                  <a:pt x="4044531" y="219710"/>
                </a:cubicBezTo>
                <a:cubicBezTo>
                  <a:pt x="4050564" y="230505"/>
                  <a:pt x="4056596" y="240983"/>
                  <a:pt x="4062311" y="251778"/>
                </a:cubicBezTo>
                <a:cubicBezTo>
                  <a:pt x="4068026" y="262255"/>
                  <a:pt x="4073740" y="273050"/>
                  <a:pt x="4079138" y="283845"/>
                </a:cubicBezTo>
                <a:cubicBezTo>
                  <a:pt x="5616432" y="3294063"/>
                  <a:pt x="5616432" y="3294063"/>
                  <a:pt x="5616432" y="3294063"/>
                </a:cubicBezTo>
                <a:cubicBezTo>
                  <a:pt x="6036156" y="4115753"/>
                  <a:pt x="5618655" y="5117465"/>
                  <a:pt x="4739839" y="5398453"/>
                </a:cubicBezTo>
                <a:cubicBezTo>
                  <a:pt x="173038" y="6858000"/>
                  <a:pt x="173038" y="6858000"/>
                  <a:pt x="173038" y="6858000"/>
                </a:cubicBezTo>
                <a:lnTo>
                  <a:pt x="0" y="6858000"/>
                </a:lnTo>
                <a:close/>
              </a:path>
            </a:pathLst>
          </a:custGeom>
          <a:solidFill>
            <a:srgbClr val="90D0F3"/>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Klik op het pictogram om een afbeelding in te voegen]</a:t>
            </a:r>
          </a:p>
        </p:txBody>
      </p:sp>
      <p:sp>
        <p:nvSpPr>
          <p:cNvPr id="2" name="Titel 1"/>
          <p:cNvSpPr>
            <a:spLocks noGrp="1" noSelect="1"/>
          </p:cNvSpPr>
          <p:nvPr>
            <p:ph type="ctrTitle" hasCustomPrompt="1"/>
          </p:nvPr>
        </p:nvSpPr>
        <p:spPr>
          <a:xfrm>
            <a:off x="6173632" y="1567753"/>
            <a:ext cx="5749348" cy="2031231"/>
          </a:xfrm>
        </p:spPr>
        <p:txBody>
          <a:bodyPr anchor="b"/>
          <a:lstStyle>
            <a:lvl1pPr algn="l">
              <a:lnSpc>
                <a:spcPct val="92000"/>
              </a:lnSpc>
              <a:defRPr sz="5500" baseline="0">
                <a:solidFill>
                  <a:schemeClr val="bg1"/>
                </a:solidFill>
              </a:defRPr>
            </a:lvl1pPr>
          </a:lstStyle>
          <a:p>
            <a:r>
              <a:rPr lang="nl-NL" dirty="0"/>
              <a:t>[Titel]</a:t>
            </a:r>
          </a:p>
        </p:txBody>
      </p:sp>
      <p:sp>
        <p:nvSpPr>
          <p:cNvPr id="3" name="Ondertitel 2"/>
          <p:cNvSpPr>
            <a:spLocks noGrp="1" noSelect="1"/>
          </p:cNvSpPr>
          <p:nvPr>
            <p:ph type="subTitle" idx="1" hasCustomPrompt="1"/>
          </p:nvPr>
        </p:nvSpPr>
        <p:spPr>
          <a:xfrm>
            <a:off x="6174647" y="4050460"/>
            <a:ext cx="5749348" cy="1404000"/>
          </a:xfrm>
        </p:spPr>
        <p:txBody>
          <a:bodyPr/>
          <a:lstStyle>
            <a:lvl1pPr marL="0" indent="0" algn="l">
              <a:buNone/>
              <a:defRPr sz="3500">
                <a:solidFill>
                  <a:srgbClr val="B7E2F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75449181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eldia met beeld groen">
    <p:bg>
      <p:bgPr>
        <a:solidFill>
          <a:srgbClr val="0E864A"/>
        </a:solidFill>
        <a:effectLst/>
      </p:bgPr>
    </p:bg>
    <p:spTree>
      <p:nvGrpSpPr>
        <p:cNvPr id="1" name=""/>
        <p:cNvGrpSpPr/>
        <p:nvPr/>
      </p:nvGrpSpPr>
      <p:grpSpPr>
        <a:xfrm>
          <a:off x="0" y="0"/>
          <a:ext cx="0" cy="0"/>
          <a:chOff x="0" y="0"/>
          <a:chExt cx="0" cy="0"/>
        </a:xfrm>
      </p:grpSpPr>
      <p:sp>
        <p:nvSpPr>
          <p:cNvPr id="9" name="Freeform 7"/>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Tijdelijke aanduiding voor afbeelding 11"/>
          <p:cNvSpPr>
            <a:spLocks noGrp="1" noSelect="1"/>
          </p:cNvSpPr>
          <p:nvPr>
            <p:ph type="pic" idx="13" hasCustomPrompt="1"/>
          </p:nvPr>
        </p:nvSpPr>
        <p:spPr>
          <a:xfrm>
            <a:off x="1" y="0"/>
            <a:ext cx="5780731" cy="6858000"/>
          </a:xfrm>
          <a:custGeom>
            <a:avLst/>
            <a:gdLst>
              <a:gd name="connsiteX0" fmla="*/ 0 w 5780731"/>
              <a:gd name="connsiteY0" fmla="*/ 0 h 6858000"/>
              <a:gd name="connsiteX1" fmla="*/ 3890548 w 5780731"/>
              <a:gd name="connsiteY1" fmla="*/ 0 h 6858000"/>
              <a:gd name="connsiteX2" fmla="*/ 3943569 w 5780731"/>
              <a:gd name="connsiteY2" fmla="*/ 66675 h 6858000"/>
              <a:gd name="connsiteX3" fmla="*/ 3967063 w 5780731"/>
              <a:gd name="connsiteY3" fmla="*/ 99060 h 6858000"/>
              <a:gd name="connsiteX4" fmla="*/ 4008972 w 5780731"/>
              <a:gd name="connsiteY4" fmla="*/ 161290 h 6858000"/>
              <a:gd name="connsiteX5" fmla="*/ 4021672 w 5780731"/>
              <a:gd name="connsiteY5" fmla="*/ 181610 h 6858000"/>
              <a:gd name="connsiteX6" fmla="*/ 4033736 w 5780731"/>
              <a:gd name="connsiteY6" fmla="*/ 201930 h 6858000"/>
              <a:gd name="connsiteX7" fmla="*/ 4044531 w 5780731"/>
              <a:gd name="connsiteY7" fmla="*/ 219710 h 6858000"/>
              <a:gd name="connsiteX8" fmla="*/ 4062311 w 5780731"/>
              <a:gd name="connsiteY8" fmla="*/ 251778 h 6858000"/>
              <a:gd name="connsiteX9" fmla="*/ 4079138 w 5780731"/>
              <a:gd name="connsiteY9" fmla="*/ 283845 h 6858000"/>
              <a:gd name="connsiteX10" fmla="*/ 5616432 w 5780731"/>
              <a:gd name="connsiteY10" fmla="*/ 3294063 h 6858000"/>
              <a:gd name="connsiteX11" fmla="*/ 4739839 w 5780731"/>
              <a:gd name="connsiteY11" fmla="*/ 5398453 h 6858000"/>
              <a:gd name="connsiteX12" fmla="*/ 173038 w 5780731"/>
              <a:gd name="connsiteY12" fmla="*/ 6858000 h 6858000"/>
              <a:gd name="connsiteX13" fmla="*/ 0 w 5780731"/>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0731" h="6858000">
                <a:moveTo>
                  <a:pt x="0" y="0"/>
                </a:moveTo>
                <a:lnTo>
                  <a:pt x="3890548" y="0"/>
                </a:lnTo>
                <a:cubicBezTo>
                  <a:pt x="3908962" y="21590"/>
                  <a:pt x="3926424" y="43815"/>
                  <a:pt x="3943569" y="66675"/>
                </a:cubicBezTo>
                <a:cubicBezTo>
                  <a:pt x="3951506" y="77470"/>
                  <a:pt x="3959444" y="87948"/>
                  <a:pt x="3967063" y="99060"/>
                </a:cubicBezTo>
                <a:cubicBezTo>
                  <a:pt x="3981668" y="119380"/>
                  <a:pt x="3995638" y="140335"/>
                  <a:pt x="4008972" y="161290"/>
                </a:cubicBezTo>
                <a:cubicBezTo>
                  <a:pt x="4013417" y="167958"/>
                  <a:pt x="4017544" y="174943"/>
                  <a:pt x="4021672" y="181610"/>
                </a:cubicBezTo>
                <a:cubicBezTo>
                  <a:pt x="4025799" y="188278"/>
                  <a:pt x="4029927" y="194945"/>
                  <a:pt x="4033736" y="201930"/>
                </a:cubicBezTo>
                <a:cubicBezTo>
                  <a:pt x="4037546" y="207645"/>
                  <a:pt x="4041039" y="213995"/>
                  <a:pt x="4044531" y="219710"/>
                </a:cubicBezTo>
                <a:cubicBezTo>
                  <a:pt x="4050564" y="230505"/>
                  <a:pt x="4056596" y="240983"/>
                  <a:pt x="4062311" y="251778"/>
                </a:cubicBezTo>
                <a:cubicBezTo>
                  <a:pt x="4068026" y="262255"/>
                  <a:pt x="4073740" y="273050"/>
                  <a:pt x="4079138" y="283845"/>
                </a:cubicBezTo>
                <a:cubicBezTo>
                  <a:pt x="5616432" y="3294063"/>
                  <a:pt x="5616432" y="3294063"/>
                  <a:pt x="5616432" y="3294063"/>
                </a:cubicBezTo>
                <a:cubicBezTo>
                  <a:pt x="6036156" y="4115753"/>
                  <a:pt x="5618655" y="5117465"/>
                  <a:pt x="4739839" y="5398453"/>
                </a:cubicBezTo>
                <a:cubicBezTo>
                  <a:pt x="173038" y="6858000"/>
                  <a:pt x="173038" y="6858000"/>
                  <a:pt x="173038" y="6858000"/>
                </a:cubicBezTo>
                <a:lnTo>
                  <a:pt x="0" y="6858000"/>
                </a:lnTo>
                <a:close/>
              </a:path>
            </a:pathLst>
          </a:custGeom>
          <a:solidFill>
            <a:srgbClr val="81C5A1"/>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Klik op het pictogram om een afbeelding in te voegen]</a:t>
            </a:r>
          </a:p>
        </p:txBody>
      </p:sp>
      <p:sp>
        <p:nvSpPr>
          <p:cNvPr id="2" name="Titel 1"/>
          <p:cNvSpPr>
            <a:spLocks noGrp="1" noSelect="1"/>
          </p:cNvSpPr>
          <p:nvPr>
            <p:ph type="ctrTitle" hasCustomPrompt="1"/>
          </p:nvPr>
        </p:nvSpPr>
        <p:spPr>
          <a:xfrm>
            <a:off x="6173632" y="1567753"/>
            <a:ext cx="5749348" cy="2031231"/>
          </a:xfrm>
        </p:spPr>
        <p:txBody>
          <a:bodyPr anchor="b"/>
          <a:lstStyle>
            <a:lvl1pPr algn="l">
              <a:lnSpc>
                <a:spcPct val="92000"/>
              </a:lnSpc>
              <a:defRPr sz="5500" baseline="0">
                <a:solidFill>
                  <a:schemeClr val="bg1"/>
                </a:solidFill>
              </a:defRPr>
            </a:lvl1pPr>
          </a:lstStyle>
          <a:p>
            <a:r>
              <a:rPr lang="nl-NL" dirty="0"/>
              <a:t>[Titel]</a:t>
            </a:r>
          </a:p>
        </p:txBody>
      </p:sp>
      <p:sp>
        <p:nvSpPr>
          <p:cNvPr id="3" name="Ondertitel 2"/>
          <p:cNvSpPr>
            <a:spLocks noGrp="1" noSelect="1"/>
          </p:cNvSpPr>
          <p:nvPr>
            <p:ph type="subTitle" idx="1" hasCustomPrompt="1"/>
          </p:nvPr>
        </p:nvSpPr>
        <p:spPr>
          <a:xfrm>
            <a:off x="6174647" y="4050460"/>
            <a:ext cx="5749348" cy="1404000"/>
          </a:xfrm>
        </p:spPr>
        <p:txBody>
          <a:bodyPr/>
          <a:lstStyle>
            <a:lvl1pPr marL="0" indent="0" algn="l">
              <a:buNone/>
              <a:defRPr sz="3500">
                <a:solidFill>
                  <a:srgbClr val="CEE7D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10354376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eldia met beeld paars">
    <p:bg>
      <p:bgPr>
        <a:solidFill>
          <a:srgbClr val="852F81"/>
        </a:solidFill>
        <a:effectLst/>
      </p:bgPr>
    </p:bg>
    <p:spTree>
      <p:nvGrpSpPr>
        <p:cNvPr id="1" name=""/>
        <p:cNvGrpSpPr/>
        <p:nvPr/>
      </p:nvGrpSpPr>
      <p:grpSpPr>
        <a:xfrm>
          <a:off x="0" y="0"/>
          <a:ext cx="0" cy="0"/>
          <a:chOff x="0" y="0"/>
          <a:chExt cx="0" cy="0"/>
        </a:xfrm>
      </p:grpSpPr>
      <p:sp>
        <p:nvSpPr>
          <p:cNvPr id="9" name="Freeform 7"/>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Tijdelijke aanduiding voor afbeelding 11"/>
          <p:cNvSpPr>
            <a:spLocks noGrp="1" noSelect="1"/>
          </p:cNvSpPr>
          <p:nvPr>
            <p:ph type="pic" idx="13" hasCustomPrompt="1"/>
          </p:nvPr>
        </p:nvSpPr>
        <p:spPr>
          <a:xfrm>
            <a:off x="1" y="0"/>
            <a:ext cx="5780731" cy="6858000"/>
          </a:xfrm>
          <a:custGeom>
            <a:avLst/>
            <a:gdLst>
              <a:gd name="connsiteX0" fmla="*/ 0 w 5780731"/>
              <a:gd name="connsiteY0" fmla="*/ 0 h 6858000"/>
              <a:gd name="connsiteX1" fmla="*/ 3890548 w 5780731"/>
              <a:gd name="connsiteY1" fmla="*/ 0 h 6858000"/>
              <a:gd name="connsiteX2" fmla="*/ 3943569 w 5780731"/>
              <a:gd name="connsiteY2" fmla="*/ 66675 h 6858000"/>
              <a:gd name="connsiteX3" fmla="*/ 3967063 w 5780731"/>
              <a:gd name="connsiteY3" fmla="*/ 99060 h 6858000"/>
              <a:gd name="connsiteX4" fmla="*/ 4008972 w 5780731"/>
              <a:gd name="connsiteY4" fmla="*/ 161290 h 6858000"/>
              <a:gd name="connsiteX5" fmla="*/ 4021672 w 5780731"/>
              <a:gd name="connsiteY5" fmla="*/ 181610 h 6858000"/>
              <a:gd name="connsiteX6" fmla="*/ 4033736 w 5780731"/>
              <a:gd name="connsiteY6" fmla="*/ 201930 h 6858000"/>
              <a:gd name="connsiteX7" fmla="*/ 4044531 w 5780731"/>
              <a:gd name="connsiteY7" fmla="*/ 219710 h 6858000"/>
              <a:gd name="connsiteX8" fmla="*/ 4062311 w 5780731"/>
              <a:gd name="connsiteY8" fmla="*/ 251778 h 6858000"/>
              <a:gd name="connsiteX9" fmla="*/ 4079138 w 5780731"/>
              <a:gd name="connsiteY9" fmla="*/ 283845 h 6858000"/>
              <a:gd name="connsiteX10" fmla="*/ 5616432 w 5780731"/>
              <a:gd name="connsiteY10" fmla="*/ 3294063 h 6858000"/>
              <a:gd name="connsiteX11" fmla="*/ 4739839 w 5780731"/>
              <a:gd name="connsiteY11" fmla="*/ 5398453 h 6858000"/>
              <a:gd name="connsiteX12" fmla="*/ 173038 w 5780731"/>
              <a:gd name="connsiteY12" fmla="*/ 6858000 h 6858000"/>
              <a:gd name="connsiteX13" fmla="*/ 0 w 5780731"/>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0731" h="6858000">
                <a:moveTo>
                  <a:pt x="0" y="0"/>
                </a:moveTo>
                <a:lnTo>
                  <a:pt x="3890548" y="0"/>
                </a:lnTo>
                <a:cubicBezTo>
                  <a:pt x="3908962" y="21590"/>
                  <a:pt x="3926424" y="43815"/>
                  <a:pt x="3943569" y="66675"/>
                </a:cubicBezTo>
                <a:cubicBezTo>
                  <a:pt x="3951506" y="77470"/>
                  <a:pt x="3959444" y="87948"/>
                  <a:pt x="3967063" y="99060"/>
                </a:cubicBezTo>
                <a:cubicBezTo>
                  <a:pt x="3981668" y="119380"/>
                  <a:pt x="3995638" y="140335"/>
                  <a:pt x="4008972" y="161290"/>
                </a:cubicBezTo>
                <a:cubicBezTo>
                  <a:pt x="4013417" y="167958"/>
                  <a:pt x="4017544" y="174943"/>
                  <a:pt x="4021672" y="181610"/>
                </a:cubicBezTo>
                <a:cubicBezTo>
                  <a:pt x="4025799" y="188278"/>
                  <a:pt x="4029927" y="194945"/>
                  <a:pt x="4033736" y="201930"/>
                </a:cubicBezTo>
                <a:cubicBezTo>
                  <a:pt x="4037546" y="207645"/>
                  <a:pt x="4041039" y="213995"/>
                  <a:pt x="4044531" y="219710"/>
                </a:cubicBezTo>
                <a:cubicBezTo>
                  <a:pt x="4050564" y="230505"/>
                  <a:pt x="4056596" y="240983"/>
                  <a:pt x="4062311" y="251778"/>
                </a:cubicBezTo>
                <a:cubicBezTo>
                  <a:pt x="4068026" y="262255"/>
                  <a:pt x="4073740" y="273050"/>
                  <a:pt x="4079138" y="283845"/>
                </a:cubicBezTo>
                <a:cubicBezTo>
                  <a:pt x="5616432" y="3294063"/>
                  <a:pt x="5616432" y="3294063"/>
                  <a:pt x="5616432" y="3294063"/>
                </a:cubicBezTo>
                <a:cubicBezTo>
                  <a:pt x="6036156" y="4115753"/>
                  <a:pt x="5618655" y="5117465"/>
                  <a:pt x="4739839" y="5398453"/>
                </a:cubicBezTo>
                <a:cubicBezTo>
                  <a:pt x="173038" y="6858000"/>
                  <a:pt x="173038" y="6858000"/>
                  <a:pt x="173038" y="6858000"/>
                </a:cubicBezTo>
                <a:lnTo>
                  <a:pt x="0" y="6858000"/>
                </a:lnTo>
                <a:close/>
              </a:path>
            </a:pathLst>
          </a:custGeom>
          <a:solidFill>
            <a:srgbClr val="C893C2"/>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Klik op het pictogram om een afbeelding in te voegen]</a:t>
            </a:r>
          </a:p>
        </p:txBody>
      </p:sp>
      <p:sp>
        <p:nvSpPr>
          <p:cNvPr id="2" name="Titel 1"/>
          <p:cNvSpPr>
            <a:spLocks noGrp="1" noSelect="1"/>
          </p:cNvSpPr>
          <p:nvPr>
            <p:ph type="ctrTitle" hasCustomPrompt="1"/>
          </p:nvPr>
        </p:nvSpPr>
        <p:spPr>
          <a:xfrm>
            <a:off x="6173632" y="1567753"/>
            <a:ext cx="5749348" cy="2031231"/>
          </a:xfrm>
        </p:spPr>
        <p:txBody>
          <a:bodyPr anchor="b"/>
          <a:lstStyle>
            <a:lvl1pPr algn="l">
              <a:lnSpc>
                <a:spcPct val="92000"/>
              </a:lnSpc>
              <a:defRPr sz="5500" baseline="0">
                <a:solidFill>
                  <a:schemeClr val="bg1"/>
                </a:solidFill>
              </a:defRPr>
            </a:lvl1pPr>
          </a:lstStyle>
          <a:p>
            <a:r>
              <a:rPr lang="nl-NL" dirty="0"/>
              <a:t>[Titel]</a:t>
            </a:r>
          </a:p>
        </p:txBody>
      </p:sp>
      <p:sp>
        <p:nvSpPr>
          <p:cNvPr id="3" name="Ondertitel 2"/>
          <p:cNvSpPr>
            <a:spLocks noGrp="1" noSelect="1"/>
          </p:cNvSpPr>
          <p:nvPr>
            <p:ph type="subTitle" idx="1" hasCustomPrompt="1"/>
          </p:nvPr>
        </p:nvSpPr>
        <p:spPr>
          <a:xfrm>
            <a:off x="6174647" y="4050460"/>
            <a:ext cx="5749348" cy="1404000"/>
          </a:xfrm>
        </p:spPr>
        <p:txBody>
          <a:bodyPr/>
          <a:lstStyle>
            <a:lvl1pPr marL="0" indent="0" algn="l">
              <a:buNone/>
              <a:defRPr sz="3500">
                <a:solidFill>
                  <a:srgbClr val="EBD6E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1202491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ranje">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36A78CE3-8540-49AD-BB12-E65EBC3529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13" y="0"/>
            <a:ext cx="12180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214511" y="3429000"/>
            <a:ext cx="9144000" cy="1909763"/>
          </a:xfrm>
          <a:prstGeom prst="rect">
            <a:avLst/>
          </a:prstGeom>
        </p:spPr>
        <p:txBody>
          <a:bodyPr anchor="t">
            <a:normAutofit/>
          </a:bodyPr>
          <a:lstStyle>
            <a:lvl1pPr algn="l">
              <a:defRPr sz="4400" b="1">
                <a:solidFill>
                  <a:schemeClr val="bg1"/>
                </a:solidFill>
              </a:defRPr>
            </a:lvl1pPr>
          </a:lstStyle>
          <a:p>
            <a:r>
              <a:rPr lang="nl-NL" dirty="0"/>
              <a:t>Klik om stijl te bewerken</a:t>
            </a:r>
          </a:p>
        </p:txBody>
      </p:sp>
      <p:sp>
        <p:nvSpPr>
          <p:cNvPr id="4" name="Tijdelijke aanduiding voor datum 3">
            <a:extLst>
              <a:ext uri="{FF2B5EF4-FFF2-40B4-BE49-F238E27FC236}">
                <a16:creationId xmlns:a16="http://schemas.microsoft.com/office/drawing/2014/main" id="{E989CEDD-276C-4BF8-8798-B931BFFBD4E6}"/>
              </a:ext>
            </a:extLst>
          </p:cNvPr>
          <p:cNvSpPr>
            <a:spLocks noGrp="1"/>
          </p:cNvSpPr>
          <p:nvPr>
            <p:ph type="dt" sz="half" idx="10"/>
          </p:nvPr>
        </p:nvSpPr>
        <p:spPr/>
        <p:txBody>
          <a:bodyPr/>
          <a:lstStyle>
            <a:lvl1pPr>
              <a:defRPr/>
            </a:lvl1pPr>
          </a:lstStyle>
          <a:p>
            <a:pPr>
              <a:defRPr/>
            </a:pPr>
            <a:fld id="{B4A48E58-BC4A-4571-AC3A-45FBBB09C9BD}"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388960AA-E61F-4DFD-AA2D-47BF094CE486}"/>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14D8DCDD-47D0-43B1-B0D6-0BE4F03AF1AC}"/>
              </a:ext>
            </a:extLst>
          </p:cNvPr>
          <p:cNvSpPr>
            <a:spLocks noGrp="1"/>
          </p:cNvSpPr>
          <p:nvPr>
            <p:ph type="sldNum" sz="quarter" idx="12"/>
          </p:nvPr>
        </p:nvSpPr>
        <p:spPr/>
        <p:txBody>
          <a:bodyPr/>
          <a:lstStyle>
            <a:lvl1pPr>
              <a:defRPr/>
            </a:lvl1pPr>
          </a:lstStyle>
          <a:p>
            <a:pPr>
              <a:defRPr/>
            </a:pPr>
            <a:fld id="{F4A26503-93D0-4EEB-944A-46B512DFC7DA}" type="slidenum">
              <a:rPr lang="nl-NL"/>
              <a:pPr>
                <a:defRPr/>
              </a:pPr>
              <a:t>‹nr.›</a:t>
            </a:fld>
            <a:endParaRPr lang="nl-NL"/>
          </a:p>
        </p:txBody>
      </p:sp>
    </p:spTree>
    <p:extLst>
      <p:ext uri="{BB962C8B-B14F-4D97-AF65-F5344CB8AC3E}">
        <p14:creationId xmlns:p14="http://schemas.microsoft.com/office/powerpoint/2010/main" val="322234888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eldia met beeld roze">
    <p:bg>
      <p:bgPr>
        <a:solidFill>
          <a:srgbClr val="B15688"/>
        </a:solidFill>
        <a:effectLst/>
      </p:bgPr>
    </p:bg>
    <p:spTree>
      <p:nvGrpSpPr>
        <p:cNvPr id="1" name=""/>
        <p:cNvGrpSpPr/>
        <p:nvPr/>
      </p:nvGrpSpPr>
      <p:grpSpPr>
        <a:xfrm>
          <a:off x="0" y="0"/>
          <a:ext cx="0" cy="0"/>
          <a:chOff x="0" y="0"/>
          <a:chExt cx="0" cy="0"/>
        </a:xfrm>
      </p:grpSpPr>
      <p:sp>
        <p:nvSpPr>
          <p:cNvPr id="9" name="Freeform 7"/>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0" name="Tijdelijke aanduiding voor afbeelding 11"/>
          <p:cNvSpPr>
            <a:spLocks noGrp="1" noSelect="1"/>
          </p:cNvSpPr>
          <p:nvPr>
            <p:ph type="pic" idx="13" hasCustomPrompt="1"/>
          </p:nvPr>
        </p:nvSpPr>
        <p:spPr>
          <a:xfrm>
            <a:off x="1" y="0"/>
            <a:ext cx="5780731" cy="6858000"/>
          </a:xfrm>
          <a:custGeom>
            <a:avLst/>
            <a:gdLst>
              <a:gd name="connsiteX0" fmla="*/ 0 w 5780731"/>
              <a:gd name="connsiteY0" fmla="*/ 0 h 6858000"/>
              <a:gd name="connsiteX1" fmla="*/ 3890548 w 5780731"/>
              <a:gd name="connsiteY1" fmla="*/ 0 h 6858000"/>
              <a:gd name="connsiteX2" fmla="*/ 3943569 w 5780731"/>
              <a:gd name="connsiteY2" fmla="*/ 66675 h 6858000"/>
              <a:gd name="connsiteX3" fmla="*/ 3967063 w 5780731"/>
              <a:gd name="connsiteY3" fmla="*/ 99060 h 6858000"/>
              <a:gd name="connsiteX4" fmla="*/ 4008972 w 5780731"/>
              <a:gd name="connsiteY4" fmla="*/ 161290 h 6858000"/>
              <a:gd name="connsiteX5" fmla="*/ 4021672 w 5780731"/>
              <a:gd name="connsiteY5" fmla="*/ 181610 h 6858000"/>
              <a:gd name="connsiteX6" fmla="*/ 4033736 w 5780731"/>
              <a:gd name="connsiteY6" fmla="*/ 201930 h 6858000"/>
              <a:gd name="connsiteX7" fmla="*/ 4044531 w 5780731"/>
              <a:gd name="connsiteY7" fmla="*/ 219710 h 6858000"/>
              <a:gd name="connsiteX8" fmla="*/ 4062311 w 5780731"/>
              <a:gd name="connsiteY8" fmla="*/ 251778 h 6858000"/>
              <a:gd name="connsiteX9" fmla="*/ 4079138 w 5780731"/>
              <a:gd name="connsiteY9" fmla="*/ 283845 h 6858000"/>
              <a:gd name="connsiteX10" fmla="*/ 5616432 w 5780731"/>
              <a:gd name="connsiteY10" fmla="*/ 3294063 h 6858000"/>
              <a:gd name="connsiteX11" fmla="*/ 4739839 w 5780731"/>
              <a:gd name="connsiteY11" fmla="*/ 5398453 h 6858000"/>
              <a:gd name="connsiteX12" fmla="*/ 173038 w 5780731"/>
              <a:gd name="connsiteY12" fmla="*/ 6858000 h 6858000"/>
              <a:gd name="connsiteX13" fmla="*/ 0 w 5780731"/>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0731" h="6858000">
                <a:moveTo>
                  <a:pt x="0" y="0"/>
                </a:moveTo>
                <a:lnTo>
                  <a:pt x="3890548" y="0"/>
                </a:lnTo>
                <a:cubicBezTo>
                  <a:pt x="3908962" y="21590"/>
                  <a:pt x="3926424" y="43815"/>
                  <a:pt x="3943569" y="66675"/>
                </a:cubicBezTo>
                <a:cubicBezTo>
                  <a:pt x="3951506" y="77470"/>
                  <a:pt x="3959444" y="87948"/>
                  <a:pt x="3967063" y="99060"/>
                </a:cubicBezTo>
                <a:cubicBezTo>
                  <a:pt x="3981668" y="119380"/>
                  <a:pt x="3995638" y="140335"/>
                  <a:pt x="4008972" y="161290"/>
                </a:cubicBezTo>
                <a:cubicBezTo>
                  <a:pt x="4013417" y="167958"/>
                  <a:pt x="4017544" y="174943"/>
                  <a:pt x="4021672" y="181610"/>
                </a:cubicBezTo>
                <a:cubicBezTo>
                  <a:pt x="4025799" y="188278"/>
                  <a:pt x="4029927" y="194945"/>
                  <a:pt x="4033736" y="201930"/>
                </a:cubicBezTo>
                <a:cubicBezTo>
                  <a:pt x="4037546" y="207645"/>
                  <a:pt x="4041039" y="213995"/>
                  <a:pt x="4044531" y="219710"/>
                </a:cubicBezTo>
                <a:cubicBezTo>
                  <a:pt x="4050564" y="230505"/>
                  <a:pt x="4056596" y="240983"/>
                  <a:pt x="4062311" y="251778"/>
                </a:cubicBezTo>
                <a:cubicBezTo>
                  <a:pt x="4068026" y="262255"/>
                  <a:pt x="4073740" y="273050"/>
                  <a:pt x="4079138" y="283845"/>
                </a:cubicBezTo>
                <a:cubicBezTo>
                  <a:pt x="5616432" y="3294063"/>
                  <a:pt x="5616432" y="3294063"/>
                  <a:pt x="5616432" y="3294063"/>
                </a:cubicBezTo>
                <a:cubicBezTo>
                  <a:pt x="6036156" y="4115753"/>
                  <a:pt x="5618655" y="5117465"/>
                  <a:pt x="4739839" y="5398453"/>
                </a:cubicBezTo>
                <a:cubicBezTo>
                  <a:pt x="173038" y="6858000"/>
                  <a:pt x="173038" y="6858000"/>
                  <a:pt x="173038" y="6858000"/>
                </a:cubicBezTo>
                <a:lnTo>
                  <a:pt x="0" y="6858000"/>
                </a:lnTo>
                <a:close/>
              </a:path>
            </a:pathLst>
          </a:custGeom>
          <a:solidFill>
            <a:srgbClr val="F6BFD9"/>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Klik op het pictogram om een afbeelding in te voegen]</a:t>
            </a:r>
          </a:p>
        </p:txBody>
      </p:sp>
      <p:sp>
        <p:nvSpPr>
          <p:cNvPr id="2" name="Titel 1"/>
          <p:cNvSpPr>
            <a:spLocks noGrp="1" noSelect="1"/>
          </p:cNvSpPr>
          <p:nvPr>
            <p:ph type="ctrTitle" hasCustomPrompt="1"/>
          </p:nvPr>
        </p:nvSpPr>
        <p:spPr>
          <a:xfrm>
            <a:off x="6173632" y="1567753"/>
            <a:ext cx="5749348" cy="2031231"/>
          </a:xfrm>
        </p:spPr>
        <p:txBody>
          <a:bodyPr anchor="b"/>
          <a:lstStyle>
            <a:lvl1pPr algn="l">
              <a:lnSpc>
                <a:spcPct val="92000"/>
              </a:lnSpc>
              <a:defRPr sz="5500" baseline="0">
                <a:solidFill>
                  <a:schemeClr val="bg1"/>
                </a:solidFill>
              </a:defRPr>
            </a:lvl1pPr>
          </a:lstStyle>
          <a:p>
            <a:r>
              <a:rPr lang="nl-NL" dirty="0"/>
              <a:t>[Titel]</a:t>
            </a:r>
          </a:p>
        </p:txBody>
      </p:sp>
      <p:sp>
        <p:nvSpPr>
          <p:cNvPr id="3" name="Ondertitel 2"/>
          <p:cNvSpPr>
            <a:spLocks noGrp="1" noSelect="1"/>
          </p:cNvSpPr>
          <p:nvPr>
            <p:ph type="subTitle" idx="1" hasCustomPrompt="1"/>
          </p:nvPr>
        </p:nvSpPr>
        <p:spPr>
          <a:xfrm>
            <a:off x="6174647" y="4050460"/>
            <a:ext cx="5749348" cy="1404000"/>
          </a:xfrm>
        </p:spPr>
        <p:txBody>
          <a:bodyPr/>
          <a:lstStyle>
            <a:lvl1pPr marL="0" indent="0" algn="l">
              <a:buNone/>
              <a:defRPr sz="3500">
                <a:solidFill>
                  <a:srgbClr val="FAE3E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5" name="Naam presentator 4 (JU-Free)"/>
          <p:cNvSpPr>
            <a:spLocks noGrp="1"/>
          </p:cNvSpPr>
          <p:nvPr>
            <p:ph type="body" sz="quarter" idx="10" hasCustomPrompt="1"/>
          </p:nvPr>
        </p:nvSpPr>
        <p:spPr>
          <a:xfrm>
            <a:off x="9319846" y="5732340"/>
            <a:ext cx="2532796" cy="216000"/>
          </a:xfrm>
        </p:spPr>
        <p:txBody>
          <a:bodyPr/>
          <a:lstStyle>
            <a:lvl1pPr marL="0" indent="0" algn="r">
              <a:lnSpc>
                <a:spcPct val="100000"/>
              </a:lnSpc>
              <a:spcBef>
                <a:spcPts val="0"/>
              </a:spcBef>
              <a:buNone/>
              <a:defRPr sz="1200" b="1">
                <a:solidFill>
                  <a:schemeClr val="bg1"/>
                </a:solidFill>
              </a:defRPr>
            </a:lvl1pPr>
            <a:lvl2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1" i="0" u="none" baseline="0">
                <a:solidFill>
                  <a:schemeClr val="bg1">
                    <a:lumMod val="100000"/>
                  </a:schemeClr>
                </a:solidFill>
                <a:latin typeface="Arial" panose="020B0604020202020204" pitchFamily="34" charset="0"/>
              </a:defRPr>
            </a:lvl9pPr>
          </a:lstStyle>
          <a:p>
            <a:pPr lvl="0"/>
            <a:r>
              <a:rPr lang="nl-NL" dirty="0"/>
              <a:t>[Naam presentator /]</a:t>
            </a:r>
          </a:p>
          <a:p>
            <a:pPr lvl="0"/>
            <a:r>
              <a:rPr lang="nl-NL" dirty="0"/>
              <a:t>JU-LEVEL1=Naam</a:t>
            </a:r>
          </a:p>
        </p:txBody>
      </p:sp>
      <p:sp>
        <p:nvSpPr>
          <p:cNvPr id="6" name="Functie 5 (JU-Free)"/>
          <p:cNvSpPr>
            <a:spLocks noGrp="1"/>
          </p:cNvSpPr>
          <p:nvPr>
            <p:ph type="body" sz="quarter" idx="11" hasCustomPrompt="1"/>
          </p:nvPr>
        </p:nvSpPr>
        <p:spPr>
          <a:xfrm>
            <a:off x="9319846" y="5943355"/>
            <a:ext cx="2532796" cy="216000"/>
          </a:xfrm>
        </p:spPr>
        <p:txBody>
          <a:bodyPr/>
          <a:lstStyle>
            <a:lvl1pPr marL="0" indent="0" algn="r">
              <a:lnSpc>
                <a:spcPct val="100000"/>
              </a:lnSpc>
              <a:spcBef>
                <a:spcPts val="0"/>
              </a:spcBef>
              <a:buNone/>
              <a:defRPr sz="1200" b="0" i="1">
                <a:solidFill>
                  <a:schemeClr val="bg1"/>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dirty="0"/>
              <a:t>[Eventueel functie]</a:t>
            </a:r>
          </a:p>
          <a:p>
            <a:pPr lvl="0"/>
            <a:r>
              <a:rPr lang="nl-NL" dirty="0"/>
              <a:t>JU-LEVEL1=Functie</a:t>
            </a:r>
          </a:p>
        </p:txBody>
      </p:sp>
      <p:sp>
        <p:nvSpPr>
          <p:cNvPr id="7" name="Datum 6 (JU-Free)"/>
          <p:cNvSpPr>
            <a:spLocks noGrp="1"/>
          </p:cNvSpPr>
          <p:nvPr>
            <p:ph type="body" sz="quarter" idx="12" hasCustomPrompt="1"/>
          </p:nvPr>
        </p:nvSpPr>
        <p:spPr>
          <a:xfrm>
            <a:off x="9319846" y="6365384"/>
            <a:ext cx="2532796" cy="216000"/>
          </a:xfrm>
          <a:noFill/>
        </p:spPr>
        <p:txBody>
          <a:bodyPr/>
          <a:lstStyle>
            <a:lvl1pPr marL="0" indent="0" algn="r">
              <a:lnSpc>
                <a:spcPct val="100000"/>
              </a:lnSpc>
              <a:spcBef>
                <a:spcPts val="0"/>
              </a:spcBef>
              <a:buNone/>
              <a:defRPr sz="1200" b="0" i="0">
                <a:solidFill>
                  <a:schemeClr val="bg1"/>
                </a:solidFill>
              </a:defRPr>
            </a:lvl1pPr>
            <a:lvl2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0" u="none" baseline="0">
                <a:solidFill>
                  <a:schemeClr val="bg1">
                    <a:lumMod val="100000"/>
                  </a:schemeClr>
                </a:solidFill>
                <a:latin typeface="Arial" panose="020B0604020202020204" pitchFamily="34" charset="0"/>
              </a:defRPr>
            </a:lvl9pPr>
          </a:lstStyle>
          <a:p>
            <a:pPr lvl="0"/>
            <a:r>
              <a:rPr lang="nl-NL" dirty="0"/>
              <a:t>[Datum]</a:t>
            </a:r>
          </a:p>
          <a:p>
            <a:pPr lvl="0"/>
            <a:r>
              <a:rPr lang="nl-NL" dirty="0"/>
              <a:t>JU-LEVEL1=Datum</a:t>
            </a:r>
          </a:p>
        </p:txBody>
      </p:sp>
    </p:spTree>
    <p:extLst>
      <p:ext uri="{BB962C8B-B14F-4D97-AF65-F5344CB8AC3E}">
        <p14:creationId xmlns:p14="http://schemas.microsoft.com/office/powerpoint/2010/main" val="14518503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ussenpagina">
    <p:bg>
      <p:bgPr>
        <a:solidFill>
          <a:srgbClr val="3F7C9B"/>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0" y="0"/>
            <a:ext cx="12192000" cy="6688138"/>
          </a:xfrm>
          <a:custGeom>
            <a:avLst/>
            <a:gdLst>
              <a:gd name="T0" fmla="*/ 38400 w 38400"/>
              <a:gd name="T1" fmla="*/ 0 h 21066"/>
              <a:gd name="T2" fmla="*/ 38400 w 38400"/>
              <a:gd name="T3" fmla="*/ 16816 h 21066"/>
              <a:gd name="T4" fmla="*/ 38056 w 38400"/>
              <a:gd name="T5" fmla="*/ 16869 h 21066"/>
              <a:gd name="T6" fmla="*/ 12739 w 38400"/>
              <a:gd name="T7" fmla="*/ 20376 h 21066"/>
              <a:gd name="T8" fmla="*/ 0 w 38400"/>
              <a:gd name="T9" fmla="*/ 16507 h 21066"/>
              <a:gd name="T10" fmla="*/ 0 w 38400"/>
              <a:gd name="T11" fmla="*/ 0 h 21066"/>
              <a:gd name="T12" fmla="*/ 38400 w 38400"/>
              <a:gd name="T13" fmla="*/ 0 h 21066"/>
            </a:gdLst>
            <a:ahLst/>
            <a:cxnLst>
              <a:cxn ang="0">
                <a:pos x="T0" y="T1"/>
              </a:cxn>
              <a:cxn ang="0">
                <a:pos x="T2" y="T3"/>
              </a:cxn>
              <a:cxn ang="0">
                <a:pos x="T4" y="T5"/>
              </a:cxn>
              <a:cxn ang="0">
                <a:pos x="T6" y="T7"/>
              </a:cxn>
              <a:cxn ang="0">
                <a:pos x="T8" y="T9"/>
              </a:cxn>
              <a:cxn ang="0">
                <a:pos x="T10" y="T11"/>
              </a:cxn>
              <a:cxn ang="0">
                <a:pos x="T12" y="T13"/>
              </a:cxn>
            </a:cxnLst>
            <a:rect l="0" t="0" r="r" b="b"/>
            <a:pathLst>
              <a:path w="38400" h="21066">
                <a:moveTo>
                  <a:pt x="38400" y="0"/>
                </a:moveTo>
                <a:cubicBezTo>
                  <a:pt x="38400" y="16816"/>
                  <a:pt x="38400" y="16816"/>
                  <a:pt x="38400" y="16816"/>
                </a:cubicBezTo>
                <a:cubicBezTo>
                  <a:pt x="38286" y="16836"/>
                  <a:pt x="38171" y="16853"/>
                  <a:pt x="38056" y="16869"/>
                </a:cubicBezTo>
                <a:cubicBezTo>
                  <a:pt x="12739" y="20376"/>
                  <a:pt x="12739" y="20376"/>
                  <a:pt x="12739" y="20376"/>
                </a:cubicBezTo>
                <a:cubicBezTo>
                  <a:pt x="7756" y="21066"/>
                  <a:pt x="3260" y="19438"/>
                  <a:pt x="0" y="16507"/>
                </a:cubicBezTo>
                <a:cubicBezTo>
                  <a:pt x="0" y="0"/>
                  <a:pt x="0" y="0"/>
                  <a:pt x="0" y="0"/>
                </a:cubicBezTo>
                <a:lnTo>
                  <a:pt x="38400" y="0"/>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67753"/>
            <a:ext cx="9072000" cy="2031231"/>
          </a:xfrm>
        </p:spPr>
        <p:txBody>
          <a:bodyPr anchor="b"/>
          <a:lstStyle>
            <a:lvl1pPr algn="l">
              <a:lnSpc>
                <a:spcPct val="92000"/>
              </a:lnSpc>
              <a:defRPr sz="5500" baseline="0">
                <a:solidFill>
                  <a:schemeClr val="accent1"/>
                </a:solidFill>
              </a:defRPr>
            </a:lvl1pPr>
          </a:lstStyle>
          <a:p>
            <a:r>
              <a:rPr lang="nl-NL" dirty="0"/>
              <a:t>[Titel]</a:t>
            </a:r>
          </a:p>
        </p:txBody>
      </p:sp>
      <p:sp>
        <p:nvSpPr>
          <p:cNvPr id="3" name="Ondertitel 2"/>
          <p:cNvSpPr>
            <a:spLocks noGrp="1" noSelect="1"/>
          </p:cNvSpPr>
          <p:nvPr>
            <p:ph type="subTitle" idx="1" hasCustomPrompt="1"/>
          </p:nvPr>
        </p:nvSpPr>
        <p:spPr>
          <a:xfrm>
            <a:off x="1321200" y="3733939"/>
            <a:ext cx="9072000" cy="1404000"/>
          </a:xfrm>
        </p:spPr>
        <p:txBody>
          <a:bodyPr/>
          <a:lstStyle>
            <a:lvl1pPr marL="0" indent="0" algn="l">
              <a:buNone/>
              <a:defRPr sz="3500">
                <a:solidFill>
                  <a:srgbClr val="3F7C9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Tree>
    <p:extLst>
      <p:ext uri="{BB962C8B-B14F-4D97-AF65-F5344CB8AC3E}">
        <p14:creationId xmlns:p14="http://schemas.microsoft.com/office/powerpoint/2010/main" val="35894122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ussenpagina groen">
    <p:bg>
      <p:bgPr>
        <a:solidFill>
          <a:srgbClr val="0E864A"/>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0" y="0"/>
            <a:ext cx="12192000" cy="6688138"/>
          </a:xfrm>
          <a:custGeom>
            <a:avLst/>
            <a:gdLst>
              <a:gd name="T0" fmla="*/ 38400 w 38400"/>
              <a:gd name="T1" fmla="*/ 0 h 21066"/>
              <a:gd name="T2" fmla="*/ 38400 w 38400"/>
              <a:gd name="T3" fmla="*/ 16816 h 21066"/>
              <a:gd name="T4" fmla="*/ 38056 w 38400"/>
              <a:gd name="T5" fmla="*/ 16869 h 21066"/>
              <a:gd name="T6" fmla="*/ 12739 w 38400"/>
              <a:gd name="T7" fmla="*/ 20376 h 21066"/>
              <a:gd name="T8" fmla="*/ 0 w 38400"/>
              <a:gd name="T9" fmla="*/ 16507 h 21066"/>
              <a:gd name="T10" fmla="*/ 0 w 38400"/>
              <a:gd name="T11" fmla="*/ 0 h 21066"/>
              <a:gd name="T12" fmla="*/ 38400 w 38400"/>
              <a:gd name="T13" fmla="*/ 0 h 21066"/>
            </a:gdLst>
            <a:ahLst/>
            <a:cxnLst>
              <a:cxn ang="0">
                <a:pos x="T0" y="T1"/>
              </a:cxn>
              <a:cxn ang="0">
                <a:pos x="T2" y="T3"/>
              </a:cxn>
              <a:cxn ang="0">
                <a:pos x="T4" y="T5"/>
              </a:cxn>
              <a:cxn ang="0">
                <a:pos x="T6" y="T7"/>
              </a:cxn>
              <a:cxn ang="0">
                <a:pos x="T8" y="T9"/>
              </a:cxn>
              <a:cxn ang="0">
                <a:pos x="T10" y="T11"/>
              </a:cxn>
              <a:cxn ang="0">
                <a:pos x="T12" y="T13"/>
              </a:cxn>
            </a:cxnLst>
            <a:rect l="0" t="0" r="r" b="b"/>
            <a:pathLst>
              <a:path w="38400" h="21066">
                <a:moveTo>
                  <a:pt x="38400" y="0"/>
                </a:moveTo>
                <a:cubicBezTo>
                  <a:pt x="38400" y="16816"/>
                  <a:pt x="38400" y="16816"/>
                  <a:pt x="38400" y="16816"/>
                </a:cubicBezTo>
                <a:cubicBezTo>
                  <a:pt x="38286" y="16836"/>
                  <a:pt x="38171" y="16853"/>
                  <a:pt x="38056" y="16869"/>
                </a:cubicBezTo>
                <a:cubicBezTo>
                  <a:pt x="12739" y="20376"/>
                  <a:pt x="12739" y="20376"/>
                  <a:pt x="12739" y="20376"/>
                </a:cubicBezTo>
                <a:cubicBezTo>
                  <a:pt x="7756" y="21066"/>
                  <a:pt x="3260" y="19438"/>
                  <a:pt x="0" y="16507"/>
                </a:cubicBezTo>
                <a:cubicBezTo>
                  <a:pt x="0" y="0"/>
                  <a:pt x="0" y="0"/>
                  <a:pt x="0" y="0"/>
                </a:cubicBezTo>
                <a:lnTo>
                  <a:pt x="38400" y="0"/>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67753"/>
            <a:ext cx="9072000" cy="2031231"/>
          </a:xfrm>
        </p:spPr>
        <p:txBody>
          <a:bodyPr anchor="b"/>
          <a:lstStyle>
            <a:lvl1pPr algn="l">
              <a:lnSpc>
                <a:spcPct val="92000"/>
              </a:lnSpc>
              <a:defRPr sz="5500" baseline="0">
                <a:solidFill>
                  <a:srgbClr val="004A26"/>
                </a:solidFill>
              </a:defRPr>
            </a:lvl1pPr>
          </a:lstStyle>
          <a:p>
            <a:r>
              <a:rPr lang="nl-NL" dirty="0"/>
              <a:t>[Titel]</a:t>
            </a:r>
          </a:p>
        </p:txBody>
      </p:sp>
      <p:sp>
        <p:nvSpPr>
          <p:cNvPr id="3" name="Ondertitel 2"/>
          <p:cNvSpPr>
            <a:spLocks noGrp="1" noSelect="1"/>
          </p:cNvSpPr>
          <p:nvPr>
            <p:ph type="subTitle" idx="1" hasCustomPrompt="1"/>
          </p:nvPr>
        </p:nvSpPr>
        <p:spPr>
          <a:xfrm>
            <a:off x="1321200" y="3733939"/>
            <a:ext cx="9072000" cy="1404000"/>
          </a:xfrm>
        </p:spPr>
        <p:txBody>
          <a:bodyPr/>
          <a:lstStyle>
            <a:lvl1pPr marL="0" indent="0" algn="l">
              <a:buNone/>
              <a:defRPr sz="3500">
                <a:solidFill>
                  <a:srgbClr val="0E864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Tree>
    <p:extLst>
      <p:ext uri="{BB962C8B-B14F-4D97-AF65-F5344CB8AC3E}">
        <p14:creationId xmlns:p14="http://schemas.microsoft.com/office/powerpoint/2010/main" val="282288070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ussenpagina paars">
    <p:bg>
      <p:bgPr>
        <a:solidFill>
          <a:srgbClr val="852F81"/>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0" y="0"/>
            <a:ext cx="12192000" cy="6688138"/>
          </a:xfrm>
          <a:custGeom>
            <a:avLst/>
            <a:gdLst>
              <a:gd name="T0" fmla="*/ 38400 w 38400"/>
              <a:gd name="T1" fmla="*/ 0 h 21066"/>
              <a:gd name="T2" fmla="*/ 38400 w 38400"/>
              <a:gd name="T3" fmla="*/ 16816 h 21066"/>
              <a:gd name="T4" fmla="*/ 38056 w 38400"/>
              <a:gd name="T5" fmla="*/ 16869 h 21066"/>
              <a:gd name="T6" fmla="*/ 12739 w 38400"/>
              <a:gd name="T7" fmla="*/ 20376 h 21066"/>
              <a:gd name="T8" fmla="*/ 0 w 38400"/>
              <a:gd name="T9" fmla="*/ 16507 h 21066"/>
              <a:gd name="T10" fmla="*/ 0 w 38400"/>
              <a:gd name="T11" fmla="*/ 0 h 21066"/>
              <a:gd name="T12" fmla="*/ 38400 w 38400"/>
              <a:gd name="T13" fmla="*/ 0 h 21066"/>
            </a:gdLst>
            <a:ahLst/>
            <a:cxnLst>
              <a:cxn ang="0">
                <a:pos x="T0" y="T1"/>
              </a:cxn>
              <a:cxn ang="0">
                <a:pos x="T2" y="T3"/>
              </a:cxn>
              <a:cxn ang="0">
                <a:pos x="T4" y="T5"/>
              </a:cxn>
              <a:cxn ang="0">
                <a:pos x="T6" y="T7"/>
              </a:cxn>
              <a:cxn ang="0">
                <a:pos x="T8" y="T9"/>
              </a:cxn>
              <a:cxn ang="0">
                <a:pos x="T10" y="T11"/>
              </a:cxn>
              <a:cxn ang="0">
                <a:pos x="T12" y="T13"/>
              </a:cxn>
            </a:cxnLst>
            <a:rect l="0" t="0" r="r" b="b"/>
            <a:pathLst>
              <a:path w="38400" h="21066">
                <a:moveTo>
                  <a:pt x="38400" y="0"/>
                </a:moveTo>
                <a:cubicBezTo>
                  <a:pt x="38400" y="16816"/>
                  <a:pt x="38400" y="16816"/>
                  <a:pt x="38400" y="16816"/>
                </a:cubicBezTo>
                <a:cubicBezTo>
                  <a:pt x="38286" y="16836"/>
                  <a:pt x="38171" y="16853"/>
                  <a:pt x="38056" y="16869"/>
                </a:cubicBezTo>
                <a:cubicBezTo>
                  <a:pt x="12739" y="20376"/>
                  <a:pt x="12739" y="20376"/>
                  <a:pt x="12739" y="20376"/>
                </a:cubicBezTo>
                <a:cubicBezTo>
                  <a:pt x="7756" y="21066"/>
                  <a:pt x="3260" y="19438"/>
                  <a:pt x="0" y="16507"/>
                </a:cubicBezTo>
                <a:cubicBezTo>
                  <a:pt x="0" y="0"/>
                  <a:pt x="0" y="0"/>
                  <a:pt x="0" y="0"/>
                </a:cubicBezTo>
                <a:lnTo>
                  <a:pt x="38400" y="0"/>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67753"/>
            <a:ext cx="9072000" cy="2031231"/>
          </a:xfrm>
        </p:spPr>
        <p:txBody>
          <a:bodyPr anchor="b"/>
          <a:lstStyle>
            <a:lvl1pPr algn="l">
              <a:lnSpc>
                <a:spcPct val="92000"/>
              </a:lnSpc>
              <a:defRPr sz="5500" baseline="0">
                <a:solidFill>
                  <a:srgbClr val="591F58"/>
                </a:solidFill>
              </a:defRPr>
            </a:lvl1pPr>
          </a:lstStyle>
          <a:p>
            <a:r>
              <a:rPr lang="nl-NL" dirty="0"/>
              <a:t>[Titel]</a:t>
            </a:r>
          </a:p>
        </p:txBody>
      </p:sp>
      <p:sp>
        <p:nvSpPr>
          <p:cNvPr id="3" name="Ondertitel 2"/>
          <p:cNvSpPr>
            <a:spLocks noGrp="1" noSelect="1"/>
          </p:cNvSpPr>
          <p:nvPr>
            <p:ph type="subTitle" idx="1" hasCustomPrompt="1"/>
          </p:nvPr>
        </p:nvSpPr>
        <p:spPr>
          <a:xfrm>
            <a:off x="1321200" y="3733939"/>
            <a:ext cx="9072000" cy="1404000"/>
          </a:xfrm>
        </p:spPr>
        <p:txBody>
          <a:bodyPr/>
          <a:lstStyle>
            <a:lvl1pPr marL="0" indent="0" algn="l">
              <a:buNone/>
              <a:defRPr sz="3500">
                <a:solidFill>
                  <a:srgbClr val="852F8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Tree>
    <p:extLst>
      <p:ext uri="{BB962C8B-B14F-4D97-AF65-F5344CB8AC3E}">
        <p14:creationId xmlns:p14="http://schemas.microsoft.com/office/powerpoint/2010/main" val="418721848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ussenpagina roze">
    <p:bg>
      <p:bgPr>
        <a:solidFill>
          <a:srgbClr val="B15688"/>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0" y="0"/>
            <a:ext cx="12192000" cy="6688138"/>
          </a:xfrm>
          <a:custGeom>
            <a:avLst/>
            <a:gdLst>
              <a:gd name="T0" fmla="*/ 38400 w 38400"/>
              <a:gd name="T1" fmla="*/ 0 h 21066"/>
              <a:gd name="T2" fmla="*/ 38400 w 38400"/>
              <a:gd name="T3" fmla="*/ 16816 h 21066"/>
              <a:gd name="T4" fmla="*/ 38056 w 38400"/>
              <a:gd name="T5" fmla="*/ 16869 h 21066"/>
              <a:gd name="T6" fmla="*/ 12739 w 38400"/>
              <a:gd name="T7" fmla="*/ 20376 h 21066"/>
              <a:gd name="T8" fmla="*/ 0 w 38400"/>
              <a:gd name="T9" fmla="*/ 16507 h 21066"/>
              <a:gd name="T10" fmla="*/ 0 w 38400"/>
              <a:gd name="T11" fmla="*/ 0 h 21066"/>
              <a:gd name="T12" fmla="*/ 38400 w 38400"/>
              <a:gd name="T13" fmla="*/ 0 h 21066"/>
            </a:gdLst>
            <a:ahLst/>
            <a:cxnLst>
              <a:cxn ang="0">
                <a:pos x="T0" y="T1"/>
              </a:cxn>
              <a:cxn ang="0">
                <a:pos x="T2" y="T3"/>
              </a:cxn>
              <a:cxn ang="0">
                <a:pos x="T4" y="T5"/>
              </a:cxn>
              <a:cxn ang="0">
                <a:pos x="T6" y="T7"/>
              </a:cxn>
              <a:cxn ang="0">
                <a:pos x="T8" y="T9"/>
              </a:cxn>
              <a:cxn ang="0">
                <a:pos x="T10" y="T11"/>
              </a:cxn>
              <a:cxn ang="0">
                <a:pos x="T12" y="T13"/>
              </a:cxn>
            </a:cxnLst>
            <a:rect l="0" t="0" r="r" b="b"/>
            <a:pathLst>
              <a:path w="38400" h="21066">
                <a:moveTo>
                  <a:pt x="38400" y="0"/>
                </a:moveTo>
                <a:cubicBezTo>
                  <a:pt x="38400" y="16816"/>
                  <a:pt x="38400" y="16816"/>
                  <a:pt x="38400" y="16816"/>
                </a:cubicBezTo>
                <a:cubicBezTo>
                  <a:pt x="38286" y="16836"/>
                  <a:pt x="38171" y="16853"/>
                  <a:pt x="38056" y="16869"/>
                </a:cubicBezTo>
                <a:cubicBezTo>
                  <a:pt x="12739" y="20376"/>
                  <a:pt x="12739" y="20376"/>
                  <a:pt x="12739" y="20376"/>
                </a:cubicBezTo>
                <a:cubicBezTo>
                  <a:pt x="7756" y="21066"/>
                  <a:pt x="3260" y="19438"/>
                  <a:pt x="0" y="16507"/>
                </a:cubicBezTo>
                <a:cubicBezTo>
                  <a:pt x="0" y="0"/>
                  <a:pt x="0" y="0"/>
                  <a:pt x="0" y="0"/>
                </a:cubicBezTo>
                <a:lnTo>
                  <a:pt x="38400" y="0"/>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ctrTitle" hasCustomPrompt="1"/>
          </p:nvPr>
        </p:nvSpPr>
        <p:spPr>
          <a:xfrm>
            <a:off x="1321200" y="1567753"/>
            <a:ext cx="9072000" cy="2031231"/>
          </a:xfrm>
        </p:spPr>
        <p:txBody>
          <a:bodyPr anchor="b"/>
          <a:lstStyle>
            <a:lvl1pPr algn="l">
              <a:lnSpc>
                <a:spcPct val="92000"/>
              </a:lnSpc>
              <a:defRPr sz="5500" baseline="0">
                <a:solidFill>
                  <a:srgbClr val="9E145C"/>
                </a:solidFill>
              </a:defRPr>
            </a:lvl1pPr>
          </a:lstStyle>
          <a:p>
            <a:r>
              <a:rPr lang="nl-NL" dirty="0"/>
              <a:t>[Titel]</a:t>
            </a:r>
          </a:p>
        </p:txBody>
      </p:sp>
      <p:sp>
        <p:nvSpPr>
          <p:cNvPr id="3" name="Ondertitel 2"/>
          <p:cNvSpPr>
            <a:spLocks noGrp="1" noSelect="1"/>
          </p:cNvSpPr>
          <p:nvPr>
            <p:ph type="subTitle" idx="1" hasCustomPrompt="1"/>
          </p:nvPr>
        </p:nvSpPr>
        <p:spPr>
          <a:xfrm>
            <a:off x="1321200" y="3733939"/>
            <a:ext cx="9072000" cy="1404000"/>
          </a:xfrm>
        </p:spPr>
        <p:txBody>
          <a:bodyPr/>
          <a:lstStyle>
            <a:lvl1pPr marL="0" indent="0" algn="l">
              <a:buNone/>
              <a:defRPr sz="3500">
                <a:solidFill>
                  <a:srgbClr val="B15688"/>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Tree>
    <p:extLst>
      <p:ext uri="{BB962C8B-B14F-4D97-AF65-F5344CB8AC3E}">
        <p14:creationId xmlns:p14="http://schemas.microsoft.com/office/powerpoint/2010/main" val="349318668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el en tekst (L)">
    <p:spTree>
      <p:nvGrpSpPr>
        <p:cNvPr id="1" name=""/>
        <p:cNvGrpSpPr/>
        <p:nvPr/>
      </p:nvGrpSpPr>
      <p:grpSpPr>
        <a:xfrm>
          <a:off x="0" y="0"/>
          <a:ext cx="0" cy="0"/>
          <a:chOff x="0" y="0"/>
          <a:chExt cx="0" cy="0"/>
        </a:xfrm>
      </p:grpSpPr>
      <p:sp>
        <p:nvSpPr>
          <p:cNvPr id="7" name="Freeform 5"/>
          <p:cNvSpPr>
            <a:spLocks noSelect="1"/>
          </p:cNvSpPr>
          <p:nvPr userDrawn="1"/>
        </p:nvSpPr>
        <p:spPr bwMode="auto">
          <a:xfrm>
            <a:off x="7010400" y="4595813"/>
            <a:ext cx="5181600" cy="2262188"/>
          </a:xfrm>
          <a:custGeom>
            <a:avLst/>
            <a:gdLst>
              <a:gd name="T0" fmla="*/ 16321 w 16321"/>
              <a:gd name="T1" fmla="*/ 2480 h 7127"/>
              <a:gd name="T2" fmla="*/ 16321 w 16321"/>
              <a:gd name="T3" fmla="*/ 7127 h 7127"/>
              <a:gd name="T4" fmla="*/ 0 w 16321"/>
              <a:gd name="T5" fmla="*/ 7127 h 7127"/>
              <a:gd name="T6" fmla="*/ 2109 w 16321"/>
              <a:gd name="T7" fmla="*/ 3598 h 7127"/>
              <a:gd name="T8" fmla="*/ 5399 w 16321"/>
              <a:gd name="T9" fmla="*/ 1250 h 7127"/>
              <a:gd name="T10" fmla="*/ 10063 w 16321"/>
              <a:gd name="T11" fmla="*/ 266 h 7127"/>
              <a:gd name="T12" fmla="*/ 13738 w 16321"/>
              <a:gd name="T13" fmla="*/ 899 h 7127"/>
              <a:gd name="T14" fmla="*/ 16321 w 16321"/>
              <a:gd name="T15" fmla="*/ 2480 h 7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21" h="7127">
                <a:moveTo>
                  <a:pt x="16321" y="2480"/>
                </a:moveTo>
                <a:cubicBezTo>
                  <a:pt x="16321" y="7127"/>
                  <a:pt x="16321" y="7127"/>
                  <a:pt x="16321" y="7127"/>
                </a:cubicBezTo>
                <a:cubicBezTo>
                  <a:pt x="0" y="7127"/>
                  <a:pt x="0" y="7127"/>
                  <a:pt x="0" y="7127"/>
                </a:cubicBezTo>
                <a:cubicBezTo>
                  <a:pt x="2109" y="3598"/>
                  <a:pt x="2109" y="3598"/>
                  <a:pt x="2109" y="3598"/>
                </a:cubicBezTo>
                <a:cubicBezTo>
                  <a:pt x="2831" y="2391"/>
                  <a:pt x="4023" y="1540"/>
                  <a:pt x="5399" y="1250"/>
                </a:cubicBezTo>
                <a:cubicBezTo>
                  <a:pt x="10063" y="266"/>
                  <a:pt x="10063" y="266"/>
                  <a:pt x="10063" y="266"/>
                </a:cubicBezTo>
                <a:cubicBezTo>
                  <a:pt x="11324" y="0"/>
                  <a:pt x="12639" y="227"/>
                  <a:pt x="13738" y="899"/>
                </a:cubicBezTo>
                <a:lnTo>
                  <a:pt x="16321" y="2480"/>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564614"/>
            <a:ext cx="5677477"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5678488" cy="4068000"/>
          </a:xfrm>
        </p:spPr>
        <p:txBody>
          <a:bodyPr/>
          <a:lstStyle>
            <a:lvl1pPr>
              <a:defRPr/>
            </a:lvl1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42596557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el en tekst (L) groen">
    <p:spTree>
      <p:nvGrpSpPr>
        <p:cNvPr id="1" name=""/>
        <p:cNvGrpSpPr/>
        <p:nvPr/>
      </p:nvGrpSpPr>
      <p:grpSpPr>
        <a:xfrm>
          <a:off x="0" y="0"/>
          <a:ext cx="0" cy="0"/>
          <a:chOff x="0" y="0"/>
          <a:chExt cx="0" cy="0"/>
        </a:xfrm>
      </p:grpSpPr>
      <p:sp>
        <p:nvSpPr>
          <p:cNvPr id="7" name="Freeform 5"/>
          <p:cNvSpPr>
            <a:spLocks noSelect="1"/>
          </p:cNvSpPr>
          <p:nvPr userDrawn="1"/>
        </p:nvSpPr>
        <p:spPr bwMode="auto">
          <a:xfrm>
            <a:off x="7010400" y="4595813"/>
            <a:ext cx="5181600" cy="2262188"/>
          </a:xfrm>
          <a:custGeom>
            <a:avLst/>
            <a:gdLst>
              <a:gd name="T0" fmla="*/ 16321 w 16321"/>
              <a:gd name="T1" fmla="*/ 2480 h 7127"/>
              <a:gd name="T2" fmla="*/ 16321 w 16321"/>
              <a:gd name="T3" fmla="*/ 7127 h 7127"/>
              <a:gd name="T4" fmla="*/ 0 w 16321"/>
              <a:gd name="T5" fmla="*/ 7127 h 7127"/>
              <a:gd name="T6" fmla="*/ 2109 w 16321"/>
              <a:gd name="T7" fmla="*/ 3598 h 7127"/>
              <a:gd name="T8" fmla="*/ 5399 w 16321"/>
              <a:gd name="T9" fmla="*/ 1250 h 7127"/>
              <a:gd name="T10" fmla="*/ 10063 w 16321"/>
              <a:gd name="T11" fmla="*/ 266 h 7127"/>
              <a:gd name="T12" fmla="*/ 13738 w 16321"/>
              <a:gd name="T13" fmla="*/ 899 h 7127"/>
              <a:gd name="T14" fmla="*/ 16321 w 16321"/>
              <a:gd name="T15" fmla="*/ 2480 h 7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21" h="7127">
                <a:moveTo>
                  <a:pt x="16321" y="2480"/>
                </a:moveTo>
                <a:cubicBezTo>
                  <a:pt x="16321" y="7127"/>
                  <a:pt x="16321" y="7127"/>
                  <a:pt x="16321" y="7127"/>
                </a:cubicBezTo>
                <a:cubicBezTo>
                  <a:pt x="0" y="7127"/>
                  <a:pt x="0" y="7127"/>
                  <a:pt x="0" y="7127"/>
                </a:cubicBezTo>
                <a:cubicBezTo>
                  <a:pt x="2109" y="3598"/>
                  <a:pt x="2109" y="3598"/>
                  <a:pt x="2109" y="3598"/>
                </a:cubicBezTo>
                <a:cubicBezTo>
                  <a:pt x="2831" y="2391"/>
                  <a:pt x="4023" y="1540"/>
                  <a:pt x="5399" y="1250"/>
                </a:cubicBezTo>
                <a:cubicBezTo>
                  <a:pt x="10063" y="266"/>
                  <a:pt x="10063" y="266"/>
                  <a:pt x="10063" y="266"/>
                </a:cubicBezTo>
                <a:cubicBezTo>
                  <a:pt x="11324" y="0"/>
                  <a:pt x="12639" y="227"/>
                  <a:pt x="13738" y="899"/>
                </a:cubicBezTo>
                <a:lnTo>
                  <a:pt x="16321" y="2480"/>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564614"/>
            <a:ext cx="5677477" cy="1080000"/>
          </a:xfrm>
        </p:spPr>
        <p:txBody>
          <a:bodyPr/>
          <a:lstStyle>
            <a:lvl1pPr>
              <a:defRPr>
                <a:solidFill>
                  <a:schemeClr val="accent4"/>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5678488"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72366165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el en tekst (L) paars">
    <p:spTree>
      <p:nvGrpSpPr>
        <p:cNvPr id="1" name=""/>
        <p:cNvGrpSpPr/>
        <p:nvPr/>
      </p:nvGrpSpPr>
      <p:grpSpPr>
        <a:xfrm>
          <a:off x="0" y="0"/>
          <a:ext cx="0" cy="0"/>
          <a:chOff x="0" y="0"/>
          <a:chExt cx="0" cy="0"/>
        </a:xfrm>
      </p:grpSpPr>
      <p:sp>
        <p:nvSpPr>
          <p:cNvPr id="7" name="Freeform 5"/>
          <p:cNvSpPr>
            <a:spLocks noSelect="1"/>
          </p:cNvSpPr>
          <p:nvPr userDrawn="1"/>
        </p:nvSpPr>
        <p:spPr bwMode="auto">
          <a:xfrm>
            <a:off x="7010400" y="4595813"/>
            <a:ext cx="5181600" cy="2262188"/>
          </a:xfrm>
          <a:custGeom>
            <a:avLst/>
            <a:gdLst>
              <a:gd name="T0" fmla="*/ 16321 w 16321"/>
              <a:gd name="T1" fmla="*/ 2480 h 7127"/>
              <a:gd name="T2" fmla="*/ 16321 w 16321"/>
              <a:gd name="T3" fmla="*/ 7127 h 7127"/>
              <a:gd name="T4" fmla="*/ 0 w 16321"/>
              <a:gd name="T5" fmla="*/ 7127 h 7127"/>
              <a:gd name="T6" fmla="*/ 2109 w 16321"/>
              <a:gd name="T7" fmla="*/ 3598 h 7127"/>
              <a:gd name="T8" fmla="*/ 5399 w 16321"/>
              <a:gd name="T9" fmla="*/ 1250 h 7127"/>
              <a:gd name="T10" fmla="*/ 10063 w 16321"/>
              <a:gd name="T11" fmla="*/ 266 h 7127"/>
              <a:gd name="T12" fmla="*/ 13738 w 16321"/>
              <a:gd name="T13" fmla="*/ 899 h 7127"/>
              <a:gd name="T14" fmla="*/ 16321 w 16321"/>
              <a:gd name="T15" fmla="*/ 2480 h 7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21" h="7127">
                <a:moveTo>
                  <a:pt x="16321" y="2480"/>
                </a:moveTo>
                <a:cubicBezTo>
                  <a:pt x="16321" y="7127"/>
                  <a:pt x="16321" y="7127"/>
                  <a:pt x="16321" y="7127"/>
                </a:cubicBezTo>
                <a:cubicBezTo>
                  <a:pt x="0" y="7127"/>
                  <a:pt x="0" y="7127"/>
                  <a:pt x="0" y="7127"/>
                </a:cubicBezTo>
                <a:cubicBezTo>
                  <a:pt x="2109" y="3598"/>
                  <a:pt x="2109" y="3598"/>
                  <a:pt x="2109" y="3598"/>
                </a:cubicBezTo>
                <a:cubicBezTo>
                  <a:pt x="2831" y="2391"/>
                  <a:pt x="4023" y="1540"/>
                  <a:pt x="5399" y="1250"/>
                </a:cubicBezTo>
                <a:cubicBezTo>
                  <a:pt x="10063" y="266"/>
                  <a:pt x="10063" y="266"/>
                  <a:pt x="10063" y="266"/>
                </a:cubicBezTo>
                <a:cubicBezTo>
                  <a:pt x="11324" y="0"/>
                  <a:pt x="12639" y="227"/>
                  <a:pt x="13738" y="899"/>
                </a:cubicBezTo>
                <a:lnTo>
                  <a:pt x="16321" y="2480"/>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564614"/>
            <a:ext cx="5677477" cy="1080000"/>
          </a:xfrm>
        </p:spPr>
        <p:txBody>
          <a:bodyPr/>
          <a:lstStyle>
            <a:lvl1pPr>
              <a:defRPr>
                <a:solidFill>
                  <a:schemeClr val="accent3"/>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5678488"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29176615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el en tekst (L) roze">
    <p:spTree>
      <p:nvGrpSpPr>
        <p:cNvPr id="1" name=""/>
        <p:cNvGrpSpPr/>
        <p:nvPr/>
      </p:nvGrpSpPr>
      <p:grpSpPr>
        <a:xfrm>
          <a:off x="0" y="0"/>
          <a:ext cx="0" cy="0"/>
          <a:chOff x="0" y="0"/>
          <a:chExt cx="0" cy="0"/>
        </a:xfrm>
      </p:grpSpPr>
      <p:sp>
        <p:nvSpPr>
          <p:cNvPr id="7" name="Freeform 5"/>
          <p:cNvSpPr>
            <a:spLocks noSelect="1"/>
          </p:cNvSpPr>
          <p:nvPr userDrawn="1"/>
        </p:nvSpPr>
        <p:spPr bwMode="auto">
          <a:xfrm>
            <a:off x="7010400" y="4595813"/>
            <a:ext cx="5181600" cy="2262188"/>
          </a:xfrm>
          <a:custGeom>
            <a:avLst/>
            <a:gdLst>
              <a:gd name="T0" fmla="*/ 16321 w 16321"/>
              <a:gd name="T1" fmla="*/ 2480 h 7127"/>
              <a:gd name="T2" fmla="*/ 16321 w 16321"/>
              <a:gd name="T3" fmla="*/ 7127 h 7127"/>
              <a:gd name="T4" fmla="*/ 0 w 16321"/>
              <a:gd name="T5" fmla="*/ 7127 h 7127"/>
              <a:gd name="T6" fmla="*/ 2109 w 16321"/>
              <a:gd name="T7" fmla="*/ 3598 h 7127"/>
              <a:gd name="T8" fmla="*/ 5399 w 16321"/>
              <a:gd name="T9" fmla="*/ 1250 h 7127"/>
              <a:gd name="T10" fmla="*/ 10063 w 16321"/>
              <a:gd name="T11" fmla="*/ 266 h 7127"/>
              <a:gd name="T12" fmla="*/ 13738 w 16321"/>
              <a:gd name="T13" fmla="*/ 899 h 7127"/>
              <a:gd name="T14" fmla="*/ 16321 w 16321"/>
              <a:gd name="T15" fmla="*/ 2480 h 7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21" h="7127">
                <a:moveTo>
                  <a:pt x="16321" y="2480"/>
                </a:moveTo>
                <a:cubicBezTo>
                  <a:pt x="16321" y="7127"/>
                  <a:pt x="16321" y="7127"/>
                  <a:pt x="16321" y="7127"/>
                </a:cubicBezTo>
                <a:cubicBezTo>
                  <a:pt x="0" y="7127"/>
                  <a:pt x="0" y="7127"/>
                  <a:pt x="0" y="7127"/>
                </a:cubicBezTo>
                <a:cubicBezTo>
                  <a:pt x="2109" y="3598"/>
                  <a:pt x="2109" y="3598"/>
                  <a:pt x="2109" y="3598"/>
                </a:cubicBezTo>
                <a:cubicBezTo>
                  <a:pt x="2831" y="2391"/>
                  <a:pt x="4023" y="1540"/>
                  <a:pt x="5399" y="1250"/>
                </a:cubicBezTo>
                <a:cubicBezTo>
                  <a:pt x="10063" y="266"/>
                  <a:pt x="10063" y="266"/>
                  <a:pt x="10063" y="266"/>
                </a:cubicBezTo>
                <a:cubicBezTo>
                  <a:pt x="11324" y="0"/>
                  <a:pt x="12639" y="227"/>
                  <a:pt x="13738" y="899"/>
                </a:cubicBezTo>
                <a:lnTo>
                  <a:pt x="16321" y="2480"/>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564614"/>
            <a:ext cx="5677477" cy="1080000"/>
          </a:xfrm>
        </p:spPr>
        <p:txBody>
          <a:bodyPr/>
          <a:lstStyle>
            <a:lvl1pPr>
              <a:defRPr>
                <a:solidFill>
                  <a:schemeClr val="accent2"/>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5678488"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7453337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el en tekst (2-koloms)">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a:xfrm>
            <a:off x="1321706" y="564614"/>
            <a:ext cx="9648000"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9648000" cy="4068000"/>
          </a:xfrm>
        </p:spPr>
        <p:txBody>
          <a:bodyPr numCol="2" spcCol="864000"/>
          <a:lstStyle>
            <a:lvl1pPr>
              <a:defRPr baseline="0"/>
            </a:lvl1pPr>
            <a:lvl4pPr>
              <a:defRPr/>
            </a:lvl4pPr>
          </a:lstStyle>
          <a:p>
            <a:pPr lvl="0"/>
            <a:r>
              <a:rPr lang="nl-NL" dirty="0"/>
              <a:t>[Tekst (2-koloms)]</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9594217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el oranje">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8FA3E55A-DA2E-4A75-A78C-987E91939C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titel 1"/>
          <p:cNvSpPr>
            <a:spLocks noGrp="1"/>
          </p:cNvSpPr>
          <p:nvPr>
            <p:ph type="title"/>
          </p:nvPr>
        </p:nvSpPr>
        <p:spPr>
          <a:xfrm>
            <a:off x="838200" y="681037"/>
            <a:ext cx="10515600" cy="1009651"/>
          </a:xfrm>
          <a:prstGeom prst="rect">
            <a:avLst/>
          </a:prstGeom>
        </p:spPr>
        <p:txBody>
          <a:bodyPr vert="horz" lIns="91440" tIns="45720" rIns="91440" bIns="45720" rtlCol="0" anchor="t">
            <a:normAutofit/>
          </a:bodyPr>
          <a:lstStyle>
            <a:lvl1pPr>
              <a:defRPr sz="3600"/>
            </a:lvl1pPr>
          </a:lstStyle>
          <a:p>
            <a:r>
              <a:rPr lang="nl-NL" dirty="0"/>
              <a:t>Klik om stijl te bewerken</a:t>
            </a:r>
          </a:p>
        </p:txBody>
      </p:sp>
      <p:sp>
        <p:nvSpPr>
          <p:cNvPr id="9" name="Tijdelijke aanduiding voor tekst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3">
            <a:extLst>
              <a:ext uri="{FF2B5EF4-FFF2-40B4-BE49-F238E27FC236}">
                <a16:creationId xmlns:a16="http://schemas.microsoft.com/office/drawing/2014/main" id="{A1B977D7-028F-4A19-9AF8-3996EE6DCC92}"/>
              </a:ext>
            </a:extLst>
          </p:cNvPr>
          <p:cNvSpPr>
            <a:spLocks noGrp="1"/>
          </p:cNvSpPr>
          <p:nvPr>
            <p:ph type="dt" sz="half" idx="10"/>
          </p:nvPr>
        </p:nvSpPr>
        <p:spPr/>
        <p:txBody>
          <a:bodyPr/>
          <a:lstStyle>
            <a:lvl1pPr>
              <a:defRPr/>
            </a:lvl1pPr>
          </a:lstStyle>
          <a:p>
            <a:pPr>
              <a:defRPr/>
            </a:pPr>
            <a:fld id="{12D2D3BB-2991-428E-BAF8-A8EB086A04E9}" type="datetimeFigureOut">
              <a:rPr lang="nl-NL"/>
              <a:pPr>
                <a:defRPr/>
              </a:pPr>
              <a:t>28-9-2022</a:t>
            </a:fld>
            <a:endParaRPr lang="nl-NL"/>
          </a:p>
        </p:txBody>
      </p:sp>
      <p:sp>
        <p:nvSpPr>
          <p:cNvPr id="6" name="Tijdelijke aanduiding voor voettekst 4">
            <a:extLst>
              <a:ext uri="{FF2B5EF4-FFF2-40B4-BE49-F238E27FC236}">
                <a16:creationId xmlns:a16="http://schemas.microsoft.com/office/drawing/2014/main" id="{5FE630F5-37DB-412C-8324-07A2E5596D7C}"/>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9B0DA6D5-B6F2-4F3D-8DEF-90466AB7F83C}"/>
              </a:ext>
            </a:extLst>
          </p:cNvPr>
          <p:cNvSpPr>
            <a:spLocks noGrp="1"/>
          </p:cNvSpPr>
          <p:nvPr>
            <p:ph type="sldNum" sz="quarter" idx="12"/>
          </p:nvPr>
        </p:nvSpPr>
        <p:spPr/>
        <p:txBody>
          <a:bodyPr/>
          <a:lstStyle>
            <a:lvl1pPr>
              <a:defRPr/>
            </a:lvl1pPr>
          </a:lstStyle>
          <a:p>
            <a:pPr>
              <a:defRPr/>
            </a:pPr>
            <a:fld id="{E0CCA46C-48EF-4DC0-B017-7A59854F4A52}" type="slidenum">
              <a:rPr lang="nl-NL"/>
              <a:pPr>
                <a:defRPr/>
              </a:pPr>
              <a:t>‹nr.›</a:t>
            </a:fld>
            <a:endParaRPr lang="nl-NL"/>
          </a:p>
        </p:txBody>
      </p:sp>
    </p:spTree>
    <p:extLst>
      <p:ext uri="{BB962C8B-B14F-4D97-AF65-F5344CB8AC3E}">
        <p14:creationId xmlns:p14="http://schemas.microsoft.com/office/powerpoint/2010/main" val="33026150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el en tabel (L)">
    <p:spTree>
      <p:nvGrpSpPr>
        <p:cNvPr id="1" name=""/>
        <p:cNvGrpSpPr/>
        <p:nvPr/>
      </p:nvGrpSpPr>
      <p:grpSpPr>
        <a:xfrm>
          <a:off x="0" y="0"/>
          <a:ext cx="0" cy="0"/>
          <a:chOff x="0" y="0"/>
          <a:chExt cx="0" cy="0"/>
        </a:xfrm>
      </p:grpSpPr>
      <p:sp>
        <p:nvSpPr>
          <p:cNvPr id="8" name="Freeform 5"/>
          <p:cNvSpPr>
            <a:spLocks noSelect="1"/>
          </p:cNvSpPr>
          <p:nvPr userDrawn="1"/>
        </p:nvSpPr>
        <p:spPr bwMode="auto">
          <a:xfrm>
            <a:off x="6632575" y="6053138"/>
            <a:ext cx="3525838" cy="804863"/>
          </a:xfrm>
          <a:custGeom>
            <a:avLst/>
            <a:gdLst>
              <a:gd name="T0" fmla="*/ 11106 w 11106"/>
              <a:gd name="T1" fmla="*/ 2536 h 2536"/>
              <a:gd name="T2" fmla="*/ 0 w 11106"/>
              <a:gd name="T3" fmla="*/ 2536 h 2536"/>
              <a:gd name="T4" fmla="*/ 1763 w 11106"/>
              <a:gd name="T5" fmla="*/ 1487 h 2536"/>
              <a:gd name="T6" fmla="*/ 4562 w 11106"/>
              <a:gd name="T7" fmla="*/ 522 h 2536"/>
              <a:gd name="T8" fmla="*/ 9063 w 11106"/>
              <a:gd name="T9" fmla="*/ 1133 h 2536"/>
              <a:gd name="T10" fmla="*/ 11106 w 11106"/>
              <a:gd name="T11" fmla="*/ 2536 h 2536"/>
            </a:gdLst>
            <a:ahLst/>
            <a:cxnLst>
              <a:cxn ang="0">
                <a:pos x="T0" y="T1"/>
              </a:cxn>
              <a:cxn ang="0">
                <a:pos x="T2" y="T3"/>
              </a:cxn>
              <a:cxn ang="0">
                <a:pos x="T4" y="T5"/>
              </a:cxn>
              <a:cxn ang="0">
                <a:pos x="T6" y="T7"/>
              </a:cxn>
              <a:cxn ang="0">
                <a:pos x="T8" y="T9"/>
              </a:cxn>
              <a:cxn ang="0">
                <a:pos x="T10" y="T11"/>
              </a:cxn>
            </a:cxnLst>
            <a:rect l="0" t="0" r="r" b="b"/>
            <a:pathLst>
              <a:path w="11106" h="2536">
                <a:moveTo>
                  <a:pt x="11106" y="2536"/>
                </a:moveTo>
                <a:cubicBezTo>
                  <a:pt x="0" y="2536"/>
                  <a:pt x="0" y="2536"/>
                  <a:pt x="0" y="2536"/>
                </a:cubicBezTo>
                <a:cubicBezTo>
                  <a:pt x="502" y="2077"/>
                  <a:pt x="1099" y="1716"/>
                  <a:pt x="1763" y="1487"/>
                </a:cubicBezTo>
                <a:cubicBezTo>
                  <a:pt x="4562" y="522"/>
                  <a:pt x="4562" y="522"/>
                  <a:pt x="4562" y="522"/>
                </a:cubicBezTo>
                <a:cubicBezTo>
                  <a:pt x="6074" y="0"/>
                  <a:pt x="7745" y="227"/>
                  <a:pt x="9063" y="1133"/>
                </a:cubicBezTo>
                <a:lnTo>
                  <a:pt x="11106" y="2536"/>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9648000" cy="1080000"/>
          </a:xfrm>
        </p:spPr>
        <p:txBody>
          <a:bodyPr/>
          <a:lstStyle/>
          <a:p>
            <a:r>
              <a:rPr lang="nl-NL" dirty="0"/>
              <a:t>[Titel]</a:t>
            </a:r>
          </a:p>
        </p:txBody>
      </p:sp>
      <p:sp>
        <p:nvSpPr>
          <p:cNvPr id="7" name="Tijdelijke aanduiding voor tabel 6"/>
          <p:cNvSpPr>
            <a:spLocks noGrp="1" noSelect="1"/>
          </p:cNvSpPr>
          <p:nvPr>
            <p:ph type="tbl" sz="quarter" idx="13" hasCustomPrompt="1"/>
          </p:nvPr>
        </p:nvSpPr>
        <p:spPr>
          <a:xfrm>
            <a:off x="1322388" y="1888338"/>
            <a:ext cx="4680000" cy="3996000"/>
          </a:xfrm>
        </p:spPr>
        <p:txBody>
          <a:bodyPr tIns="0"/>
          <a:lstStyle>
            <a:lvl1pPr marL="0" indent="0">
              <a:buNone/>
              <a:defRPr baseline="0"/>
            </a:lvl1pPr>
          </a:lstStyle>
          <a:p>
            <a:r>
              <a:rPr lang="nl-NL" dirty="0"/>
              <a:t>[Klik op het pictogram om een tabel in te voegen. Klik dan in de tabel en kies via Hulpmiddelen voor tabellen | Ontwerpen de Tabelstijl &lt;kleur&gt; </a:t>
            </a:r>
            <a:r>
              <a:rPr lang="nl-NL" dirty="0" err="1"/>
              <a:t>Nza</a:t>
            </a:r>
            <a:r>
              <a:rPr lang="nl-NL" dirty="0"/>
              <a:t>)]</a:t>
            </a:r>
          </a:p>
        </p:txBody>
      </p:sp>
      <p:sp>
        <p:nvSpPr>
          <p:cNvPr id="10" name="Tijdelijke aanduiding voor tekst 5"/>
          <p:cNvSpPr>
            <a:spLocks noGrp="1" noSelect="1"/>
          </p:cNvSpPr>
          <p:nvPr>
            <p:ph type="body" sz="quarter" idx="14" hasCustomPrompt="1"/>
          </p:nvPr>
        </p:nvSpPr>
        <p:spPr>
          <a:xfrm>
            <a:off x="6584467" y="1817688"/>
            <a:ext cx="4385239" cy="4068000"/>
          </a:xfrm>
        </p:spPr>
        <p:txBody>
          <a:bodyPr/>
          <a:lstStyle>
            <a:lvl1pPr>
              <a:defRPr/>
            </a:lvl1pPr>
            <a:lvl4pPr>
              <a:defRPr/>
            </a:lvl4pPr>
            <a:lvl5pPr marL="216000" indent="-216000">
              <a:buClr>
                <a:schemeClr val="accent1"/>
              </a:buClr>
              <a:buFont typeface="Arial" panose="020B0604020202020204" pitchFamily="34" charset="0"/>
              <a:buChar char="•"/>
              <a:defRPr lang="nl-NL" sz="1800" kern="1200" dirty="0" smtClean="0">
                <a:solidFill>
                  <a:schemeClr val="tx1"/>
                </a:solidFill>
                <a:latin typeface="+mn-lt"/>
                <a:ea typeface="+mn-ea"/>
                <a:cs typeface="+mn-cs"/>
              </a:defRPr>
            </a:lvl5pPr>
          </a:lstStyle>
          <a:p>
            <a:pPr lvl="4"/>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13075809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el en tabel (L) groen">
    <p:bg>
      <p:bgPr>
        <a:solidFill>
          <a:schemeClr val="bg1"/>
        </a:solidFill>
        <a:effectLst/>
      </p:bgPr>
    </p:bg>
    <p:spTree>
      <p:nvGrpSpPr>
        <p:cNvPr id="1" name=""/>
        <p:cNvGrpSpPr/>
        <p:nvPr/>
      </p:nvGrpSpPr>
      <p:grpSpPr>
        <a:xfrm>
          <a:off x="0" y="0"/>
          <a:ext cx="0" cy="0"/>
          <a:chOff x="0" y="0"/>
          <a:chExt cx="0" cy="0"/>
        </a:xfrm>
      </p:grpSpPr>
      <p:sp>
        <p:nvSpPr>
          <p:cNvPr id="8" name="Freeform 5"/>
          <p:cNvSpPr>
            <a:spLocks noSelect="1"/>
          </p:cNvSpPr>
          <p:nvPr userDrawn="1"/>
        </p:nvSpPr>
        <p:spPr bwMode="auto">
          <a:xfrm>
            <a:off x="6632575" y="6053138"/>
            <a:ext cx="3525838" cy="804863"/>
          </a:xfrm>
          <a:custGeom>
            <a:avLst/>
            <a:gdLst>
              <a:gd name="T0" fmla="*/ 11106 w 11106"/>
              <a:gd name="T1" fmla="*/ 2536 h 2536"/>
              <a:gd name="T2" fmla="*/ 0 w 11106"/>
              <a:gd name="T3" fmla="*/ 2536 h 2536"/>
              <a:gd name="T4" fmla="*/ 1763 w 11106"/>
              <a:gd name="T5" fmla="*/ 1487 h 2536"/>
              <a:gd name="T6" fmla="*/ 4562 w 11106"/>
              <a:gd name="T7" fmla="*/ 522 h 2536"/>
              <a:gd name="T8" fmla="*/ 9063 w 11106"/>
              <a:gd name="T9" fmla="*/ 1133 h 2536"/>
              <a:gd name="T10" fmla="*/ 11106 w 11106"/>
              <a:gd name="T11" fmla="*/ 2536 h 2536"/>
            </a:gdLst>
            <a:ahLst/>
            <a:cxnLst>
              <a:cxn ang="0">
                <a:pos x="T0" y="T1"/>
              </a:cxn>
              <a:cxn ang="0">
                <a:pos x="T2" y="T3"/>
              </a:cxn>
              <a:cxn ang="0">
                <a:pos x="T4" y="T5"/>
              </a:cxn>
              <a:cxn ang="0">
                <a:pos x="T6" y="T7"/>
              </a:cxn>
              <a:cxn ang="0">
                <a:pos x="T8" y="T9"/>
              </a:cxn>
              <a:cxn ang="0">
                <a:pos x="T10" y="T11"/>
              </a:cxn>
            </a:cxnLst>
            <a:rect l="0" t="0" r="r" b="b"/>
            <a:pathLst>
              <a:path w="11106" h="2536">
                <a:moveTo>
                  <a:pt x="11106" y="2536"/>
                </a:moveTo>
                <a:cubicBezTo>
                  <a:pt x="0" y="2536"/>
                  <a:pt x="0" y="2536"/>
                  <a:pt x="0" y="2536"/>
                </a:cubicBezTo>
                <a:cubicBezTo>
                  <a:pt x="502" y="2077"/>
                  <a:pt x="1099" y="1716"/>
                  <a:pt x="1763" y="1487"/>
                </a:cubicBezTo>
                <a:cubicBezTo>
                  <a:pt x="4562" y="522"/>
                  <a:pt x="4562" y="522"/>
                  <a:pt x="4562" y="522"/>
                </a:cubicBezTo>
                <a:cubicBezTo>
                  <a:pt x="6074" y="0"/>
                  <a:pt x="7745" y="227"/>
                  <a:pt x="9063" y="1133"/>
                </a:cubicBezTo>
                <a:lnTo>
                  <a:pt x="11106" y="2536"/>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dirty="0">
              <a:solidFill>
                <a:srgbClr val="00B050"/>
              </a:solidFill>
            </a:endParaRPr>
          </a:p>
        </p:txBody>
      </p:sp>
      <p:sp>
        <p:nvSpPr>
          <p:cNvPr id="2" name="Titel 1"/>
          <p:cNvSpPr>
            <a:spLocks noGrp="1" noSelect="1"/>
          </p:cNvSpPr>
          <p:nvPr>
            <p:ph type="title" hasCustomPrompt="1"/>
          </p:nvPr>
        </p:nvSpPr>
        <p:spPr>
          <a:xfrm>
            <a:off x="1321706" y="564614"/>
            <a:ext cx="9648000" cy="1080000"/>
          </a:xfrm>
        </p:spPr>
        <p:txBody>
          <a:bodyPr/>
          <a:lstStyle>
            <a:lvl1pPr>
              <a:defRPr>
                <a:solidFill>
                  <a:schemeClr val="accent4"/>
                </a:solidFill>
              </a:defRPr>
            </a:lvl1pPr>
          </a:lstStyle>
          <a:p>
            <a:r>
              <a:rPr lang="nl-NL" dirty="0"/>
              <a:t>[Titel]</a:t>
            </a:r>
          </a:p>
        </p:txBody>
      </p:sp>
      <p:sp>
        <p:nvSpPr>
          <p:cNvPr id="7" name="Tijdelijke aanduiding voor tabel 6"/>
          <p:cNvSpPr>
            <a:spLocks noGrp="1" noSelect="1"/>
          </p:cNvSpPr>
          <p:nvPr>
            <p:ph type="tbl" sz="quarter" idx="13" hasCustomPrompt="1"/>
          </p:nvPr>
        </p:nvSpPr>
        <p:spPr>
          <a:xfrm>
            <a:off x="1322388" y="1888338"/>
            <a:ext cx="4680000" cy="3996000"/>
          </a:xfrm>
        </p:spPr>
        <p:txBody>
          <a:bodyPr tIns="0"/>
          <a:lstStyle>
            <a:lvl1pPr marL="0" indent="0">
              <a:buNone/>
              <a:defRPr baseline="0"/>
            </a:lvl1pPr>
          </a:lstStyle>
          <a:p>
            <a:r>
              <a:rPr lang="nl-NL" dirty="0"/>
              <a:t>[Klik op het pictogram om een tabel in te voegen. Klik dan in de tabel en kies via Hulpmiddelen voor tabellen | Ontwerpen de Tabelstijl &lt;kleur&gt; </a:t>
            </a:r>
            <a:r>
              <a:rPr lang="nl-NL" dirty="0" err="1"/>
              <a:t>Nza</a:t>
            </a:r>
            <a:r>
              <a:rPr lang="nl-NL" dirty="0"/>
              <a:t>)]</a:t>
            </a:r>
          </a:p>
        </p:txBody>
      </p:sp>
      <p:sp>
        <p:nvSpPr>
          <p:cNvPr id="10" name="Tijdelijke aanduiding voor tekst 5"/>
          <p:cNvSpPr>
            <a:spLocks noGrp="1" noSelect="1"/>
          </p:cNvSpPr>
          <p:nvPr>
            <p:ph type="body" sz="quarter" idx="14" hasCustomPrompt="1"/>
          </p:nvPr>
        </p:nvSpPr>
        <p:spPr>
          <a:xfrm>
            <a:off x="6584467" y="1817688"/>
            <a:ext cx="4385239" cy="4068000"/>
          </a:xfrm>
        </p:spPr>
        <p:txBody>
          <a:bodyPr/>
          <a:lstStyle>
            <a:lvl1pPr>
              <a:buClr>
                <a:schemeClr val="accent4"/>
              </a:buClr>
              <a:defRPr/>
            </a:lvl1pPr>
            <a:lvl2pPr>
              <a:buClr>
                <a:schemeClr val="accent4"/>
              </a:buClr>
              <a:defRPr/>
            </a:lvl2pPr>
            <a:lvl3pPr>
              <a:buClr>
                <a:schemeClr val="accent4"/>
              </a:buClr>
              <a:defRPr/>
            </a:lvl3pPr>
            <a:lvl4pPr>
              <a:defRPr/>
            </a:lvl4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24018870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el en tabel (L) paars">
    <p:spTree>
      <p:nvGrpSpPr>
        <p:cNvPr id="1" name=""/>
        <p:cNvGrpSpPr/>
        <p:nvPr/>
      </p:nvGrpSpPr>
      <p:grpSpPr>
        <a:xfrm>
          <a:off x="0" y="0"/>
          <a:ext cx="0" cy="0"/>
          <a:chOff x="0" y="0"/>
          <a:chExt cx="0" cy="0"/>
        </a:xfrm>
      </p:grpSpPr>
      <p:sp>
        <p:nvSpPr>
          <p:cNvPr id="8" name="Freeform 5"/>
          <p:cNvSpPr>
            <a:spLocks noSelect="1"/>
          </p:cNvSpPr>
          <p:nvPr userDrawn="1"/>
        </p:nvSpPr>
        <p:spPr bwMode="auto">
          <a:xfrm>
            <a:off x="6632575" y="6053138"/>
            <a:ext cx="3525838" cy="804863"/>
          </a:xfrm>
          <a:custGeom>
            <a:avLst/>
            <a:gdLst>
              <a:gd name="T0" fmla="*/ 11106 w 11106"/>
              <a:gd name="T1" fmla="*/ 2536 h 2536"/>
              <a:gd name="T2" fmla="*/ 0 w 11106"/>
              <a:gd name="T3" fmla="*/ 2536 h 2536"/>
              <a:gd name="T4" fmla="*/ 1763 w 11106"/>
              <a:gd name="T5" fmla="*/ 1487 h 2536"/>
              <a:gd name="T6" fmla="*/ 4562 w 11106"/>
              <a:gd name="T7" fmla="*/ 522 h 2536"/>
              <a:gd name="T8" fmla="*/ 9063 w 11106"/>
              <a:gd name="T9" fmla="*/ 1133 h 2536"/>
              <a:gd name="T10" fmla="*/ 11106 w 11106"/>
              <a:gd name="T11" fmla="*/ 2536 h 2536"/>
            </a:gdLst>
            <a:ahLst/>
            <a:cxnLst>
              <a:cxn ang="0">
                <a:pos x="T0" y="T1"/>
              </a:cxn>
              <a:cxn ang="0">
                <a:pos x="T2" y="T3"/>
              </a:cxn>
              <a:cxn ang="0">
                <a:pos x="T4" y="T5"/>
              </a:cxn>
              <a:cxn ang="0">
                <a:pos x="T6" y="T7"/>
              </a:cxn>
              <a:cxn ang="0">
                <a:pos x="T8" y="T9"/>
              </a:cxn>
              <a:cxn ang="0">
                <a:pos x="T10" y="T11"/>
              </a:cxn>
            </a:cxnLst>
            <a:rect l="0" t="0" r="r" b="b"/>
            <a:pathLst>
              <a:path w="11106" h="2536">
                <a:moveTo>
                  <a:pt x="11106" y="2536"/>
                </a:moveTo>
                <a:cubicBezTo>
                  <a:pt x="0" y="2536"/>
                  <a:pt x="0" y="2536"/>
                  <a:pt x="0" y="2536"/>
                </a:cubicBezTo>
                <a:cubicBezTo>
                  <a:pt x="502" y="2077"/>
                  <a:pt x="1099" y="1716"/>
                  <a:pt x="1763" y="1487"/>
                </a:cubicBezTo>
                <a:cubicBezTo>
                  <a:pt x="4562" y="522"/>
                  <a:pt x="4562" y="522"/>
                  <a:pt x="4562" y="522"/>
                </a:cubicBezTo>
                <a:cubicBezTo>
                  <a:pt x="6074" y="0"/>
                  <a:pt x="7745" y="227"/>
                  <a:pt x="9063" y="1133"/>
                </a:cubicBezTo>
                <a:lnTo>
                  <a:pt x="11106" y="2536"/>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9648000" cy="1080000"/>
          </a:xfrm>
        </p:spPr>
        <p:txBody>
          <a:bodyPr/>
          <a:lstStyle>
            <a:lvl1pPr>
              <a:defRPr>
                <a:solidFill>
                  <a:schemeClr val="accent3"/>
                </a:solidFill>
              </a:defRPr>
            </a:lvl1pPr>
          </a:lstStyle>
          <a:p>
            <a:r>
              <a:rPr lang="nl-NL" dirty="0"/>
              <a:t>[Titel]</a:t>
            </a:r>
          </a:p>
        </p:txBody>
      </p:sp>
      <p:sp>
        <p:nvSpPr>
          <p:cNvPr id="7" name="Tijdelijke aanduiding voor tabel 6"/>
          <p:cNvSpPr>
            <a:spLocks noGrp="1" noSelect="1"/>
          </p:cNvSpPr>
          <p:nvPr>
            <p:ph type="tbl" sz="quarter" idx="13" hasCustomPrompt="1"/>
          </p:nvPr>
        </p:nvSpPr>
        <p:spPr>
          <a:xfrm>
            <a:off x="1322388" y="1888338"/>
            <a:ext cx="4680000" cy="3996000"/>
          </a:xfrm>
        </p:spPr>
        <p:txBody>
          <a:bodyPr tIns="0"/>
          <a:lstStyle>
            <a:lvl1pPr marL="0" indent="0">
              <a:buNone/>
              <a:defRPr baseline="0"/>
            </a:lvl1pPr>
          </a:lstStyle>
          <a:p>
            <a:r>
              <a:rPr lang="nl-NL" dirty="0"/>
              <a:t>[Klik op het pictogram om een tabel in te voegen. Klik dan in de tabel en kies via Hulpmiddelen voor tabellen | Ontwerpen de Tabelstijl &lt;kleur&gt; </a:t>
            </a:r>
            <a:r>
              <a:rPr lang="nl-NL" dirty="0" err="1"/>
              <a:t>Nza</a:t>
            </a:r>
            <a:r>
              <a:rPr lang="nl-NL" dirty="0"/>
              <a:t>)]</a:t>
            </a:r>
          </a:p>
        </p:txBody>
      </p:sp>
      <p:sp>
        <p:nvSpPr>
          <p:cNvPr id="10" name="Tijdelijke aanduiding voor tekst 5"/>
          <p:cNvSpPr>
            <a:spLocks noGrp="1" noSelect="1"/>
          </p:cNvSpPr>
          <p:nvPr>
            <p:ph type="body" sz="quarter" idx="14" hasCustomPrompt="1"/>
          </p:nvPr>
        </p:nvSpPr>
        <p:spPr>
          <a:xfrm>
            <a:off x="6584467" y="1817688"/>
            <a:ext cx="4385239" cy="4068000"/>
          </a:xfrm>
        </p:spPr>
        <p:txBody>
          <a:bodyPr/>
          <a:lstStyle>
            <a:lvl1pPr>
              <a:buClr>
                <a:schemeClr val="accent3"/>
              </a:buClr>
              <a:defRPr/>
            </a:lvl1pPr>
            <a:lvl2pPr>
              <a:buClr>
                <a:schemeClr val="accent3"/>
              </a:buClr>
              <a:defRPr/>
            </a:lvl2pPr>
            <a:lvl3pPr>
              <a:buClr>
                <a:schemeClr val="accent3"/>
              </a:buClr>
              <a:defRPr/>
            </a:lvl3pPr>
            <a:lvl4pPr>
              <a:defRPr/>
            </a:lvl4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156411231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el en tabel (L) roze">
    <p:spTree>
      <p:nvGrpSpPr>
        <p:cNvPr id="1" name=""/>
        <p:cNvGrpSpPr/>
        <p:nvPr/>
      </p:nvGrpSpPr>
      <p:grpSpPr>
        <a:xfrm>
          <a:off x="0" y="0"/>
          <a:ext cx="0" cy="0"/>
          <a:chOff x="0" y="0"/>
          <a:chExt cx="0" cy="0"/>
        </a:xfrm>
      </p:grpSpPr>
      <p:sp>
        <p:nvSpPr>
          <p:cNvPr id="8" name="Freeform 5"/>
          <p:cNvSpPr>
            <a:spLocks noSelect="1"/>
          </p:cNvSpPr>
          <p:nvPr userDrawn="1"/>
        </p:nvSpPr>
        <p:spPr bwMode="auto">
          <a:xfrm>
            <a:off x="6632575" y="6053138"/>
            <a:ext cx="3525838" cy="804863"/>
          </a:xfrm>
          <a:custGeom>
            <a:avLst/>
            <a:gdLst>
              <a:gd name="T0" fmla="*/ 11106 w 11106"/>
              <a:gd name="T1" fmla="*/ 2536 h 2536"/>
              <a:gd name="T2" fmla="*/ 0 w 11106"/>
              <a:gd name="T3" fmla="*/ 2536 h 2536"/>
              <a:gd name="T4" fmla="*/ 1763 w 11106"/>
              <a:gd name="T5" fmla="*/ 1487 h 2536"/>
              <a:gd name="T6" fmla="*/ 4562 w 11106"/>
              <a:gd name="T7" fmla="*/ 522 h 2536"/>
              <a:gd name="T8" fmla="*/ 9063 w 11106"/>
              <a:gd name="T9" fmla="*/ 1133 h 2536"/>
              <a:gd name="T10" fmla="*/ 11106 w 11106"/>
              <a:gd name="T11" fmla="*/ 2536 h 2536"/>
            </a:gdLst>
            <a:ahLst/>
            <a:cxnLst>
              <a:cxn ang="0">
                <a:pos x="T0" y="T1"/>
              </a:cxn>
              <a:cxn ang="0">
                <a:pos x="T2" y="T3"/>
              </a:cxn>
              <a:cxn ang="0">
                <a:pos x="T4" y="T5"/>
              </a:cxn>
              <a:cxn ang="0">
                <a:pos x="T6" y="T7"/>
              </a:cxn>
              <a:cxn ang="0">
                <a:pos x="T8" y="T9"/>
              </a:cxn>
              <a:cxn ang="0">
                <a:pos x="T10" y="T11"/>
              </a:cxn>
            </a:cxnLst>
            <a:rect l="0" t="0" r="r" b="b"/>
            <a:pathLst>
              <a:path w="11106" h="2536">
                <a:moveTo>
                  <a:pt x="11106" y="2536"/>
                </a:moveTo>
                <a:cubicBezTo>
                  <a:pt x="0" y="2536"/>
                  <a:pt x="0" y="2536"/>
                  <a:pt x="0" y="2536"/>
                </a:cubicBezTo>
                <a:cubicBezTo>
                  <a:pt x="502" y="2077"/>
                  <a:pt x="1099" y="1716"/>
                  <a:pt x="1763" y="1487"/>
                </a:cubicBezTo>
                <a:cubicBezTo>
                  <a:pt x="4562" y="522"/>
                  <a:pt x="4562" y="522"/>
                  <a:pt x="4562" y="522"/>
                </a:cubicBezTo>
                <a:cubicBezTo>
                  <a:pt x="6074" y="0"/>
                  <a:pt x="7745" y="227"/>
                  <a:pt x="9063" y="1133"/>
                </a:cubicBezTo>
                <a:lnTo>
                  <a:pt x="11106" y="2536"/>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9648000" cy="1080000"/>
          </a:xfrm>
        </p:spPr>
        <p:txBody>
          <a:bodyPr/>
          <a:lstStyle>
            <a:lvl1pPr>
              <a:defRPr>
                <a:solidFill>
                  <a:schemeClr val="accent2"/>
                </a:solidFill>
              </a:defRPr>
            </a:lvl1pPr>
          </a:lstStyle>
          <a:p>
            <a:r>
              <a:rPr lang="nl-NL" dirty="0"/>
              <a:t>[Titel]</a:t>
            </a:r>
          </a:p>
        </p:txBody>
      </p:sp>
      <p:sp>
        <p:nvSpPr>
          <p:cNvPr id="7" name="Tijdelijke aanduiding voor tabel 6"/>
          <p:cNvSpPr>
            <a:spLocks noGrp="1" noSelect="1"/>
          </p:cNvSpPr>
          <p:nvPr>
            <p:ph type="tbl" sz="quarter" idx="13" hasCustomPrompt="1"/>
          </p:nvPr>
        </p:nvSpPr>
        <p:spPr>
          <a:xfrm>
            <a:off x="1322388" y="1888338"/>
            <a:ext cx="4680000" cy="3996000"/>
          </a:xfrm>
        </p:spPr>
        <p:txBody>
          <a:bodyPr tIns="0"/>
          <a:lstStyle>
            <a:lvl1pPr marL="0" indent="0">
              <a:buNone/>
              <a:defRPr baseline="0"/>
            </a:lvl1pPr>
          </a:lstStyle>
          <a:p>
            <a:r>
              <a:rPr lang="nl-NL" dirty="0"/>
              <a:t>[Klik op het pictogram om een tabel in te voegen. Klik dan in de tabel en kies via Hulpmiddelen voor tabellen | Ontwerpen de Tabelstijl &lt;kleur&gt; </a:t>
            </a:r>
            <a:r>
              <a:rPr lang="nl-NL" dirty="0" err="1"/>
              <a:t>Nza</a:t>
            </a:r>
            <a:r>
              <a:rPr lang="nl-NL" dirty="0"/>
              <a:t>)]</a:t>
            </a:r>
          </a:p>
        </p:txBody>
      </p:sp>
      <p:sp>
        <p:nvSpPr>
          <p:cNvPr id="10" name="Tijdelijke aanduiding voor tekst 5"/>
          <p:cNvSpPr>
            <a:spLocks noGrp="1" noSelect="1"/>
          </p:cNvSpPr>
          <p:nvPr>
            <p:ph type="body" sz="quarter" idx="14" hasCustomPrompt="1"/>
          </p:nvPr>
        </p:nvSpPr>
        <p:spPr>
          <a:xfrm>
            <a:off x="6584467" y="1817688"/>
            <a:ext cx="4385239" cy="4068000"/>
          </a:xfrm>
        </p:spPr>
        <p:txBody>
          <a:bodyPr/>
          <a:lstStyle>
            <a:lvl1pPr>
              <a:buClr>
                <a:schemeClr val="accent2"/>
              </a:buClr>
              <a:defRPr/>
            </a:lvl1pPr>
            <a:lvl2pPr>
              <a:buClr>
                <a:schemeClr val="accent2"/>
              </a:buClr>
              <a:defRPr/>
            </a:lvl2pPr>
            <a:lvl3pPr>
              <a:buClr>
                <a:schemeClr val="accent2"/>
              </a:buClr>
              <a:defRPr/>
            </a:lvl3pPr>
            <a:lvl4pPr>
              <a:defRPr/>
            </a:lvl4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9439206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el, tekst (L) en afbeelding klein (R)">
    <p:spTree>
      <p:nvGrpSpPr>
        <p:cNvPr id="1" name=""/>
        <p:cNvGrpSpPr/>
        <p:nvPr/>
      </p:nvGrpSpPr>
      <p:grpSpPr>
        <a:xfrm>
          <a:off x="0" y="0"/>
          <a:ext cx="0" cy="0"/>
          <a:chOff x="0" y="0"/>
          <a:chExt cx="0" cy="0"/>
        </a:xfrm>
      </p:grpSpPr>
      <p:sp>
        <p:nvSpPr>
          <p:cNvPr id="8" name="Freeform 9"/>
          <p:cNvSpPr>
            <a:spLocks noSelect="1"/>
          </p:cNvSpPr>
          <p:nvPr userDrawn="1"/>
        </p:nvSpPr>
        <p:spPr bwMode="auto">
          <a:xfrm>
            <a:off x="7067550" y="1298575"/>
            <a:ext cx="5124450" cy="5559425"/>
          </a:xfrm>
          <a:custGeom>
            <a:avLst/>
            <a:gdLst>
              <a:gd name="T0" fmla="*/ 16141 w 16141"/>
              <a:gd name="T1" fmla="*/ 1040 h 17508"/>
              <a:gd name="T2" fmla="*/ 16141 w 16141"/>
              <a:gd name="T3" fmla="*/ 17508 h 17508"/>
              <a:gd name="T4" fmla="*/ 2909 w 16141"/>
              <a:gd name="T5" fmla="*/ 17508 h 17508"/>
              <a:gd name="T6" fmla="*/ 339 w 16141"/>
              <a:gd name="T7" fmla="*/ 9306 h 17508"/>
              <a:gd name="T8" fmla="*/ 909 w 16141"/>
              <a:gd name="T9" fmla="*/ 6152 h 17508"/>
              <a:gd name="T10" fmla="*/ 4579 w 16141"/>
              <a:gd name="T11" fmla="*/ 1436 h 17508"/>
              <a:gd name="T12" fmla="*/ 7663 w 16141"/>
              <a:gd name="T13" fmla="*/ 127 h 17508"/>
              <a:gd name="T14" fmla="*/ 16141 w 16141"/>
              <a:gd name="T15" fmla="*/ 1040 h 17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41" h="17508">
                <a:moveTo>
                  <a:pt x="16141" y="1040"/>
                </a:moveTo>
                <a:cubicBezTo>
                  <a:pt x="16141" y="17508"/>
                  <a:pt x="16141" y="17508"/>
                  <a:pt x="16141" y="17508"/>
                </a:cubicBezTo>
                <a:cubicBezTo>
                  <a:pt x="2909" y="17508"/>
                  <a:pt x="2909" y="17508"/>
                  <a:pt x="2909" y="17508"/>
                </a:cubicBezTo>
                <a:cubicBezTo>
                  <a:pt x="339" y="9306"/>
                  <a:pt x="339" y="9306"/>
                  <a:pt x="339" y="9306"/>
                </a:cubicBezTo>
                <a:cubicBezTo>
                  <a:pt x="0" y="8225"/>
                  <a:pt x="213" y="7046"/>
                  <a:pt x="909" y="6152"/>
                </a:cubicBezTo>
                <a:cubicBezTo>
                  <a:pt x="4579" y="1436"/>
                  <a:pt x="4579" y="1436"/>
                  <a:pt x="4579" y="1436"/>
                </a:cubicBezTo>
                <a:cubicBezTo>
                  <a:pt x="5312" y="495"/>
                  <a:pt x="6478" y="0"/>
                  <a:pt x="7663" y="127"/>
                </a:cubicBezTo>
                <a:lnTo>
                  <a:pt x="16141" y="1040"/>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defRPr/>
            </a:lvl1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2000" y="1735138"/>
            <a:ext cx="4689475" cy="4014000"/>
          </a:xfrm>
        </p:spPr>
        <p:txBody>
          <a:bodyPr/>
          <a:lstStyle>
            <a:lvl1pPr marL="0" inden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173689265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el, tekst (L) en afbeelding klein (R) groen">
    <p:spTree>
      <p:nvGrpSpPr>
        <p:cNvPr id="1" name=""/>
        <p:cNvGrpSpPr/>
        <p:nvPr/>
      </p:nvGrpSpPr>
      <p:grpSpPr>
        <a:xfrm>
          <a:off x="0" y="0"/>
          <a:ext cx="0" cy="0"/>
          <a:chOff x="0" y="0"/>
          <a:chExt cx="0" cy="0"/>
        </a:xfrm>
      </p:grpSpPr>
      <p:sp>
        <p:nvSpPr>
          <p:cNvPr id="8" name="Freeform 9"/>
          <p:cNvSpPr>
            <a:spLocks noSelect="1"/>
          </p:cNvSpPr>
          <p:nvPr userDrawn="1"/>
        </p:nvSpPr>
        <p:spPr bwMode="auto">
          <a:xfrm>
            <a:off x="7067550" y="1298575"/>
            <a:ext cx="5124450" cy="5559425"/>
          </a:xfrm>
          <a:custGeom>
            <a:avLst/>
            <a:gdLst>
              <a:gd name="T0" fmla="*/ 16141 w 16141"/>
              <a:gd name="T1" fmla="*/ 1040 h 17508"/>
              <a:gd name="T2" fmla="*/ 16141 w 16141"/>
              <a:gd name="T3" fmla="*/ 17508 h 17508"/>
              <a:gd name="T4" fmla="*/ 2909 w 16141"/>
              <a:gd name="T5" fmla="*/ 17508 h 17508"/>
              <a:gd name="T6" fmla="*/ 339 w 16141"/>
              <a:gd name="T7" fmla="*/ 9306 h 17508"/>
              <a:gd name="T8" fmla="*/ 909 w 16141"/>
              <a:gd name="T9" fmla="*/ 6152 h 17508"/>
              <a:gd name="T10" fmla="*/ 4579 w 16141"/>
              <a:gd name="T11" fmla="*/ 1436 h 17508"/>
              <a:gd name="T12" fmla="*/ 7663 w 16141"/>
              <a:gd name="T13" fmla="*/ 127 h 17508"/>
              <a:gd name="T14" fmla="*/ 16141 w 16141"/>
              <a:gd name="T15" fmla="*/ 1040 h 17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41" h="17508">
                <a:moveTo>
                  <a:pt x="16141" y="1040"/>
                </a:moveTo>
                <a:cubicBezTo>
                  <a:pt x="16141" y="17508"/>
                  <a:pt x="16141" y="17508"/>
                  <a:pt x="16141" y="17508"/>
                </a:cubicBezTo>
                <a:cubicBezTo>
                  <a:pt x="2909" y="17508"/>
                  <a:pt x="2909" y="17508"/>
                  <a:pt x="2909" y="17508"/>
                </a:cubicBezTo>
                <a:cubicBezTo>
                  <a:pt x="339" y="9306"/>
                  <a:pt x="339" y="9306"/>
                  <a:pt x="339" y="9306"/>
                </a:cubicBezTo>
                <a:cubicBezTo>
                  <a:pt x="0" y="8225"/>
                  <a:pt x="213" y="7046"/>
                  <a:pt x="909" y="6152"/>
                </a:cubicBezTo>
                <a:cubicBezTo>
                  <a:pt x="4579" y="1436"/>
                  <a:pt x="4579" y="1436"/>
                  <a:pt x="4579" y="1436"/>
                </a:cubicBezTo>
                <a:cubicBezTo>
                  <a:pt x="5312" y="495"/>
                  <a:pt x="6478" y="0"/>
                  <a:pt x="7663" y="127"/>
                </a:cubicBezTo>
                <a:lnTo>
                  <a:pt x="16141" y="1040"/>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4"/>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2000" y="1735138"/>
            <a:ext cx="4689475" cy="4014000"/>
          </a:xfrm>
        </p:spPr>
        <p:txBody>
          <a:bodyPr/>
          <a:lstStyle>
            <a:lvl1pPr marL="0" inden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4414966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el, tekst (L) en afbeelding klein (R) paars">
    <p:spTree>
      <p:nvGrpSpPr>
        <p:cNvPr id="1" name=""/>
        <p:cNvGrpSpPr/>
        <p:nvPr/>
      </p:nvGrpSpPr>
      <p:grpSpPr>
        <a:xfrm>
          <a:off x="0" y="0"/>
          <a:ext cx="0" cy="0"/>
          <a:chOff x="0" y="0"/>
          <a:chExt cx="0" cy="0"/>
        </a:xfrm>
      </p:grpSpPr>
      <p:sp>
        <p:nvSpPr>
          <p:cNvPr id="8" name="Freeform 9"/>
          <p:cNvSpPr>
            <a:spLocks noSelect="1"/>
          </p:cNvSpPr>
          <p:nvPr userDrawn="1"/>
        </p:nvSpPr>
        <p:spPr bwMode="auto">
          <a:xfrm>
            <a:off x="7067550" y="1298575"/>
            <a:ext cx="5124450" cy="5559425"/>
          </a:xfrm>
          <a:custGeom>
            <a:avLst/>
            <a:gdLst>
              <a:gd name="T0" fmla="*/ 16141 w 16141"/>
              <a:gd name="T1" fmla="*/ 1040 h 17508"/>
              <a:gd name="T2" fmla="*/ 16141 w 16141"/>
              <a:gd name="T3" fmla="*/ 17508 h 17508"/>
              <a:gd name="T4" fmla="*/ 2909 w 16141"/>
              <a:gd name="T5" fmla="*/ 17508 h 17508"/>
              <a:gd name="T6" fmla="*/ 339 w 16141"/>
              <a:gd name="T7" fmla="*/ 9306 h 17508"/>
              <a:gd name="T8" fmla="*/ 909 w 16141"/>
              <a:gd name="T9" fmla="*/ 6152 h 17508"/>
              <a:gd name="T10" fmla="*/ 4579 w 16141"/>
              <a:gd name="T11" fmla="*/ 1436 h 17508"/>
              <a:gd name="T12" fmla="*/ 7663 w 16141"/>
              <a:gd name="T13" fmla="*/ 127 h 17508"/>
              <a:gd name="T14" fmla="*/ 16141 w 16141"/>
              <a:gd name="T15" fmla="*/ 1040 h 17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41" h="17508">
                <a:moveTo>
                  <a:pt x="16141" y="1040"/>
                </a:moveTo>
                <a:cubicBezTo>
                  <a:pt x="16141" y="17508"/>
                  <a:pt x="16141" y="17508"/>
                  <a:pt x="16141" y="17508"/>
                </a:cubicBezTo>
                <a:cubicBezTo>
                  <a:pt x="2909" y="17508"/>
                  <a:pt x="2909" y="17508"/>
                  <a:pt x="2909" y="17508"/>
                </a:cubicBezTo>
                <a:cubicBezTo>
                  <a:pt x="339" y="9306"/>
                  <a:pt x="339" y="9306"/>
                  <a:pt x="339" y="9306"/>
                </a:cubicBezTo>
                <a:cubicBezTo>
                  <a:pt x="0" y="8225"/>
                  <a:pt x="213" y="7046"/>
                  <a:pt x="909" y="6152"/>
                </a:cubicBezTo>
                <a:cubicBezTo>
                  <a:pt x="4579" y="1436"/>
                  <a:pt x="4579" y="1436"/>
                  <a:pt x="4579" y="1436"/>
                </a:cubicBezTo>
                <a:cubicBezTo>
                  <a:pt x="5312" y="495"/>
                  <a:pt x="6478" y="0"/>
                  <a:pt x="7663" y="127"/>
                </a:cubicBezTo>
                <a:lnTo>
                  <a:pt x="16141" y="1040"/>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3"/>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2000" y="1735138"/>
            <a:ext cx="4689475" cy="4014000"/>
          </a:xfrm>
        </p:spPr>
        <p:txBody>
          <a:bodyPr/>
          <a:lstStyle>
            <a:lvl1pPr marL="0" inden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36932110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el, tekst (L) en afbeelding klein (R) roze">
    <p:spTree>
      <p:nvGrpSpPr>
        <p:cNvPr id="1" name=""/>
        <p:cNvGrpSpPr/>
        <p:nvPr/>
      </p:nvGrpSpPr>
      <p:grpSpPr>
        <a:xfrm>
          <a:off x="0" y="0"/>
          <a:ext cx="0" cy="0"/>
          <a:chOff x="0" y="0"/>
          <a:chExt cx="0" cy="0"/>
        </a:xfrm>
      </p:grpSpPr>
      <p:sp>
        <p:nvSpPr>
          <p:cNvPr id="8" name="Freeform 9"/>
          <p:cNvSpPr>
            <a:spLocks noSelect="1"/>
          </p:cNvSpPr>
          <p:nvPr userDrawn="1"/>
        </p:nvSpPr>
        <p:spPr bwMode="auto">
          <a:xfrm>
            <a:off x="7067550" y="1298575"/>
            <a:ext cx="5124450" cy="5559425"/>
          </a:xfrm>
          <a:custGeom>
            <a:avLst/>
            <a:gdLst>
              <a:gd name="T0" fmla="*/ 16141 w 16141"/>
              <a:gd name="T1" fmla="*/ 1040 h 17508"/>
              <a:gd name="T2" fmla="*/ 16141 w 16141"/>
              <a:gd name="T3" fmla="*/ 17508 h 17508"/>
              <a:gd name="T4" fmla="*/ 2909 w 16141"/>
              <a:gd name="T5" fmla="*/ 17508 h 17508"/>
              <a:gd name="T6" fmla="*/ 339 w 16141"/>
              <a:gd name="T7" fmla="*/ 9306 h 17508"/>
              <a:gd name="T8" fmla="*/ 909 w 16141"/>
              <a:gd name="T9" fmla="*/ 6152 h 17508"/>
              <a:gd name="T10" fmla="*/ 4579 w 16141"/>
              <a:gd name="T11" fmla="*/ 1436 h 17508"/>
              <a:gd name="T12" fmla="*/ 7663 w 16141"/>
              <a:gd name="T13" fmla="*/ 127 h 17508"/>
              <a:gd name="T14" fmla="*/ 16141 w 16141"/>
              <a:gd name="T15" fmla="*/ 1040 h 17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41" h="17508">
                <a:moveTo>
                  <a:pt x="16141" y="1040"/>
                </a:moveTo>
                <a:cubicBezTo>
                  <a:pt x="16141" y="17508"/>
                  <a:pt x="16141" y="17508"/>
                  <a:pt x="16141" y="17508"/>
                </a:cubicBezTo>
                <a:cubicBezTo>
                  <a:pt x="2909" y="17508"/>
                  <a:pt x="2909" y="17508"/>
                  <a:pt x="2909" y="17508"/>
                </a:cubicBezTo>
                <a:cubicBezTo>
                  <a:pt x="339" y="9306"/>
                  <a:pt x="339" y="9306"/>
                  <a:pt x="339" y="9306"/>
                </a:cubicBezTo>
                <a:cubicBezTo>
                  <a:pt x="0" y="8225"/>
                  <a:pt x="213" y="7046"/>
                  <a:pt x="909" y="6152"/>
                </a:cubicBezTo>
                <a:cubicBezTo>
                  <a:pt x="4579" y="1436"/>
                  <a:pt x="4579" y="1436"/>
                  <a:pt x="4579" y="1436"/>
                </a:cubicBezTo>
                <a:cubicBezTo>
                  <a:pt x="5312" y="495"/>
                  <a:pt x="6478" y="0"/>
                  <a:pt x="7663" y="127"/>
                </a:cubicBezTo>
                <a:lnTo>
                  <a:pt x="16141" y="1040"/>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2"/>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2000" y="1735138"/>
            <a:ext cx="4689475" cy="4014000"/>
          </a:xfrm>
        </p:spPr>
        <p:txBody>
          <a:bodyPr/>
          <a:lstStyle>
            <a:lvl1pPr marL="0" inden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97857480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el, tekst (L) en grafiek (R)">
    <p:spTree>
      <p:nvGrpSpPr>
        <p:cNvPr id="1" name=""/>
        <p:cNvGrpSpPr/>
        <p:nvPr/>
      </p:nvGrpSpPr>
      <p:grpSpPr>
        <a:xfrm>
          <a:off x="0" y="0"/>
          <a:ext cx="0" cy="0"/>
          <a:chOff x="0" y="0"/>
          <a:chExt cx="0" cy="0"/>
        </a:xfrm>
      </p:grpSpPr>
      <p:sp>
        <p:nvSpPr>
          <p:cNvPr id="9" name="Freeform 5"/>
          <p:cNvSpPr>
            <a:spLocks noSelect="1"/>
          </p:cNvSpPr>
          <p:nvPr userDrawn="1"/>
        </p:nvSpPr>
        <p:spPr bwMode="auto">
          <a:xfrm>
            <a:off x="0" y="5486400"/>
            <a:ext cx="2244725" cy="1371600"/>
          </a:xfrm>
          <a:custGeom>
            <a:avLst/>
            <a:gdLst>
              <a:gd name="T0" fmla="*/ 7067 w 7067"/>
              <a:gd name="T1" fmla="*/ 4319 h 4319"/>
              <a:gd name="T2" fmla="*/ 0 w 7067"/>
              <a:gd name="T3" fmla="*/ 4319 h 4319"/>
              <a:gd name="T4" fmla="*/ 0 w 7067"/>
              <a:gd name="T5" fmla="*/ 0 h 4319"/>
              <a:gd name="T6" fmla="*/ 2368 w 7067"/>
              <a:gd name="T7" fmla="*/ 255 h 4319"/>
              <a:gd name="T8" fmla="*/ 4620 w 7067"/>
              <a:gd name="T9" fmla="*/ 1446 h 4319"/>
              <a:gd name="T10" fmla="*/ 7067 w 7067"/>
              <a:gd name="T11" fmla="*/ 4319 h 4319"/>
            </a:gdLst>
            <a:ahLst/>
            <a:cxnLst>
              <a:cxn ang="0">
                <a:pos x="T0" y="T1"/>
              </a:cxn>
              <a:cxn ang="0">
                <a:pos x="T2" y="T3"/>
              </a:cxn>
              <a:cxn ang="0">
                <a:pos x="T4" y="T5"/>
              </a:cxn>
              <a:cxn ang="0">
                <a:pos x="T6" y="T7"/>
              </a:cxn>
              <a:cxn ang="0">
                <a:pos x="T8" y="T9"/>
              </a:cxn>
              <a:cxn ang="0">
                <a:pos x="T10" y="T11"/>
              </a:cxn>
            </a:cxnLst>
            <a:rect l="0" t="0" r="r" b="b"/>
            <a:pathLst>
              <a:path w="7067" h="4319">
                <a:moveTo>
                  <a:pt x="7067" y="4319"/>
                </a:moveTo>
                <a:cubicBezTo>
                  <a:pt x="0" y="4319"/>
                  <a:pt x="0" y="4319"/>
                  <a:pt x="0" y="4319"/>
                </a:cubicBezTo>
                <a:cubicBezTo>
                  <a:pt x="0" y="0"/>
                  <a:pt x="0" y="0"/>
                  <a:pt x="0" y="0"/>
                </a:cubicBezTo>
                <a:cubicBezTo>
                  <a:pt x="2368" y="255"/>
                  <a:pt x="2368" y="255"/>
                  <a:pt x="2368" y="255"/>
                </a:cubicBezTo>
                <a:cubicBezTo>
                  <a:pt x="3243" y="349"/>
                  <a:pt x="4049" y="775"/>
                  <a:pt x="4620" y="1446"/>
                </a:cubicBezTo>
                <a:lnTo>
                  <a:pt x="7067" y="4319"/>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defRPr/>
            </a:lvl1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8" name="Tijdelijke aanduiding voor grafiek 7"/>
          <p:cNvSpPr>
            <a:spLocks noGrp="1" noSelect="1"/>
          </p:cNvSpPr>
          <p:nvPr>
            <p:ph type="chart" sz="quarter" idx="14" hasCustomPrompt="1"/>
          </p:nvPr>
        </p:nvSpPr>
        <p:spPr>
          <a:xfrm>
            <a:off x="6480000" y="1735016"/>
            <a:ext cx="4185140" cy="3716460"/>
          </a:xfrm>
        </p:spPr>
        <p:txBody>
          <a:bodyPr/>
          <a:lstStyle>
            <a:lvl1pPr marL="0" indent="0">
              <a:buNone/>
              <a:defRPr/>
            </a:lvl1pPr>
          </a:lstStyle>
          <a:p>
            <a:r>
              <a:rPr lang="nl-NL" dirty="0"/>
              <a:t>[Grafiek]</a:t>
            </a:r>
          </a:p>
        </p:txBody>
      </p:sp>
      <p:sp>
        <p:nvSpPr>
          <p:cNvPr id="10" name="Functie 5 (JU-Free)"/>
          <p:cNvSpPr>
            <a:spLocks noGrp="1"/>
          </p:cNvSpPr>
          <p:nvPr>
            <p:ph type="body" sz="quarter" idx="11" hasCustomPrompt="1"/>
          </p:nvPr>
        </p:nvSpPr>
        <p:spPr>
          <a:xfrm>
            <a:off x="6904892" y="5576607"/>
            <a:ext cx="3960000" cy="216000"/>
          </a:xfrm>
        </p:spPr>
        <p:txBody>
          <a:bodyPr/>
          <a:lstStyle>
            <a:lvl1pPr marL="0" indent="0" algn="l">
              <a:lnSpc>
                <a:spcPct val="100000"/>
              </a:lnSpc>
              <a:spcBef>
                <a:spcPts val="0"/>
              </a:spcBef>
              <a:buNone/>
              <a:defRPr sz="1050" b="0" i="1">
                <a:solidFill>
                  <a:srgbClr val="28348B"/>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a:t>[Omschrijving inhoud grafiek]</a:t>
            </a:r>
            <a:endParaRPr lang="nl-NL" dirty="0"/>
          </a:p>
          <a:p>
            <a:pPr lvl="0"/>
            <a:r>
              <a:rPr lang="nl-NL" dirty="0"/>
              <a:t>JU-LEVEL1=Bijschrift</a:t>
            </a:r>
          </a:p>
        </p:txBody>
      </p:sp>
    </p:spTree>
    <p:extLst>
      <p:ext uri="{BB962C8B-B14F-4D97-AF65-F5344CB8AC3E}">
        <p14:creationId xmlns:p14="http://schemas.microsoft.com/office/powerpoint/2010/main" val="22362891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el, tekst (L) en grafiek (R) groen">
    <p:spTree>
      <p:nvGrpSpPr>
        <p:cNvPr id="1" name=""/>
        <p:cNvGrpSpPr/>
        <p:nvPr/>
      </p:nvGrpSpPr>
      <p:grpSpPr>
        <a:xfrm>
          <a:off x="0" y="0"/>
          <a:ext cx="0" cy="0"/>
          <a:chOff x="0" y="0"/>
          <a:chExt cx="0" cy="0"/>
        </a:xfrm>
      </p:grpSpPr>
      <p:sp>
        <p:nvSpPr>
          <p:cNvPr id="9" name="Freeform 5"/>
          <p:cNvSpPr>
            <a:spLocks noSelect="1"/>
          </p:cNvSpPr>
          <p:nvPr userDrawn="1"/>
        </p:nvSpPr>
        <p:spPr bwMode="auto">
          <a:xfrm>
            <a:off x="0" y="5486400"/>
            <a:ext cx="2244725" cy="1371600"/>
          </a:xfrm>
          <a:custGeom>
            <a:avLst/>
            <a:gdLst>
              <a:gd name="T0" fmla="*/ 7067 w 7067"/>
              <a:gd name="T1" fmla="*/ 4319 h 4319"/>
              <a:gd name="T2" fmla="*/ 0 w 7067"/>
              <a:gd name="T3" fmla="*/ 4319 h 4319"/>
              <a:gd name="T4" fmla="*/ 0 w 7067"/>
              <a:gd name="T5" fmla="*/ 0 h 4319"/>
              <a:gd name="T6" fmla="*/ 2368 w 7067"/>
              <a:gd name="T7" fmla="*/ 255 h 4319"/>
              <a:gd name="T8" fmla="*/ 4620 w 7067"/>
              <a:gd name="T9" fmla="*/ 1446 h 4319"/>
              <a:gd name="T10" fmla="*/ 7067 w 7067"/>
              <a:gd name="T11" fmla="*/ 4319 h 4319"/>
            </a:gdLst>
            <a:ahLst/>
            <a:cxnLst>
              <a:cxn ang="0">
                <a:pos x="T0" y="T1"/>
              </a:cxn>
              <a:cxn ang="0">
                <a:pos x="T2" y="T3"/>
              </a:cxn>
              <a:cxn ang="0">
                <a:pos x="T4" y="T5"/>
              </a:cxn>
              <a:cxn ang="0">
                <a:pos x="T6" y="T7"/>
              </a:cxn>
              <a:cxn ang="0">
                <a:pos x="T8" y="T9"/>
              </a:cxn>
              <a:cxn ang="0">
                <a:pos x="T10" y="T11"/>
              </a:cxn>
            </a:cxnLst>
            <a:rect l="0" t="0" r="r" b="b"/>
            <a:pathLst>
              <a:path w="7067" h="4319">
                <a:moveTo>
                  <a:pt x="7067" y="4319"/>
                </a:moveTo>
                <a:cubicBezTo>
                  <a:pt x="0" y="4319"/>
                  <a:pt x="0" y="4319"/>
                  <a:pt x="0" y="4319"/>
                </a:cubicBezTo>
                <a:cubicBezTo>
                  <a:pt x="0" y="0"/>
                  <a:pt x="0" y="0"/>
                  <a:pt x="0" y="0"/>
                </a:cubicBezTo>
                <a:cubicBezTo>
                  <a:pt x="2368" y="255"/>
                  <a:pt x="2368" y="255"/>
                  <a:pt x="2368" y="255"/>
                </a:cubicBezTo>
                <a:cubicBezTo>
                  <a:pt x="3243" y="349"/>
                  <a:pt x="4049" y="775"/>
                  <a:pt x="4620" y="1446"/>
                </a:cubicBezTo>
                <a:lnTo>
                  <a:pt x="7067" y="4319"/>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4"/>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8" name="Tijdelijke aanduiding voor grafiek 7"/>
          <p:cNvSpPr>
            <a:spLocks noGrp="1" noSelect="1"/>
          </p:cNvSpPr>
          <p:nvPr>
            <p:ph type="chart" sz="quarter" idx="14" hasCustomPrompt="1"/>
          </p:nvPr>
        </p:nvSpPr>
        <p:spPr>
          <a:xfrm>
            <a:off x="6480000" y="1735016"/>
            <a:ext cx="4185140" cy="3716460"/>
          </a:xfrm>
        </p:spPr>
        <p:txBody>
          <a:bodyPr/>
          <a:lstStyle>
            <a:lvl1pPr marL="0" indent="0">
              <a:buNone/>
              <a:defRPr/>
            </a:lvl1pPr>
          </a:lstStyle>
          <a:p>
            <a:r>
              <a:rPr lang="nl-NL" dirty="0"/>
              <a:t>[Grafiek]</a:t>
            </a:r>
          </a:p>
        </p:txBody>
      </p:sp>
      <p:sp>
        <p:nvSpPr>
          <p:cNvPr id="10" name="Functie 5 (JU-Free)"/>
          <p:cNvSpPr>
            <a:spLocks noGrp="1"/>
          </p:cNvSpPr>
          <p:nvPr>
            <p:ph type="body" sz="quarter" idx="11" hasCustomPrompt="1"/>
          </p:nvPr>
        </p:nvSpPr>
        <p:spPr>
          <a:xfrm>
            <a:off x="6904892" y="5576607"/>
            <a:ext cx="3960000" cy="216000"/>
          </a:xfrm>
        </p:spPr>
        <p:txBody>
          <a:bodyPr/>
          <a:lstStyle>
            <a:lvl1pPr marL="0" indent="0" algn="l">
              <a:lnSpc>
                <a:spcPct val="100000"/>
              </a:lnSpc>
              <a:spcBef>
                <a:spcPts val="0"/>
              </a:spcBef>
              <a:buNone/>
              <a:defRPr sz="1050" b="0" i="1">
                <a:solidFill>
                  <a:srgbClr val="28348B"/>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a:t>[Omschrijving inhoud grafiek]</a:t>
            </a:r>
            <a:endParaRPr lang="nl-NL" dirty="0"/>
          </a:p>
          <a:p>
            <a:pPr lvl="0"/>
            <a:r>
              <a:rPr lang="nl-NL" dirty="0"/>
              <a:t>JU-LEVEL1=Bijschrift</a:t>
            </a:r>
          </a:p>
        </p:txBody>
      </p:sp>
    </p:spTree>
    <p:extLst>
      <p:ext uri="{BB962C8B-B14F-4D97-AF65-F5344CB8AC3E}">
        <p14:creationId xmlns:p14="http://schemas.microsoft.com/office/powerpoint/2010/main" val="3418113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ofdstuk oranje">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1F873950-5A07-47EB-944C-2209756A40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214511" y="3429000"/>
            <a:ext cx="9144000" cy="1909763"/>
          </a:xfrm>
          <a:prstGeom prst="rect">
            <a:avLst/>
          </a:prstGeom>
        </p:spPr>
        <p:txBody>
          <a:bodyPr anchor="t">
            <a:normAutofit/>
          </a:bodyPr>
          <a:lstStyle>
            <a:lvl1pPr algn="l">
              <a:defRPr sz="3600" b="1">
                <a:solidFill>
                  <a:schemeClr val="bg1"/>
                </a:solidFill>
              </a:defRPr>
            </a:lvl1pPr>
          </a:lstStyle>
          <a:p>
            <a:r>
              <a:rPr lang="nl-NL" dirty="0"/>
              <a:t>Klik om stijl te bewerken</a:t>
            </a:r>
          </a:p>
        </p:txBody>
      </p:sp>
      <p:sp>
        <p:nvSpPr>
          <p:cNvPr id="4" name="Tijdelijke aanduiding voor datum 3">
            <a:extLst>
              <a:ext uri="{FF2B5EF4-FFF2-40B4-BE49-F238E27FC236}">
                <a16:creationId xmlns:a16="http://schemas.microsoft.com/office/drawing/2014/main" id="{BDA3D04B-F317-4826-93D1-CA4ED06763F7}"/>
              </a:ext>
            </a:extLst>
          </p:cNvPr>
          <p:cNvSpPr>
            <a:spLocks noGrp="1"/>
          </p:cNvSpPr>
          <p:nvPr>
            <p:ph type="dt" sz="half" idx="10"/>
          </p:nvPr>
        </p:nvSpPr>
        <p:spPr/>
        <p:txBody>
          <a:bodyPr/>
          <a:lstStyle>
            <a:lvl1pPr>
              <a:defRPr/>
            </a:lvl1pPr>
          </a:lstStyle>
          <a:p>
            <a:pPr>
              <a:defRPr/>
            </a:pPr>
            <a:fld id="{05E7052C-8EC3-42CA-9FEC-1598170310A5}"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86E3CF1C-128A-4D2F-932F-78A824FF6BB6}"/>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BC61C6E8-3CB5-4791-A9B6-00E150BF76E1}"/>
              </a:ext>
            </a:extLst>
          </p:cNvPr>
          <p:cNvSpPr>
            <a:spLocks noGrp="1"/>
          </p:cNvSpPr>
          <p:nvPr>
            <p:ph type="sldNum" sz="quarter" idx="12"/>
          </p:nvPr>
        </p:nvSpPr>
        <p:spPr/>
        <p:txBody>
          <a:bodyPr/>
          <a:lstStyle>
            <a:lvl1pPr>
              <a:defRPr/>
            </a:lvl1pPr>
          </a:lstStyle>
          <a:p>
            <a:pPr>
              <a:defRPr/>
            </a:pPr>
            <a:fld id="{D1843BAA-CECF-42EC-8613-8DCC05D62570}" type="slidenum">
              <a:rPr lang="nl-NL"/>
              <a:pPr>
                <a:defRPr/>
              </a:pPr>
              <a:t>‹nr.›</a:t>
            </a:fld>
            <a:endParaRPr lang="nl-NL"/>
          </a:p>
        </p:txBody>
      </p:sp>
    </p:spTree>
    <p:extLst>
      <p:ext uri="{BB962C8B-B14F-4D97-AF65-F5344CB8AC3E}">
        <p14:creationId xmlns:p14="http://schemas.microsoft.com/office/powerpoint/2010/main" val="16731560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el, tekst (L) en grafiek (R) paars">
    <p:spTree>
      <p:nvGrpSpPr>
        <p:cNvPr id="1" name=""/>
        <p:cNvGrpSpPr/>
        <p:nvPr/>
      </p:nvGrpSpPr>
      <p:grpSpPr>
        <a:xfrm>
          <a:off x="0" y="0"/>
          <a:ext cx="0" cy="0"/>
          <a:chOff x="0" y="0"/>
          <a:chExt cx="0" cy="0"/>
        </a:xfrm>
      </p:grpSpPr>
      <p:sp>
        <p:nvSpPr>
          <p:cNvPr id="9" name="Freeform 5"/>
          <p:cNvSpPr>
            <a:spLocks noSelect="1"/>
          </p:cNvSpPr>
          <p:nvPr userDrawn="1"/>
        </p:nvSpPr>
        <p:spPr bwMode="auto">
          <a:xfrm>
            <a:off x="0" y="5486400"/>
            <a:ext cx="2244725" cy="1371600"/>
          </a:xfrm>
          <a:custGeom>
            <a:avLst/>
            <a:gdLst>
              <a:gd name="T0" fmla="*/ 7067 w 7067"/>
              <a:gd name="T1" fmla="*/ 4319 h 4319"/>
              <a:gd name="T2" fmla="*/ 0 w 7067"/>
              <a:gd name="T3" fmla="*/ 4319 h 4319"/>
              <a:gd name="T4" fmla="*/ 0 w 7067"/>
              <a:gd name="T5" fmla="*/ 0 h 4319"/>
              <a:gd name="T6" fmla="*/ 2368 w 7067"/>
              <a:gd name="T7" fmla="*/ 255 h 4319"/>
              <a:gd name="T8" fmla="*/ 4620 w 7067"/>
              <a:gd name="T9" fmla="*/ 1446 h 4319"/>
              <a:gd name="T10" fmla="*/ 7067 w 7067"/>
              <a:gd name="T11" fmla="*/ 4319 h 4319"/>
            </a:gdLst>
            <a:ahLst/>
            <a:cxnLst>
              <a:cxn ang="0">
                <a:pos x="T0" y="T1"/>
              </a:cxn>
              <a:cxn ang="0">
                <a:pos x="T2" y="T3"/>
              </a:cxn>
              <a:cxn ang="0">
                <a:pos x="T4" y="T5"/>
              </a:cxn>
              <a:cxn ang="0">
                <a:pos x="T6" y="T7"/>
              </a:cxn>
              <a:cxn ang="0">
                <a:pos x="T8" y="T9"/>
              </a:cxn>
              <a:cxn ang="0">
                <a:pos x="T10" y="T11"/>
              </a:cxn>
            </a:cxnLst>
            <a:rect l="0" t="0" r="r" b="b"/>
            <a:pathLst>
              <a:path w="7067" h="4319">
                <a:moveTo>
                  <a:pt x="7067" y="4319"/>
                </a:moveTo>
                <a:cubicBezTo>
                  <a:pt x="0" y="4319"/>
                  <a:pt x="0" y="4319"/>
                  <a:pt x="0" y="4319"/>
                </a:cubicBezTo>
                <a:cubicBezTo>
                  <a:pt x="0" y="0"/>
                  <a:pt x="0" y="0"/>
                  <a:pt x="0" y="0"/>
                </a:cubicBezTo>
                <a:cubicBezTo>
                  <a:pt x="2368" y="255"/>
                  <a:pt x="2368" y="255"/>
                  <a:pt x="2368" y="255"/>
                </a:cubicBezTo>
                <a:cubicBezTo>
                  <a:pt x="3243" y="349"/>
                  <a:pt x="4049" y="775"/>
                  <a:pt x="4620" y="1446"/>
                </a:cubicBezTo>
                <a:lnTo>
                  <a:pt x="7067" y="4319"/>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3"/>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8" name="Tijdelijke aanduiding voor grafiek 7"/>
          <p:cNvSpPr>
            <a:spLocks noGrp="1" noSelect="1"/>
          </p:cNvSpPr>
          <p:nvPr>
            <p:ph type="chart" sz="quarter" idx="14" hasCustomPrompt="1"/>
          </p:nvPr>
        </p:nvSpPr>
        <p:spPr>
          <a:xfrm>
            <a:off x="6480000" y="1735016"/>
            <a:ext cx="4185140" cy="3716460"/>
          </a:xfrm>
        </p:spPr>
        <p:txBody>
          <a:bodyPr/>
          <a:lstStyle>
            <a:lvl1pPr marL="0" indent="0">
              <a:buNone/>
              <a:defRPr/>
            </a:lvl1pPr>
          </a:lstStyle>
          <a:p>
            <a:r>
              <a:rPr lang="nl-NL" dirty="0"/>
              <a:t>[Grafiek]</a:t>
            </a:r>
          </a:p>
        </p:txBody>
      </p:sp>
      <p:sp>
        <p:nvSpPr>
          <p:cNvPr id="10" name="Functie 5 (JU-Free)"/>
          <p:cNvSpPr>
            <a:spLocks noGrp="1"/>
          </p:cNvSpPr>
          <p:nvPr>
            <p:ph type="body" sz="quarter" idx="11" hasCustomPrompt="1"/>
          </p:nvPr>
        </p:nvSpPr>
        <p:spPr>
          <a:xfrm>
            <a:off x="6904892" y="5576607"/>
            <a:ext cx="3960000" cy="216000"/>
          </a:xfrm>
        </p:spPr>
        <p:txBody>
          <a:bodyPr/>
          <a:lstStyle>
            <a:lvl1pPr marL="0" indent="0" algn="l">
              <a:lnSpc>
                <a:spcPct val="100000"/>
              </a:lnSpc>
              <a:spcBef>
                <a:spcPts val="0"/>
              </a:spcBef>
              <a:buNone/>
              <a:defRPr sz="1050" b="0" i="1">
                <a:solidFill>
                  <a:srgbClr val="28348B"/>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a:t>[Omschrijving inhoud grafiek]</a:t>
            </a:r>
            <a:endParaRPr lang="nl-NL" dirty="0"/>
          </a:p>
          <a:p>
            <a:pPr lvl="0"/>
            <a:r>
              <a:rPr lang="nl-NL" dirty="0"/>
              <a:t>JU-LEVEL1=Bijschrift</a:t>
            </a:r>
          </a:p>
        </p:txBody>
      </p:sp>
    </p:spTree>
    <p:extLst>
      <p:ext uri="{BB962C8B-B14F-4D97-AF65-F5344CB8AC3E}">
        <p14:creationId xmlns:p14="http://schemas.microsoft.com/office/powerpoint/2010/main" val="38854139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el, tekst (L) en grafiek (R) roze">
    <p:spTree>
      <p:nvGrpSpPr>
        <p:cNvPr id="1" name=""/>
        <p:cNvGrpSpPr/>
        <p:nvPr/>
      </p:nvGrpSpPr>
      <p:grpSpPr>
        <a:xfrm>
          <a:off x="0" y="0"/>
          <a:ext cx="0" cy="0"/>
          <a:chOff x="0" y="0"/>
          <a:chExt cx="0" cy="0"/>
        </a:xfrm>
      </p:grpSpPr>
      <p:sp>
        <p:nvSpPr>
          <p:cNvPr id="9" name="Freeform 5"/>
          <p:cNvSpPr>
            <a:spLocks noSelect="1"/>
          </p:cNvSpPr>
          <p:nvPr userDrawn="1"/>
        </p:nvSpPr>
        <p:spPr bwMode="auto">
          <a:xfrm>
            <a:off x="0" y="5486400"/>
            <a:ext cx="2244725" cy="1371600"/>
          </a:xfrm>
          <a:custGeom>
            <a:avLst/>
            <a:gdLst>
              <a:gd name="T0" fmla="*/ 7067 w 7067"/>
              <a:gd name="T1" fmla="*/ 4319 h 4319"/>
              <a:gd name="T2" fmla="*/ 0 w 7067"/>
              <a:gd name="T3" fmla="*/ 4319 h 4319"/>
              <a:gd name="T4" fmla="*/ 0 w 7067"/>
              <a:gd name="T5" fmla="*/ 0 h 4319"/>
              <a:gd name="T6" fmla="*/ 2368 w 7067"/>
              <a:gd name="T7" fmla="*/ 255 h 4319"/>
              <a:gd name="T8" fmla="*/ 4620 w 7067"/>
              <a:gd name="T9" fmla="*/ 1446 h 4319"/>
              <a:gd name="T10" fmla="*/ 7067 w 7067"/>
              <a:gd name="T11" fmla="*/ 4319 h 4319"/>
            </a:gdLst>
            <a:ahLst/>
            <a:cxnLst>
              <a:cxn ang="0">
                <a:pos x="T0" y="T1"/>
              </a:cxn>
              <a:cxn ang="0">
                <a:pos x="T2" y="T3"/>
              </a:cxn>
              <a:cxn ang="0">
                <a:pos x="T4" y="T5"/>
              </a:cxn>
              <a:cxn ang="0">
                <a:pos x="T6" y="T7"/>
              </a:cxn>
              <a:cxn ang="0">
                <a:pos x="T8" y="T9"/>
              </a:cxn>
              <a:cxn ang="0">
                <a:pos x="T10" y="T11"/>
              </a:cxn>
            </a:cxnLst>
            <a:rect l="0" t="0" r="r" b="b"/>
            <a:pathLst>
              <a:path w="7067" h="4319">
                <a:moveTo>
                  <a:pt x="7067" y="4319"/>
                </a:moveTo>
                <a:cubicBezTo>
                  <a:pt x="0" y="4319"/>
                  <a:pt x="0" y="4319"/>
                  <a:pt x="0" y="4319"/>
                </a:cubicBezTo>
                <a:cubicBezTo>
                  <a:pt x="0" y="0"/>
                  <a:pt x="0" y="0"/>
                  <a:pt x="0" y="0"/>
                </a:cubicBezTo>
                <a:cubicBezTo>
                  <a:pt x="2368" y="255"/>
                  <a:pt x="2368" y="255"/>
                  <a:pt x="2368" y="255"/>
                </a:cubicBezTo>
                <a:cubicBezTo>
                  <a:pt x="3243" y="349"/>
                  <a:pt x="4049" y="775"/>
                  <a:pt x="4620" y="1446"/>
                </a:cubicBezTo>
                <a:lnTo>
                  <a:pt x="7067" y="4319"/>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2"/>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8" name="Tijdelijke aanduiding voor grafiek 7"/>
          <p:cNvSpPr>
            <a:spLocks noGrp="1" noSelect="1"/>
          </p:cNvSpPr>
          <p:nvPr>
            <p:ph type="chart" sz="quarter" idx="14" hasCustomPrompt="1"/>
          </p:nvPr>
        </p:nvSpPr>
        <p:spPr>
          <a:xfrm>
            <a:off x="6480000" y="1735016"/>
            <a:ext cx="4185140" cy="3716460"/>
          </a:xfrm>
        </p:spPr>
        <p:txBody>
          <a:bodyPr/>
          <a:lstStyle>
            <a:lvl1pPr marL="0" indent="0">
              <a:buNone/>
              <a:defRPr/>
            </a:lvl1pPr>
          </a:lstStyle>
          <a:p>
            <a:r>
              <a:rPr lang="nl-NL" dirty="0"/>
              <a:t>[Grafiek]</a:t>
            </a:r>
          </a:p>
        </p:txBody>
      </p:sp>
      <p:sp>
        <p:nvSpPr>
          <p:cNvPr id="10" name="Functie 5 (JU-Free)"/>
          <p:cNvSpPr>
            <a:spLocks noGrp="1"/>
          </p:cNvSpPr>
          <p:nvPr>
            <p:ph type="body" sz="quarter" idx="11" hasCustomPrompt="1"/>
          </p:nvPr>
        </p:nvSpPr>
        <p:spPr>
          <a:xfrm>
            <a:off x="6904892" y="5576607"/>
            <a:ext cx="3960000" cy="216000"/>
          </a:xfrm>
        </p:spPr>
        <p:txBody>
          <a:bodyPr/>
          <a:lstStyle>
            <a:lvl1pPr marL="0" indent="0" algn="l">
              <a:lnSpc>
                <a:spcPct val="100000"/>
              </a:lnSpc>
              <a:spcBef>
                <a:spcPts val="0"/>
              </a:spcBef>
              <a:buNone/>
              <a:defRPr sz="1050" b="0" i="1">
                <a:solidFill>
                  <a:srgbClr val="28348B"/>
                </a:solidFill>
              </a:defRPr>
            </a:lvl1pPr>
            <a:lvl2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2pPr>
            <a:lvl3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3pPr>
            <a:lvl4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4pPr>
            <a:lvl5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5pPr>
            <a:lvl6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6pPr>
            <a:lvl7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7pPr>
            <a:lvl8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8pPr>
            <a:lvl9pPr marL="0" marR="0" indent="0" algn="r" fontAlgn="auto">
              <a:lnSpc>
                <a:spcPct val="100000"/>
              </a:lnSpc>
              <a:spcBef>
                <a:spcPts val="0"/>
              </a:spcBef>
              <a:spcAft>
                <a:spcPts val="0"/>
              </a:spcAft>
              <a:buFontTx/>
              <a:buNone/>
              <a:defRPr kumimoji="0" sz="1200" b="0" i="1" u="none" baseline="0">
                <a:solidFill>
                  <a:schemeClr val="bg1">
                    <a:lumMod val="100000"/>
                  </a:schemeClr>
                </a:solidFill>
                <a:latin typeface="Arial" panose="020B0604020202020204" pitchFamily="34" charset="0"/>
              </a:defRPr>
            </a:lvl9pPr>
          </a:lstStyle>
          <a:p>
            <a:pPr lvl="0"/>
            <a:r>
              <a:rPr lang="nl-NL"/>
              <a:t>[Omschrijving inhoud grafiek]</a:t>
            </a:r>
            <a:endParaRPr lang="nl-NL" dirty="0"/>
          </a:p>
          <a:p>
            <a:pPr lvl="0"/>
            <a:r>
              <a:rPr lang="nl-NL" dirty="0"/>
              <a:t>JU-LEVEL1=Bijschrift</a:t>
            </a:r>
          </a:p>
        </p:txBody>
      </p:sp>
    </p:spTree>
    <p:extLst>
      <p:ext uri="{BB962C8B-B14F-4D97-AF65-F5344CB8AC3E}">
        <p14:creationId xmlns:p14="http://schemas.microsoft.com/office/powerpoint/2010/main" val="68946311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el, tekst (L) en afbeelding (R)">
    <p:spTree>
      <p:nvGrpSpPr>
        <p:cNvPr id="1" name=""/>
        <p:cNvGrpSpPr/>
        <p:nvPr/>
      </p:nvGrpSpPr>
      <p:grpSpPr>
        <a:xfrm>
          <a:off x="0" y="0"/>
          <a:ext cx="0" cy="0"/>
          <a:chOff x="0" y="0"/>
          <a:chExt cx="0" cy="0"/>
        </a:xfrm>
      </p:grpSpPr>
      <p:sp>
        <p:nvSpPr>
          <p:cNvPr id="8" name="Freeform 5"/>
          <p:cNvSpPr>
            <a:spLocks noSelect="1"/>
          </p:cNvSpPr>
          <p:nvPr userDrawn="1"/>
        </p:nvSpPr>
        <p:spPr bwMode="auto">
          <a:xfrm>
            <a:off x="0" y="3108325"/>
            <a:ext cx="768350" cy="2520950"/>
          </a:xfrm>
          <a:custGeom>
            <a:avLst/>
            <a:gdLst>
              <a:gd name="T0" fmla="*/ 2114 w 2420"/>
              <a:gd name="T1" fmla="*/ 5583 h 7939"/>
              <a:gd name="T2" fmla="*/ 1461 w 2420"/>
              <a:gd name="T3" fmla="*/ 6866 h 7939"/>
              <a:gd name="T4" fmla="*/ 0 w 2420"/>
              <a:gd name="T5" fmla="*/ 7939 h 7939"/>
              <a:gd name="T6" fmla="*/ 0 w 2420"/>
              <a:gd name="T7" fmla="*/ 0 h 7939"/>
              <a:gd name="T8" fmla="*/ 2073 w 2420"/>
              <a:gd name="T9" fmla="*/ 3677 h 7939"/>
              <a:gd name="T10" fmla="*/ 2114 w 2420"/>
              <a:gd name="T11" fmla="*/ 5583 h 7939"/>
            </a:gdLst>
            <a:ahLst/>
            <a:cxnLst>
              <a:cxn ang="0">
                <a:pos x="T0" y="T1"/>
              </a:cxn>
              <a:cxn ang="0">
                <a:pos x="T2" y="T3"/>
              </a:cxn>
              <a:cxn ang="0">
                <a:pos x="T4" y="T5"/>
              </a:cxn>
              <a:cxn ang="0">
                <a:pos x="T6" y="T7"/>
              </a:cxn>
              <a:cxn ang="0">
                <a:pos x="T8" y="T9"/>
              </a:cxn>
              <a:cxn ang="0">
                <a:pos x="T10" y="T11"/>
              </a:cxn>
            </a:cxnLst>
            <a:rect l="0" t="0" r="r" b="b"/>
            <a:pathLst>
              <a:path w="2420" h="7939">
                <a:moveTo>
                  <a:pt x="2114" y="5583"/>
                </a:moveTo>
                <a:cubicBezTo>
                  <a:pt x="1461" y="6866"/>
                  <a:pt x="1461" y="6866"/>
                  <a:pt x="1461" y="6866"/>
                </a:cubicBezTo>
                <a:cubicBezTo>
                  <a:pt x="1170" y="7438"/>
                  <a:pt x="626" y="7835"/>
                  <a:pt x="0" y="7939"/>
                </a:cubicBezTo>
                <a:cubicBezTo>
                  <a:pt x="0" y="0"/>
                  <a:pt x="0" y="0"/>
                  <a:pt x="0" y="0"/>
                </a:cubicBezTo>
                <a:cubicBezTo>
                  <a:pt x="2073" y="3677"/>
                  <a:pt x="2073" y="3677"/>
                  <a:pt x="2073" y="3677"/>
                </a:cubicBezTo>
                <a:cubicBezTo>
                  <a:pt x="2405" y="4265"/>
                  <a:pt x="2420" y="4981"/>
                  <a:pt x="2114" y="5583"/>
                </a:cubicBez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defRPr/>
            </a:lvl1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1999"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40238574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el, tekst (L) en afbeelding (R) groen">
    <p:spTree>
      <p:nvGrpSpPr>
        <p:cNvPr id="1" name=""/>
        <p:cNvGrpSpPr/>
        <p:nvPr/>
      </p:nvGrpSpPr>
      <p:grpSpPr>
        <a:xfrm>
          <a:off x="0" y="0"/>
          <a:ext cx="0" cy="0"/>
          <a:chOff x="0" y="0"/>
          <a:chExt cx="0" cy="0"/>
        </a:xfrm>
      </p:grpSpPr>
      <p:sp>
        <p:nvSpPr>
          <p:cNvPr id="8" name="Freeform 5"/>
          <p:cNvSpPr>
            <a:spLocks noSelect="1"/>
          </p:cNvSpPr>
          <p:nvPr userDrawn="1"/>
        </p:nvSpPr>
        <p:spPr bwMode="auto">
          <a:xfrm>
            <a:off x="0" y="3108325"/>
            <a:ext cx="768350" cy="2520950"/>
          </a:xfrm>
          <a:custGeom>
            <a:avLst/>
            <a:gdLst>
              <a:gd name="T0" fmla="*/ 2114 w 2420"/>
              <a:gd name="T1" fmla="*/ 5583 h 7939"/>
              <a:gd name="T2" fmla="*/ 1461 w 2420"/>
              <a:gd name="T3" fmla="*/ 6866 h 7939"/>
              <a:gd name="T4" fmla="*/ 0 w 2420"/>
              <a:gd name="T5" fmla="*/ 7939 h 7939"/>
              <a:gd name="T6" fmla="*/ 0 w 2420"/>
              <a:gd name="T7" fmla="*/ 0 h 7939"/>
              <a:gd name="T8" fmla="*/ 2073 w 2420"/>
              <a:gd name="T9" fmla="*/ 3677 h 7939"/>
              <a:gd name="T10" fmla="*/ 2114 w 2420"/>
              <a:gd name="T11" fmla="*/ 5583 h 7939"/>
            </a:gdLst>
            <a:ahLst/>
            <a:cxnLst>
              <a:cxn ang="0">
                <a:pos x="T0" y="T1"/>
              </a:cxn>
              <a:cxn ang="0">
                <a:pos x="T2" y="T3"/>
              </a:cxn>
              <a:cxn ang="0">
                <a:pos x="T4" y="T5"/>
              </a:cxn>
              <a:cxn ang="0">
                <a:pos x="T6" y="T7"/>
              </a:cxn>
              <a:cxn ang="0">
                <a:pos x="T8" y="T9"/>
              </a:cxn>
              <a:cxn ang="0">
                <a:pos x="T10" y="T11"/>
              </a:cxn>
            </a:cxnLst>
            <a:rect l="0" t="0" r="r" b="b"/>
            <a:pathLst>
              <a:path w="2420" h="7939">
                <a:moveTo>
                  <a:pt x="2114" y="5583"/>
                </a:moveTo>
                <a:cubicBezTo>
                  <a:pt x="1461" y="6866"/>
                  <a:pt x="1461" y="6866"/>
                  <a:pt x="1461" y="6866"/>
                </a:cubicBezTo>
                <a:cubicBezTo>
                  <a:pt x="1170" y="7438"/>
                  <a:pt x="626" y="7835"/>
                  <a:pt x="0" y="7939"/>
                </a:cubicBezTo>
                <a:cubicBezTo>
                  <a:pt x="0" y="0"/>
                  <a:pt x="0" y="0"/>
                  <a:pt x="0" y="0"/>
                </a:cubicBezTo>
                <a:cubicBezTo>
                  <a:pt x="2073" y="3677"/>
                  <a:pt x="2073" y="3677"/>
                  <a:pt x="2073" y="3677"/>
                </a:cubicBezTo>
                <a:cubicBezTo>
                  <a:pt x="2405" y="4265"/>
                  <a:pt x="2420" y="4981"/>
                  <a:pt x="2114" y="5583"/>
                </a:cubicBez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4"/>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1999"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395742822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el, tekst (L) en afbeelding (R) paars">
    <p:spTree>
      <p:nvGrpSpPr>
        <p:cNvPr id="1" name=""/>
        <p:cNvGrpSpPr/>
        <p:nvPr/>
      </p:nvGrpSpPr>
      <p:grpSpPr>
        <a:xfrm>
          <a:off x="0" y="0"/>
          <a:ext cx="0" cy="0"/>
          <a:chOff x="0" y="0"/>
          <a:chExt cx="0" cy="0"/>
        </a:xfrm>
      </p:grpSpPr>
      <p:sp>
        <p:nvSpPr>
          <p:cNvPr id="8" name="Freeform 5"/>
          <p:cNvSpPr>
            <a:spLocks noSelect="1"/>
          </p:cNvSpPr>
          <p:nvPr userDrawn="1"/>
        </p:nvSpPr>
        <p:spPr bwMode="auto">
          <a:xfrm>
            <a:off x="0" y="3108325"/>
            <a:ext cx="768350" cy="2520950"/>
          </a:xfrm>
          <a:custGeom>
            <a:avLst/>
            <a:gdLst>
              <a:gd name="T0" fmla="*/ 2114 w 2420"/>
              <a:gd name="T1" fmla="*/ 5583 h 7939"/>
              <a:gd name="T2" fmla="*/ 1461 w 2420"/>
              <a:gd name="T3" fmla="*/ 6866 h 7939"/>
              <a:gd name="T4" fmla="*/ 0 w 2420"/>
              <a:gd name="T5" fmla="*/ 7939 h 7939"/>
              <a:gd name="T6" fmla="*/ 0 w 2420"/>
              <a:gd name="T7" fmla="*/ 0 h 7939"/>
              <a:gd name="T8" fmla="*/ 2073 w 2420"/>
              <a:gd name="T9" fmla="*/ 3677 h 7939"/>
              <a:gd name="T10" fmla="*/ 2114 w 2420"/>
              <a:gd name="T11" fmla="*/ 5583 h 7939"/>
            </a:gdLst>
            <a:ahLst/>
            <a:cxnLst>
              <a:cxn ang="0">
                <a:pos x="T0" y="T1"/>
              </a:cxn>
              <a:cxn ang="0">
                <a:pos x="T2" y="T3"/>
              </a:cxn>
              <a:cxn ang="0">
                <a:pos x="T4" y="T5"/>
              </a:cxn>
              <a:cxn ang="0">
                <a:pos x="T6" y="T7"/>
              </a:cxn>
              <a:cxn ang="0">
                <a:pos x="T8" y="T9"/>
              </a:cxn>
              <a:cxn ang="0">
                <a:pos x="T10" y="T11"/>
              </a:cxn>
            </a:cxnLst>
            <a:rect l="0" t="0" r="r" b="b"/>
            <a:pathLst>
              <a:path w="2420" h="7939">
                <a:moveTo>
                  <a:pt x="2114" y="5583"/>
                </a:moveTo>
                <a:cubicBezTo>
                  <a:pt x="1461" y="6866"/>
                  <a:pt x="1461" y="6866"/>
                  <a:pt x="1461" y="6866"/>
                </a:cubicBezTo>
                <a:cubicBezTo>
                  <a:pt x="1170" y="7438"/>
                  <a:pt x="626" y="7835"/>
                  <a:pt x="0" y="7939"/>
                </a:cubicBezTo>
                <a:cubicBezTo>
                  <a:pt x="0" y="0"/>
                  <a:pt x="0" y="0"/>
                  <a:pt x="0" y="0"/>
                </a:cubicBezTo>
                <a:cubicBezTo>
                  <a:pt x="2073" y="3677"/>
                  <a:pt x="2073" y="3677"/>
                  <a:pt x="2073" y="3677"/>
                </a:cubicBezTo>
                <a:cubicBezTo>
                  <a:pt x="2405" y="4265"/>
                  <a:pt x="2420" y="4981"/>
                  <a:pt x="2114" y="5583"/>
                </a:cubicBez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3"/>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1999"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5539469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el, tekst (L) en afbeelding (R) roze">
    <p:spTree>
      <p:nvGrpSpPr>
        <p:cNvPr id="1" name=""/>
        <p:cNvGrpSpPr/>
        <p:nvPr/>
      </p:nvGrpSpPr>
      <p:grpSpPr>
        <a:xfrm>
          <a:off x="0" y="0"/>
          <a:ext cx="0" cy="0"/>
          <a:chOff x="0" y="0"/>
          <a:chExt cx="0" cy="0"/>
        </a:xfrm>
      </p:grpSpPr>
      <p:sp>
        <p:nvSpPr>
          <p:cNvPr id="8" name="Freeform 5"/>
          <p:cNvSpPr>
            <a:spLocks noSelect="1"/>
          </p:cNvSpPr>
          <p:nvPr userDrawn="1"/>
        </p:nvSpPr>
        <p:spPr bwMode="auto">
          <a:xfrm>
            <a:off x="0" y="3108325"/>
            <a:ext cx="768350" cy="2520950"/>
          </a:xfrm>
          <a:custGeom>
            <a:avLst/>
            <a:gdLst>
              <a:gd name="T0" fmla="*/ 2114 w 2420"/>
              <a:gd name="T1" fmla="*/ 5583 h 7939"/>
              <a:gd name="T2" fmla="*/ 1461 w 2420"/>
              <a:gd name="T3" fmla="*/ 6866 h 7939"/>
              <a:gd name="T4" fmla="*/ 0 w 2420"/>
              <a:gd name="T5" fmla="*/ 7939 h 7939"/>
              <a:gd name="T6" fmla="*/ 0 w 2420"/>
              <a:gd name="T7" fmla="*/ 0 h 7939"/>
              <a:gd name="T8" fmla="*/ 2073 w 2420"/>
              <a:gd name="T9" fmla="*/ 3677 h 7939"/>
              <a:gd name="T10" fmla="*/ 2114 w 2420"/>
              <a:gd name="T11" fmla="*/ 5583 h 7939"/>
            </a:gdLst>
            <a:ahLst/>
            <a:cxnLst>
              <a:cxn ang="0">
                <a:pos x="T0" y="T1"/>
              </a:cxn>
              <a:cxn ang="0">
                <a:pos x="T2" y="T3"/>
              </a:cxn>
              <a:cxn ang="0">
                <a:pos x="T4" y="T5"/>
              </a:cxn>
              <a:cxn ang="0">
                <a:pos x="T6" y="T7"/>
              </a:cxn>
              <a:cxn ang="0">
                <a:pos x="T8" y="T9"/>
              </a:cxn>
              <a:cxn ang="0">
                <a:pos x="T10" y="T11"/>
              </a:cxn>
            </a:cxnLst>
            <a:rect l="0" t="0" r="r" b="b"/>
            <a:pathLst>
              <a:path w="2420" h="7939">
                <a:moveTo>
                  <a:pt x="2114" y="5583"/>
                </a:moveTo>
                <a:cubicBezTo>
                  <a:pt x="1461" y="6866"/>
                  <a:pt x="1461" y="6866"/>
                  <a:pt x="1461" y="6866"/>
                </a:cubicBezTo>
                <a:cubicBezTo>
                  <a:pt x="1170" y="7438"/>
                  <a:pt x="626" y="7835"/>
                  <a:pt x="0" y="7939"/>
                </a:cubicBezTo>
                <a:cubicBezTo>
                  <a:pt x="0" y="0"/>
                  <a:pt x="0" y="0"/>
                  <a:pt x="0" y="0"/>
                </a:cubicBezTo>
                <a:cubicBezTo>
                  <a:pt x="2073" y="3677"/>
                  <a:pt x="2073" y="3677"/>
                  <a:pt x="2073" y="3677"/>
                </a:cubicBezTo>
                <a:cubicBezTo>
                  <a:pt x="2405" y="4265"/>
                  <a:pt x="2420" y="4981"/>
                  <a:pt x="2114" y="5583"/>
                </a:cubicBez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2"/>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6191999"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330557972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kst (R) en afbeelding (L)">
    <p:spTree>
      <p:nvGrpSpPr>
        <p:cNvPr id="1" name=""/>
        <p:cNvGrpSpPr/>
        <p:nvPr/>
      </p:nvGrpSpPr>
      <p:grpSpPr>
        <a:xfrm>
          <a:off x="0" y="0"/>
          <a:ext cx="0" cy="0"/>
          <a:chOff x="0" y="0"/>
          <a:chExt cx="0" cy="0"/>
        </a:xfrm>
      </p:grpSpPr>
      <p:sp>
        <p:nvSpPr>
          <p:cNvPr id="8" name="Freeform 5"/>
          <p:cNvSpPr>
            <a:spLocks noSelect="1"/>
          </p:cNvSpPr>
          <p:nvPr userDrawn="1"/>
        </p:nvSpPr>
        <p:spPr bwMode="auto">
          <a:xfrm>
            <a:off x="11696700" y="2068513"/>
            <a:ext cx="495300" cy="3249613"/>
          </a:xfrm>
          <a:custGeom>
            <a:avLst/>
            <a:gdLst>
              <a:gd name="T0" fmla="*/ 1561 w 1561"/>
              <a:gd name="T1" fmla="*/ 0 h 10236"/>
              <a:gd name="T2" fmla="*/ 1561 w 1561"/>
              <a:gd name="T3" fmla="*/ 10236 h 10236"/>
              <a:gd name="T4" fmla="*/ 793 w 1561"/>
              <a:gd name="T5" fmla="*/ 8868 h 10236"/>
              <a:gd name="T6" fmla="*/ 73 w 1561"/>
              <a:gd name="T7" fmla="*/ 2452 h 10236"/>
              <a:gd name="T8" fmla="*/ 752 w 1561"/>
              <a:gd name="T9" fmla="*/ 706 h 10236"/>
              <a:gd name="T10" fmla="*/ 1561 w 1561"/>
              <a:gd name="T11" fmla="*/ 0 h 10236"/>
            </a:gdLst>
            <a:ahLst/>
            <a:cxnLst>
              <a:cxn ang="0">
                <a:pos x="T0" y="T1"/>
              </a:cxn>
              <a:cxn ang="0">
                <a:pos x="T2" y="T3"/>
              </a:cxn>
              <a:cxn ang="0">
                <a:pos x="T4" y="T5"/>
              </a:cxn>
              <a:cxn ang="0">
                <a:pos x="T6" y="T7"/>
              </a:cxn>
              <a:cxn ang="0">
                <a:pos x="T8" y="T9"/>
              </a:cxn>
              <a:cxn ang="0">
                <a:pos x="T10" y="T11"/>
              </a:cxn>
            </a:cxnLst>
            <a:rect l="0" t="0" r="r" b="b"/>
            <a:pathLst>
              <a:path w="1561" h="10236">
                <a:moveTo>
                  <a:pt x="1561" y="0"/>
                </a:moveTo>
                <a:cubicBezTo>
                  <a:pt x="1561" y="10236"/>
                  <a:pt x="1561" y="10236"/>
                  <a:pt x="1561" y="10236"/>
                </a:cubicBezTo>
                <a:cubicBezTo>
                  <a:pt x="1146" y="9915"/>
                  <a:pt x="856" y="9432"/>
                  <a:pt x="793" y="8868"/>
                </a:cubicBezTo>
                <a:cubicBezTo>
                  <a:pt x="73" y="2452"/>
                  <a:pt x="73" y="2452"/>
                  <a:pt x="73" y="2452"/>
                </a:cubicBezTo>
                <a:cubicBezTo>
                  <a:pt x="0" y="1794"/>
                  <a:pt x="253" y="1141"/>
                  <a:pt x="752" y="706"/>
                </a:cubicBezTo>
                <a:lnTo>
                  <a:pt x="1561" y="0"/>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6" name="Tijdelijke aanduiding voor tekst 5"/>
          <p:cNvSpPr>
            <a:spLocks noGrp="1" noSelect="1"/>
          </p:cNvSpPr>
          <p:nvPr>
            <p:ph type="body" sz="quarter" idx="13" hasCustomPrompt="1"/>
          </p:nvPr>
        </p:nvSpPr>
        <p:spPr>
          <a:xfrm>
            <a:off x="6582094" y="1817688"/>
            <a:ext cx="4320000" cy="4068000"/>
          </a:xfrm>
        </p:spPr>
        <p:txBody>
          <a:bodyPr/>
          <a:lstStyle>
            <a:lvl1pPr>
              <a:defRPr/>
            </a:lvl1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0"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183437339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kst (R) en afbeelding (L) groen">
    <p:spTree>
      <p:nvGrpSpPr>
        <p:cNvPr id="1" name=""/>
        <p:cNvGrpSpPr/>
        <p:nvPr/>
      </p:nvGrpSpPr>
      <p:grpSpPr>
        <a:xfrm>
          <a:off x="0" y="0"/>
          <a:ext cx="0" cy="0"/>
          <a:chOff x="0" y="0"/>
          <a:chExt cx="0" cy="0"/>
        </a:xfrm>
      </p:grpSpPr>
      <p:sp>
        <p:nvSpPr>
          <p:cNvPr id="8" name="Freeform 5"/>
          <p:cNvSpPr>
            <a:spLocks noSelect="1"/>
          </p:cNvSpPr>
          <p:nvPr userDrawn="1"/>
        </p:nvSpPr>
        <p:spPr bwMode="auto">
          <a:xfrm>
            <a:off x="11696700" y="2068513"/>
            <a:ext cx="495300" cy="3249613"/>
          </a:xfrm>
          <a:custGeom>
            <a:avLst/>
            <a:gdLst>
              <a:gd name="T0" fmla="*/ 1561 w 1561"/>
              <a:gd name="T1" fmla="*/ 0 h 10236"/>
              <a:gd name="T2" fmla="*/ 1561 w 1561"/>
              <a:gd name="T3" fmla="*/ 10236 h 10236"/>
              <a:gd name="T4" fmla="*/ 793 w 1561"/>
              <a:gd name="T5" fmla="*/ 8868 h 10236"/>
              <a:gd name="T6" fmla="*/ 73 w 1561"/>
              <a:gd name="T7" fmla="*/ 2452 h 10236"/>
              <a:gd name="T8" fmla="*/ 752 w 1561"/>
              <a:gd name="T9" fmla="*/ 706 h 10236"/>
              <a:gd name="T10" fmla="*/ 1561 w 1561"/>
              <a:gd name="T11" fmla="*/ 0 h 10236"/>
            </a:gdLst>
            <a:ahLst/>
            <a:cxnLst>
              <a:cxn ang="0">
                <a:pos x="T0" y="T1"/>
              </a:cxn>
              <a:cxn ang="0">
                <a:pos x="T2" y="T3"/>
              </a:cxn>
              <a:cxn ang="0">
                <a:pos x="T4" y="T5"/>
              </a:cxn>
              <a:cxn ang="0">
                <a:pos x="T6" y="T7"/>
              </a:cxn>
              <a:cxn ang="0">
                <a:pos x="T8" y="T9"/>
              </a:cxn>
              <a:cxn ang="0">
                <a:pos x="T10" y="T11"/>
              </a:cxn>
            </a:cxnLst>
            <a:rect l="0" t="0" r="r" b="b"/>
            <a:pathLst>
              <a:path w="1561" h="10236">
                <a:moveTo>
                  <a:pt x="1561" y="0"/>
                </a:moveTo>
                <a:cubicBezTo>
                  <a:pt x="1561" y="10236"/>
                  <a:pt x="1561" y="10236"/>
                  <a:pt x="1561" y="10236"/>
                </a:cubicBezTo>
                <a:cubicBezTo>
                  <a:pt x="1146" y="9915"/>
                  <a:pt x="856" y="9432"/>
                  <a:pt x="793" y="8868"/>
                </a:cubicBezTo>
                <a:cubicBezTo>
                  <a:pt x="73" y="2452"/>
                  <a:pt x="73" y="2452"/>
                  <a:pt x="73" y="2452"/>
                </a:cubicBezTo>
                <a:cubicBezTo>
                  <a:pt x="0" y="1794"/>
                  <a:pt x="253" y="1141"/>
                  <a:pt x="752" y="706"/>
                </a:cubicBezTo>
                <a:lnTo>
                  <a:pt x="1561" y="0"/>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6" name="Tijdelijke aanduiding voor tekst 5"/>
          <p:cNvSpPr>
            <a:spLocks noGrp="1" noSelect="1"/>
          </p:cNvSpPr>
          <p:nvPr>
            <p:ph type="body" sz="quarter" idx="13" hasCustomPrompt="1"/>
          </p:nvPr>
        </p:nvSpPr>
        <p:spPr>
          <a:xfrm>
            <a:off x="6582094" y="1817688"/>
            <a:ext cx="4320000"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0"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32334026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kst (R) en afbeelding (L) paars">
    <p:spTree>
      <p:nvGrpSpPr>
        <p:cNvPr id="1" name=""/>
        <p:cNvGrpSpPr/>
        <p:nvPr/>
      </p:nvGrpSpPr>
      <p:grpSpPr>
        <a:xfrm>
          <a:off x="0" y="0"/>
          <a:ext cx="0" cy="0"/>
          <a:chOff x="0" y="0"/>
          <a:chExt cx="0" cy="0"/>
        </a:xfrm>
      </p:grpSpPr>
      <p:sp>
        <p:nvSpPr>
          <p:cNvPr id="8" name="Freeform 5"/>
          <p:cNvSpPr>
            <a:spLocks noSelect="1"/>
          </p:cNvSpPr>
          <p:nvPr userDrawn="1"/>
        </p:nvSpPr>
        <p:spPr bwMode="auto">
          <a:xfrm>
            <a:off x="11696700" y="2068513"/>
            <a:ext cx="495300" cy="3249613"/>
          </a:xfrm>
          <a:custGeom>
            <a:avLst/>
            <a:gdLst>
              <a:gd name="T0" fmla="*/ 1561 w 1561"/>
              <a:gd name="T1" fmla="*/ 0 h 10236"/>
              <a:gd name="T2" fmla="*/ 1561 w 1561"/>
              <a:gd name="T3" fmla="*/ 10236 h 10236"/>
              <a:gd name="T4" fmla="*/ 793 w 1561"/>
              <a:gd name="T5" fmla="*/ 8868 h 10236"/>
              <a:gd name="T6" fmla="*/ 73 w 1561"/>
              <a:gd name="T7" fmla="*/ 2452 h 10236"/>
              <a:gd name="T8" fmla="*/ 752 w 1561"/>
              <a:gd name="T9" fmla="*/ 706 h 10236"/>
              <a:gd name="T10" fmla="*/ 1561 w 1561"/>
              <a:gd name="T11" fmla="*/ 0 h 10236"/>
            </a:gdLst>
            <a:ahLst/>
            <a:cxnLst>
              <a:cxn ang="0">
                <a:pos x="T0" y="T1"/>
              </a:cxn>
              <a:cxn ang="0">
                <a:pos x="T2" y="T3"/>
              </a:cxn>
              <a:cxn ang="0">
                <a:pos x="T4" y="T5"/>
              </a:cxn>
              <a:cxn ang="0">
                <a:pos x="T6" y="T7"/>
              </a:cxn>
              <a:cxn ang="0">
                <a:pos x="T8" y="T9"/>
              </a:cxn>
              <a:cxn ang="0">
                <a:pos x="T10" y="T11"/>
              </a:cxn>
            </a:cxnLst>
            <a:rect l="0" t="0" r="r" b="b"/>
            <a:pathLst>
              <a:path w="1561" h="10236">
                <a:moveTo>
                  <a:pt x="1561" y="0"/>
                </a:moveTo>
                <a:cubicBezTo>
                  <a:pt x="1561" y="10236"/>
                  <a:pt x="1561" y="10236"/>
                  <a:pt x="1561" y="10236"/>
                </a:cubicBezTo>
                <a:cubicBezTo>
                  <a:pt x="1146" y="9915"/>
                  <a:pt x="856" y="9432"/>
                  <a:pt x="793" y="8868"/>
                </a:cubicBezTo>
                <a:cubicBezTo>
                  <a:pt x="73" y="2452"/>
                  <a:pt x="73" y="2452"/>
                  <a:pt x="73" y="2452"/>
                </a:cubicBezTo>
                <a:cubicBezTo>
                  <a:pt x="0" y="1794"/>
                  <a:pt x="253" y="1141"/>
                  <a:pt x="752" y="706"/>
                </a:cubicBezTo>
                <a:lnTo>
                  <a:pt x="1561" y="0"/>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6" name="Tijdelijke aanduiding voor tekst 5"/>
          <p:cNvSpPr>
            <a:spLocks noGrp="1" noSelect="1"/>
          </p:cNvSpPr>
          <p:nvPr>
            <p:ph type="body" sz="quarter" idx="13" hasCustomPrompt="1"/>
          </p:nvPr>
        </p:nvSpPr>
        <p:spPr>
          <a:xfrm>
            <a:off x="6582094" y="1817688"/>
            <a:ext cx="4320000"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0"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409668918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kst (R) en afbeelding (L) roze">
    <p:spTree>
      <p:nvGrpSpPr>
        <p:cNvPr id="1" name=""/>
        <p:cNvGrpSpPr/>
        <p:nvPr/>
      </p:nvGrpSpPr>
      <p:grpSpPr>
        <a:xfrm>
          <a:off x="0" y="0"/>
          <a:ext cx="0" cy="0"/>
          <a:chOff x="0" y="0"/>
          <a:chExt cx="0" cy="0"/>
        </a:xfrm>
      </p:grpSpPr>
      <p:sp>
        <p:nvSpPr>
          <p:cNvPr id="8" name="Freeform 5"/>
          <p:cNvSpPr>
            <a:spLocks noSelect="1"/>
          </p:cNvSpPr>
          <p:nvPr userDrawn="1"/>
        </p:nvSpPr>
        <p:spPr bwMode="auto">
          <a:xfrm>
            <a:off x="11696700" y="2068513"/>
            <a:ext cx="495300" cy="3249613"/>
          </a:xfrm>
          <a:custGeom>
            <a:avLst/>
            <a:gdLst>
              <a:gd name="T0" fmla="*/ 1561 w 1561"/>
              <a:gd name="T1" fmla="*/ 0 h 10236"/>
              <a:gd name="T2" fmla="*/ 1561 w 1561"/>
              <a:gd name="T3" fmla="*/ 10236 h 10236"/>
              <a:gd name="T4" fmla="*/ 793 w 1561"/>
              <a:gd name="T5" fmla="*/ 8868 h 10236"/>
              <a:gd name="T6" fmla="*/ 73 w 1561"/>
              <a:gd name="T7" fmla="*/ 2452 h 10236"/>
              <a:gd name="T8" fmla="*/ 752 w 1561"/>
              <a:gd name="T9" fmla="*/ 706 h 10236"/>
              <a:gd name="T10" fmla="*/ 1561 w 1561"/>
              <a:gd name="T11" fmla="*/ 0 h 10236"/>
            </a:gdLst>
            <a:ahLst/>
            <a:cxnLst>
              <a:cxn ang="0">
                <a:pos x="T0" y="T1"/>
              </a:cxn>
              <a:cxn ang="0">
                <a:pos x="T2" y="T3"/>
              </a:cxn>
              <a:cxn ang="0">
                <a:pos x="T4" y="T5"/>
              </a:cxn>
              <a:cxn ang="0">
                <a:pos x="T6" y="T7"/>
              </a:cxn>
              <a:cxn ang="0">
                <a:pos x="T8" y="T9"/>
              </a:cxn>
              <a:cxn ang="0">
                <a:pos x="T10" y="T11"/>
              </a:cxn>
            </a:cxnLst>
            <a:rect l="0" t="0" r="r" b="b"/>
            <a:pathLst>
              <a:path w="1561" h="10236">
                <a:moveTo>
                  <a:pt x="1561" y="0"/>
                </a:moveTo>
                <a:cubicBezTo>
                  <a:pt x="1561" y="10236"/>
                  <a:pt x="1561" y="10236"/>
                  <a:pt x="1561" y="10236"/>
                </a:cubicBezTo>
                <a:cubicBezTo>
                  <a:pt x="1146" y="9915"/>
                  <a:pt x="856" y="9432"/>
                  <a:pt x="793" y="8868"/>
                </a:cubicBezTo>
                <a:cubicBezTo>
                  <a:pt x="73" y="2452"/>
                  <a:pt x="73" y="2452"/>
                  <a:pt x="73" y="2452"/>
                </a:cubicBezTo>
                <a:cubicBezTo>
                  <a:pt x="0" y="1794"/>
                  <a:pt x="253" y="1141"/>
                  <a:pt x="752" y="706"/>
                </a:cubicBezTo>
                <a:lnTo>
                  <a:pt x="1561" y="0"/>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6" name="Tijdelijke aanduiding voor tekst 5"/>
          <p:cNvSpPr>
            <a:spLocks noGrp="1" noSelect="1"/>
          </p:cNvSpPr>
          <p:nvPr>
            <p:ph type="body" sz="quarter" idx="13" hasCustomPrompt="1"/>
          </p:nvPr>
        </p:nvSpPr>
        <p:spPr>
          <a:xfrm>
            <a:off x="6582094" y="1817688"/>
            <a:ext cx="4320000"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7" name="Tijdelijke aanduiding voor afbeelding 6"/>
          <p:cNvSpPr>
            <a:spLocks noGrp="1" noSelect="1"/>
          </p:cNvSpPr>
          <p:nvPr>
            <p:ph type="pic" sz="quarter" idx="14" hasCustomPrompt="1"/>
          </p:nvPr>
        </p:nvSpPr>
        <p:spPr>
          <a:xfrm>
            <a:off x="0" y="0"/>
            <a:ext cx="6001200" cy="6858000"/>
          </a:xfrm>
        </p:spPr>
        <p:txBody>
          <a:bodyPr/>
          <a:lstStyle>
            <a:lvl1pPr marL="0" indent="0">
              <a:buNone/>
              <a:defRPr baseline="0"/>
            </a:lvl1pPr>
          </a:lstStyle>
          <a:p>
            <a:r>
              <a:rPr lang="nl-NL" dirty="0"/>
              <a:t>[Klik op het pictogram om een afbeelding in te voegen] </a:t>
            </a:r>
          </a:p>
        </p:txBody>
      </p:sp>
    </p:spTree>
    <p:extLst>
      <p:ext uri="{BB962C8B-B14F-4D97-AF65-F5344CB8AC3E}">
        <p14:creationId xmlns:p14="http://schemas.microsoft.com/office/powerpoint/2010/main" val="1614976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ok oranje">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8DFD0DB6-4501-4C0B-ADCE-53D8671319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1730326" y="2419643"/>
            <a:ext cx="8975188" cy="329184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3">
            <a:extLst>
              <a:ext uri="{FF2B5EF4-FFF2-40B4-BE49-F238E27FC236}">
                <a16:creationId xmlns:a16="http://schemas.microsoft.com/office/drawing/2014/main" id="{2924EADD-7BFE-4AE9-BB46-0533D8CAEAF0}"/>
              </a:ext>
            </a:extLst>
          </p:cNvPr>
          <p:cNvSpPr>
            <a:spLocks noGrp="1"/>
          </p:cNvSpPr>
          <p:nvPr>
            <p:ph type="dt" sz="half" idx="10"/>
          </p:nvPr>
        </p:nvSpPr>
        <p:spPr/>
        <p:txBody>
          <a:bodyPr/>
          <a:lstStyle>
            <a:lvl1pPr>
              <a:defRPr/>
            </a:lvl1pPr>
          </a:lstStyle>
          <a:p>
            <a:pPr>
              <a:defRPr/>
            </a:pPr>
            <a:fld id="{7D5075CF-B1D8-4651-8BF0-50FB9671BA57}" type="datetimeFigureOut">
              <a:rPr lang="nl-NL"/>
              <a:pPr>
                <a:defRPr/>
              </a:pPr>
              <a:t>28-9-2022</a:t>
            </a:fld>
            <a:endParaRPr lang="nl-NL"/>
          </a:p>
        </p:txBody>
      </p:sp>
      <p:sp>
        <p:nvSpPr>
          <p:cNvPr id="6" name="Tijdelijke aanduiding voor voettekst 4">
            <a:extLst>
              <a:ext uri="{FF2B5EF4-FFF2-40B4-BE49-F238E27FC236}">
                <a16:creationId xmlns:a16="http://schemas.microsoft.com/office/drawing/2014/main" id="{A370CD14-E6B0-43E3-9D08-30FBFD663CF5}"/>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8D2C9C53-9321-43E6-8783-50622A9E95BA}"/>
              </a:ext>
            </a:extLst>
          </p:cNvPr>
          <p:cNvSpPr>
            <a:spLocks noGrp="1"/>
          </p:cNvSpPr>
          <p:nvPr>
            <p:ph type="sldNum" sz="quarter" idx="12"/>
          </p:nvPr>
        </p:nvSpPr>
        <p:spPr/>
        <p:txBody>
          <a:bodyPr/>
          <a:lstStyle>
            <a:lvl1pPr>
              <a:defRPr/>
            </a:lvl1pPr>
          </a:lstStyle>
          <a:p>
            <a:pPr>
              <a:defRPr/>
            </a:pPr>
            <a:fld id="{B6A8EFF9-3601-4EEC-9EF9-630C79E74099}" type="slidenum">
              <a:rPr lang="nl-NL"/>
              <a:pPr>
                <a:defRPr/>
              </a:pPr>
              <a:t>‹nr.›</a:t>
            </a:fld>
            <a:endParaRPr lang="nl-NL"/>
          </a:p>
        </p:txBody>
      </p:sp>
    </p:spTree>
    <p:extLst>
      <p:ext uri="{BB962C8B-B14F-4D97-AF65-F5344CB8AC3E}">
        <p14:creationId xmlns:p14="http://schemas.microsoft.com/office/powerpoint/2010/main" val="37459279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el, tekst (L) en tekst op vorm (R)">
    <p:spTree>
      <p:nvGrpSpPr>
        <p:cNvPr id="1" name=""/>
        <p:cNvGrpSpPr/>
        <p:nvPr/>
      </p:nvGrpSpPr>
      <p:grpSpPr>
        <a:xfrm>
          <a:off x="0" y="0"/>
          <a:ext cx="0" cy="0"/>
          <a:chOff x="0" y="0"/>
          <a:chExt cx="0" cy="0"/>
        </a:xfrm>
      </p:grpSpPr>
      <p:sp>
        <p:nvSpPr>
          <p:cNvPr id="7" name="Freeform 5"/>
          <p:cNvSpPr>
            <a:spLocks noSelect="1"/>
          </p:cNvSpPr>
          <p:nvPr userDrawn="1"/>
        </p:nvSpPr>
        <p:spPr bwMode="auto">
          <a:xfrm>
            <a:off x="5894388" y="0"/>
            <a:ext cx="6297613" cy="6858000"/>
          </a:xfrm>
          <a:custGeom>
            <a:avLst/>
            <a:gdLst>
              <a:gd name="T0" fmla="*/ 19838 w 19838"/>
              <a:gd name="T1" fmla="*/ 0 h 21600"/>
              <a:gd name="T2" fmla="*/ 19838 w 19838"/>
              <a:gd name="T3" fmla="*/ 21600 h 21600"/>
              <a:gd name="T4" fmla="*/ 2032 w 19838"/>
              <a:gd name="T5" fmla="*/ 21600 h 21600"/>
              <a:gd name="T6" fmla="*/ 1321 w 19838"/>
              <a:gd name="T7" fmla="*/ 19486 h 21600"/>
              <a:gd name="T8" fmla="*/ 122 w 19838"/>
              <a:gd name="T9" fmla="*/ 4744 h 21600"/>
              <a:gd name="T10" fmla="*/ 1798 w 19838"/>
              <a:gd name="T11" fmla="*/ 794 h 21600"/>
              <a:gd name="T12" fmla="*/ 2766 w 19838"/>
              <a:gd name="T13" fmla="*/ 0 h 21600"/>
              <a:gd name="T14" fmla="*/ 19838 w 19838"/>
              <a:gd name="T15" fmla="*/ 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38" h="21600">
                <a:moveTo>
                  <a:pt x="19838" y="0"/>
                </a:moveTo>
                <a:cubicBezTo>
                  <a:pt x="19838" y="21600"/>
                  <a:pt x="19838" y="21600"/>
                  <a:pt x="19838" y="21600"/>
                </a:cubicBezTo>
                <a:cubicBezTo>
                  <a:pt x="2032" y="21600"/>
                  <a:pt x="2032" y="21600"/>
                  <a:pt x="2032" y="21600"/>
                </a:cubicBezTo>
                <a:cubicBezTo>
                  <a:pt x="1637" y="20984"/>
                  <a:pt x="1384" y="20266"/>
                  <a:pt x="1321" y="19486"/>
                </a:cubicBezTo>
                <a:cubicBezTo>
                  <a:pt x="122" y="4744"/>
                  <a:pt x="122" y="4744"/>
                  <a:pt x="122" y="4744"/>
                </a:cubicBezTo>
                <a:cubicBezTo>
                  <a:pt x="0" y="3232"/>
                  <a:pt x="626" y="1756"/>
                  <a:pt x="1798" y="794"/>
                </a:cubicBezTo>
                <a:cubicBezTo>
                  <a:pt x="2766" y="0"/>
                  <a:pt x="2766" y="0"/>
                  <a:pt x="2766" y="0"/>
                </a:cubicBezTo>
                <a:lnTo>
                  <a:pt x="19838" y="0"/>
                </a:lnTo>
                <a:close/>
              </a:path>
            </a:pathLst>
          </a:custGeom>
          <a:solidFill>
            <a:srgbClr val="B7E2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defRPr/>
            </a:lvl1pPr>
          </a:lstStyle>
          <a:p>
            <a:pPr lvl="0"/>
            <a:r>
              <a:rPr lang="nl-NL" dirty="0"/>
              <a:t>[Tekst]</a:t>
            </a:r>
          </a:p>
        </p:txBody>
      </p:sp>
      <p:sp>
        <p:nvSpPr>
          <p:cNvPr id="9" name="Tijdelijke aanduiding voor tekst 6"/>
          <p:cNvSpPr>
            <a:spLocks noGrp="1" noSelect="1"/>
          </p:cNvSpPr>
          <p:nvPr>
            <p:ph type="body" sz="quarter" idx="14" hasCustomPrompt="1"/>
          </p:nvPr>
        </p:nvSpPr>
        <p:spPr>
          <a:xfrm>
            <a:off x="6584462" y="1817688"/>
            <a:ext cx="4320000" cy="4068000"/>
          </a:xfrm>
        </p:spPr>
        <p:txBody>
          <a:bodyPr/>
          <a:lstStyle>
            <a:lvl1pPr>
              <a:defRPr>
                <a:solidFill>
                  <a:srgbClr val="003F5F"/>
                </a:solidFill>
              </a:defRPr>
            </a:lvl1pPr>
            <a:lvl2pPr>
              <a:defRPr>
                <a:solidFill>
                  <a:srgbClr val="003F5F"/>
                </a:solidFill>
              </a:defRPr>
            </a:lvl2pPr>
            <a:lvl3pPr>
              <a:defRPr>
                <a:solidFill>
                  <a:srgbClr val="003F5F"/>
                </a:solidFill>
              </a:defRPr>
            </a:lvl3pPr>
            <a:lvl4pPr>
              <a:defRPr>
                <a:solidFill>
                  <a:srgbClr val="003F5F"/>
                </a:solidFill>
              </a:defRPr>
            </a:lvl4pPr>
            <a:lvl5pPr>
              <a:defRPr>
                <a:solidFill>
                  <a:srgbClr val="003F5F"/>
                </a:solidFill>
              </a:defRPr>
            </a:lvl5pPr>
            <a:lvl6pPr>
              <a:defRPr>
                <a:solidFill>
                  <a:srgbClr val="003F5F"/>
                </a:solidFill>
              </a:defRPr>
            </a:lvl6pPr>
            <a:lvl7pPr>
              <a:defRPr>
                <a:solidFill>
                  <a:srgbClr val="003F5F"/>
                </a:solidFill>
              </a:defRPr>
            </a:lvl7pPr>
            <a:lvl8pPr>
              <a:defRPr>
                <a:solidFill>
                  <a:srgbClr val="003F5F"/>
                </a:solidFill>
              </a:defRPr>
            </a:lvl8pPr>
            <a:lvl9pPr>
              <a:defRPr>
                <a:solidFill>
                  <a:srgbClr val="003F5F"/>
                </a:solidFill>
              </a:defRPr>
            </a:lvl9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18203817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el, tekst (L) en tekst op vorm (R) groen">
    <p:spTree>
      <p:nvGrpSpPr>
        <p:cNvPr id="1" name=""/>
        <p:cNvGrpSpPr/>
        <p:nvPr/>
      </p:nvGrpSpPr>
      <p:grpSpPr>
        <a:xfrm>
          <a:off x="0" y="0"/>
          <a:ext cx="0" cy="0"/>
          <a:chOff x="0" y="0"/>
          <a:chExt cx="0" cy="0"/>
        </a:xfrm>
      </p:grpSpPr>
      <p:sp>
        <p:nvSpPr>
          <p:cNvPr id="7" name="Freeform 5"/>
          <p:cNvSpPr>
            <a:spLocks noSelect="1"/>
          </p:cNvSpPr>
          <p:nvPr userDrawn="1"/>
        </p:nvSpPr>
        <p:spPr bwMode="auto">
          <a:xfrm>
            <a:off x="5894388" y="0"/>
            <a:ext cx="6297613" cy="6858000"/>
          </a:xfrm>
          <a:custGeom>
            <a:avLst/>
            <a:gdLst>
              <a:gd name="T0" fmla="*/ 19838 w 19838"/>
              <a:gd name="T1" fmla="*/ 0 h 21600"/>
              <a:gd name="T2" fmla="*/ 19838 w 19838"/>
              <a:gd name="T3" fmla="*/ 21600 h 21600"/>
              <a:gd name="T4" fmla="*/ 2032 w 19838"/>
              <a:gd name="T5" fmla="*/ 21600 h 21600"/>
              <a:gd name="T6" fmla="*/ 1321 w 19838"/>
              <a:gd name="T7" fmla="*/ 19486 h 21600"/>
              <a:gd name="T8" fmla="*/ 122 w 19838"/>
              <a:gd name="T9" fmla="*/ 4744 h 21600"/>
              <a:gd name="T10" fmla="*/ 1798 w 19838"/>
              <a:gd name="T11" fmla="*/ 794 h 21600"/>
              <a:gd name="T12" fmla="*/ 2766 w 19838"/>
              <a:gd name="T13" fmla="*/ 0 h 21600"/>
              <a:gd name="T14" fmla="*/ 19838 w 19838"/>
              <a:gd name="T15" fmla="*/ 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38" h="21600">
                <a:moveTo>
                  <a:pt x="19838" y="0"/>
                </a:moveTo>
                <a:cubicBezTo>
                  <a:pt x="19838" y="21600"/>
                  <a:pt x="19838" y="21600"/>
                  <a:pt x="19838" y="21600"/>
                </a:cubicBezTo>
                <a:cubicBezTo>
                  <a:pt x="2032" y="21600"/>
                  <a:pt x="2032" y="21600"/>
                  <a:pt x="2032" y="21600"/>
                </a:cubicBezTo>
                <a:cubicBezTo>
                  <a:pt x="1637" y="20984"/>
                  <a:pt x="1384" y="20266"/>
                  <a:pt x="1321" y="19486"/>
                </a:cubicBezTo>
                <a:cubicBezTo>
                  <a:pt x="122" y="4744"/>
                  <a:pt x="122" y="4744"/>
                  <a:pt x="122" y="4744"/>
                </a:cubicBezTo>
                <a:cubicBezTo>
                  <a:pt x="0" y="3232"/>
                  <a:pt x="626" y="1756"/>
                  <a:pt x="1798" y="794"/>
                </a:cubicBezTo>
                <a:cubicBezTo>
                  <a:pt x="2766" y="0"/>
                  <a:pt x="2766" y="0"/>
                  <a:pt x="2766" y="0"/>
                </a:cubicBezTo>
                <a:lnTo>
                  <a:pt x="19838" y="0"/>
                </a:lnTo>
                <a:close/>
              </a:path>
            </a:pathLst>
          </a:custGeom>
          <a:solidFill>
            <a:srgbClr val="CEE7DC"/>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4"/>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4"/>
              </a:buClr>
              <a:defRPr/>
            </a:lvl1pPr>
            <a:lvl2pPr>
              <a:buClr>
                <a:schemeClr val="accent4"/>
              </a:buClr>
              <a:defRPr/>
            </a:lvl2pPr>
            <a:lvl3pPr>
              <a:buClr>
                <a:schemeClr val="accent4"/>
              </a:buClr>
              <a:defRPr/>
            </a:lvl3pPr>
          </a:lstStyle>
          <a:p>
            <a:pPr lvl="0"/>
            <a:r>
              <a:rPr lang="nl-NL" dirty="0"/>
              <a:t>[Tekst]</a:t>
            </a:r>
          </a:p>
        </p:txBody>
      </p:sp>
      <p:sp>
        <p:nvSpPr>
          <p:cNvPr id="9" name="Tijdelijke aanduiding voor tekst 6"/>
          <p:cNvSpPr>
            <a:spLocks noGrp="1" noSelect="1"/>
          </p:cNvSpPr>
          <p:nvPr>
            <p:ph type="body" sz="quarter" idx="14" hasCustomPrompt="1"/>
          </p:nvPr>
        </p:nvSpPr>
        <p:spPr>
          <a:xfrm>
            <a:off x="6584462" y="1817688"/>
            <a:ext cx="4320000" cy="4068000"/>
          </a:xfrm>
        </p:spPr>
        <p:txBody>
          <a:bodyPr/>
          <a:lstStyle>
            <a:lvl1pPr>
              <a:buClr>
                <a:schemeClr val="accent4"/>
              </a:buClr>
              <a:defRPr>
                <a:solidFill>
                  <a:schemeClr val="accent4"/>
                </a:solidFill>
              </a:defRPr>
            </a:lvl1pPr>
            <a:lvl2pPr>
              <a:buClr>
                <a:schemeClr val="accent4"/>
              </a:buClr>
              <a:defRPr>
                <a:solidFill>
                  <a:schemeClr val="accent4"/>
                </a:solidFill>
              </a:defRPr>
            </a:lvl2pPr>
            <a:lvl3pPr>
              <a:buClr>
                <a:schemeClr val="accent4"/>
              </a:buClr>
              <a:defRPr>
                <a:solidFill>
                  <a:schemeClr val="accent4"/>
                </a:solidFill>
              </a:defRPr>
            </a:lvl3pPr>
            <a:lvl4pPr>
              <a:defRPr>
                <a:solidFill>
                  <a:schemeClr val="accent4"/>
                </a:solidFill>
              </a:defRPr>
            </a:lvl4pPr>
            <a:lvl5pPr>
              <a:defRPr>
                <a:solidFill>
                  <a:schemeClr val="accent4"/>
                </a:solidFill>
              </a:defRPr>
            </a:lvl5pPr>
            <a:lvl6pPr>
              <a:defRPr>
                <a:solidFill>
                  <a:schemeClr val="accent4"/>
                </a:solidFill>
              </a:defRPr>
            </a:lvl6pPr>
            <a:lvl7pPr>
              <a:defRPr>
                <a:solidFill>
                  <a:schemeClr val="accent4"/>
                </a:solidFill>
              </a:defRPr>
            </a:lvl7pPr>
            <a:lvl8pPr>
              <a:defRPr>
                <a:solidFill>
                  <a:schemeClr val="accent4"/>
                </a:solidFill>
              </a:defRPr>
            </a:lvl8pPr>
            <a:lvl9pPr>
              <a:defRPr>
                <a:solidFill>
                  <a:schemeClr val="accent4"/>
                </a:solidFill>
              </a:defRPr>
            </a:lvl9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8320320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el, tekst (L) en tekst op vorm (R) paars">
    <p:spTree>
      <p:nvGrpSpPr>
        <p:cNvPr id="1" name=""/>
        <p:cNvGrpSpPr/>
        <p:nvPr/>
      </p:nvGrpSpPr>
      <p:grpSpPr>
        <a:xfrm>
          <a:off x="0" y="0"/>
          <a:ext cx="0" cy="0"/>
          <a:chOff x="0" y="0"/>
          <a:chExt cx="0" cy="0"/>
        </a:xfrm>
      </p:grpSpPr>
      <p:sp>
        <p:nvSpPr>
          <p:cNvPr id="7" name="Freeform 5"/>
          <p:cNvSpPr>
            <a:spLocks noSelect="1"/>
          </p:cNvSpPr>
          <p:nvPr userDrawn="1"/>
        </p:nvSpPr>
        <p:spPr bwMode="auto">
          <a:xfrm>
            <a:off x="5894388" y="0"/>
            <a:ext cx="6297613" cy="6858000"/>
          </a:xfrm>
          <a:custGeom>
            <a:avLst/>
            <a:gdLst>
              <a:gd name="T0" fmla="*/ 19838 w 19838"/>
              <a:gd name="T1" fmla="*/ 0 h 21600"/>
              <a:gd name="T2" fmla="*/ 19838 w 19838"/>
              <a:gd name="T3" fmla="*/ 21600 h 21600"/>
              <a:gd name="T4" fmla="*/ 2032 w 19838"/>
              <a:gd name="T5" fmla="*/ 21600 h 21600"/>
              <a:gd name="T6" fmla="*/ 1321 w 19838"/>
              <a:gd name="T7" fmla="*/ 19486 h 21600"/>
              <a:gd name="T8" fmla="*/ 122 w 19838"/>
              <a:gd name="T9" fmla="*/ 4744 h 21600"/>
              <a:gd name="T10" fmla="*/ 1798 w 19838"/>
              <a:gd name="T11" fmla="*/ 794 h 21600"/>
              <a:gd name="T12" fmla="*/ 2766 w 19838"/>
              <a:gd name="T13" fmla="*/ 0 h 21600"/>
              <a:gd name="T14" fmla="*/ 19838 w 19838"/>
              <a:gd name="T15" fmla="*/ 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38" h="21600">
                <a:moveTo>
                  <a:pt x="19838" y="0"/>
                </a:moveTo>
                <a:cubicBezTo>
                  <a:pt x="19838" y="21600"/>
                  <a:pt x="19838" y="21600"/>
                  <a:pt x="19838" y="21600"/>
                </a:cubicBezTo>
                <a:cubicBezTo>
                  <a:pt x="2032" y="21600"/>
                  <a:pt x="2032" y="21600"/>
                  <a:pt x="2032" y="21600"/>
                </a:cubicBezTo>
                <a:cubicBezTo>
                  <a:pt x="1637" y="20984"/>
                  <a:pt x="1384" y="20266"/>
                  <a:pt x="1321" y="19486"/>
                </a:cubicBezTo>
                <a:cubicBezTo>
                  <a:pt x="122" y="4744"/>
                  <a:pt x="122" y="4744"/>
                  <a:pt x="122" y="4744"/>
                </a:cubicBezTo>
                <a:cubicBezTo>
                  <a:pt x="0" y="3232"/>
                  <a:pt x="626" y="1756"/>
                  <a:pt x="1798" y="794"/>
                </a:cubicBezTo>
                <a:cubicBezTo>
                  <a:pt x="2766" y="0"/>
                  <a:pt x="2766" y="0"/>
                  <a:pt x="2766" y="0"/>
                </a:cubicBezTo>
                <a:lnTo>
                  <a:pt x="19838" y="0"/>
                </a:lnTo>
                <a:close/>
              </a:path>
            </a:pathLst>
          </a:custGeom>
          <a:solidFill>
            <a:srgbClr val="EBD6EA"/>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3"/>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3"/>
              </a:buClr>
              <a:defRPr/>
            </a:lvl1pPr>
            <a:lvl2pPr>
              <a:buClr>
                <a:schemeClr val="accent3"/>
              </a:buClr>
              <a:defRPr/>
            </a:lvl2pPr>
            <a:lvl3pPr>
              <a:buClr>
                <a:schemeClr val="accent3"/>
              </a:buClr>
              <a:defRPr/>
            </a:lvl3pPr>
          </a:lstStyle>
          <a:p>
            <a:pPr lvl="0"/>
            <a:r>
              <a:rPr lang="nl-NL" dirty="0"/>
              <a:t>[Tekst]</a:t>
            </a:r>
          </a:p>
        </p:txBody>
      </p:sp>
      <p:sp>
        <p:nvSpPr>
          <p:cNvPr id="9" name="Tijdelijke aanduiding voor tekst 6"/>
          <p:cNvSpPr>
            <a:spLocks noGrp="1" noSelect="1"/>
          </p:cNvSpPr>
          <p:nvPr>
            <p:ph type="body" sz="quarter" idx="14" hasCustomPrompt="1"/>
          </p:nvPr>
        </p:nvSpPr>
        <p:spPr>
          <a:xfrm>
            <a:off x="6584462" y="1817688"/>
            <a:ext cx="4320000" cy="4068000"/>
          </a:xfrm>
        </p:spPr>
        <p:txBody>
          <a:bodyPr/>
          <a:lstStyle>
            <a:lvl1pPr>
              <a:buClr>
                <a:schemeClr val="accent3"/>
              </a:buClr>
              <a:defRPr>
                <a:solidFill>
                  <a:schemeClr val="accent3"/>
                </a:solidFill>
              </a:defRPr>
            </a:lvl1pPr>
            <a:lvl2pPr>
              <a:buClr>
                <a:schemeClr val="accent3"/>
              </a:buClr>
              <a:defRPr>
                <a:solidFill>
                  <a:schemeClr val="accent3"/>
                </a:solidFill>
              </a:defRPr>
            </a:lvl2pPr>
            <a:lvl3pPr>
              <a:buClr>
                <a:schemeClr val="accent3"/>
              </a:buClr>
              <a:defRPr>
                <a:solidFill>
                  <a:schemeClr val="accent3"/>
                </a:solidFill>
              </a:defRPr>
            </a:lvl3pPr>
            <a:lvl4pPr>
              <a:defRPr>
                <a:solidFill>
                  <a:schemeClr val="accent3"/>
                </a:solidFill>
              </a:defRPr>
            </a:lvl4pPr>
            <a:lvl5pPr>
              <a:defRPr>
                <a:solidFill>
                  <a:schemeClr val="accent3"/>
                </a:solidFill>
              </a:defRPr>
            </a:lvl5pPr>
            <a:lvl6pPr>
              <a:defRPr>
                <a:solidFill>
                  <a:schemeClr val="accent3"/>
                </a:solidFill>
              </a:defRPr>
            </a:lvl6pPr>
            <a:lvl7pPr>
              <a:defRPr>
                <a:solidFill>
                  <a:schemeClr val="accent3"/>
                </a:solidFill>
              </a:defRPr>
            </a:lvl7pPr>
            <a:lvl8pPr>
              <a:defRPr>
                <a:solidFill>
                  <a:schemeClr val="accent3"/>
                </a:solidFill>
              </a:defRPr>
            </a:lvl8pPr>
            <a:lvl9pPr>
              <a:defRPr>
                <a:solidFill>
                  <a:schemeClr val="accent3"/>
                </a:solidFill>
              </a:defRPr>
            </a:lvl9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287858325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el, tekst (L) en tekst op vorm (R) roze">
    <p:spTree>
      <p:nvGrpSpPr>
        <p:cNvPr id="1" name=""/>
        <p:cNvGrpSpPr/>
        <p:nvPr/>
      </p:nvGrpSpPr>
      <p:grpSpPr>
        <a:xfrm>
          <a:off x="0" y="0"/>
          <a:ext cx="0" cy="0"/>
          <a:chOff x="0" y="0"/>
          <a:chExt cx="0" cy="0"/>
        </a:xfrm>
      </p:grpSpPr>
      <p:sp>
        <p:nvSpPr>
          <p:cNvPr id="7" name="Freeform 5"/>
          <p:cNvSpPr>
            <a:spLocks noSelect="1"/>
          </p:cNvSpPr>
          <p:nvPr userDrawn="1"/>
        </p:nvSpPr>
        <p:spPr bwMode="auto">
          <a:xfrm>
            <a:off x="5894388" y="0"/>
            <a:ext cx="6297613" cy="6858000"/>
          </a:xfrm>
          <a:custGeom>
            <a:avLst/>
            <a:gdLst>
              <a:gd name="T0" fmla="*/ 19838 w 19838"/>
              <a:gd name="T1" fmla="*/ 0 h 21600"/>
              <a:gd name="T2" fmla="*/ 19838 w 19838"/>
              <a:gd name="T3" fmla="*/ 21600 h 21600"/>
              <a:gd name="T4" fmla="*/ 2032 w 19838"/>
              <a:gd name="T5" fmla="*/ 21600 h 21600"/>
              <a:gd name="T6" fmla="*/ 1321 w 19838"/>
              <a:gd name="T7" fmla="*/ 19486 h 21600"/>
              <a:gd name="T8" fmla="*/ 122 w 19838"/>
              <a:gd name="T9" fmla="*/ 4744 h 21600"/>
              <a:gd name="T10" fmla="*/ 1798 w 19838"/>
              <a:gd name="T11" fmla="*/ 794 h 21600"/>
              <a:gd name="T12" fmla="*/ 2766 w 19838"/>
              <a:gd name="T13" fmla="*/ 0 h 21600"/>
              <a:gd name="T14" fmla="*/ 19838 w 19838"/>
              <a:gd name="T15" fmla="*/ 0 h 21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838" h="21600">
                <a:moveTo>
                  <a:pt x="19838" y="0"/>
                </a:moveTo>
                <a:cubicBezTo>
                  <a:pt x="19838" y="21600"/>
                  <a:pt x="19838" y="21600"/>
                  <a:pt x="19838" y="21600"/>
                </a:cubicBezTo>
                <a:cubicBezTo>
                  <a:pt x="2032" y="21600"/>
                  <a:pt x="2032" y="21600"/>
                  <a:pt x="2032" y="21600"/>
                </a:cubicBezTo>
                <a:cubicBezTo>
                  <a:pt x="1637" y="20984"/>
                  <a:pt x="1384" y="20266"/>
                  <a:pt x="1321" y="19486"/>
                </a:cubicBezTo>
                <a:cubicBezTo>
                  <a:pt x="122" y="4744"/>
                  <a:pt x="122" y="4744"/>
                  <a:pt x="122" y="4744"/>
                </a:cubicBezTo>
                <a:cubicBezTo>
                  <a:pt x="0" y="3232"/>
                  <a:pt x="626" y="1756"/>
                  <a:pt x="1798" y="794"/>
                </a:cubicBezTo>
                <a:cubicBezTo>
                  <a:pt x="2766" y="0"/>
                  <a:pt x="2766" y="0"/>
                  <a:pt x="2766" y="0"/>
                </a:cubicBezTo>
                <a:lnTo>
                  <a:pt x="19838" y="0"/>
                </a:lnTo>
                <a:close/>
              </a:path>
            </a:pathLst>
          </a:custGeom>
          <a:solidFill>
            <a:srgbClr val="FAE3EF"/>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6" y="564614"/>
            <a:ext cx="4320000" cy="1080000"/>
          </a:xfrm>
        </p:spPr>
        <p:txBody>
          <a:bodyPr/>
          <a:lstStyle>
            <a:lvl1pPr>
              <a:defRPr>
                <a:solidFill>
                  <a:schemeClr val="accent2"/>
                </a:solidFill>
              </a:defRPr>
            </a:lvl1pPr>
          </a:lstStyle>
          <a:p>
            <a:r>
              <a:rPr lang="nl-NL" dirty="0"/>
              <a:t>[Titel]</a:t>
            </a:r>
          </a:p>
        </p:txBody>
      </p:sp>
      <p:sp>
        <p:nvSpPr>
          <p:cNvPr id="6" name="Tijdelijke aanduiding voor tekst 5"/>
          <p:cNvSpPr>
            <a:spLocks noGrp="1" noSelect="1"/>
          </p:cNvSpPr>
          <p:nvPr>
            <p:ph type="body" sz="quarter" idx="13" hasCustomPrompt="1"/>
          </p:nvPr>
        </p:nvSpPr>
        <p:spPr>
          <a:xfrm>
            <a:off x="1320800" y="1817688"/>
            <a:ext cx="4320000" cy="4068000"/>
          </a:xfrm>
        </p:spPr>
        <p:txBody>
          <a:bodyPr/>
          <a:lstStyle>
            <a:lvl1pPr>
              <a:buClr>
                <a:schemeClr val="accent2"/>
              </a:buClr>
              <a:defRPr/>
            </a:lvl1pPr>
            <a:lvl2pPr>
              <a:buClr>
                <a:schemeClr val="accent2"/>
              </a:buClr>
              <a:defRPr/>
            </a:lvl2pPr>
            <a:lvl3pPr>
              <a:buClr>
                <a:schemeClr val="accent2"/>
              </a:buClr>
              <a:defRPr/>
            </a:lvl3pPr>
          </a:lstStyle>
          <a:p>
            <a:pPr lvl="0"/>
            <a:r>
              <a:rPr lang="nl-NL" dirty="0"/>
              <a:t>[Tekst]</a:t>
            </a:r>
          </a:p>
        </p:txBody>
      </p:sp>
      <p:sp>
        <p:nvSpPr>
          <p:cNvPr id="9" name="Tijdelijke aanduiding voor tekst 6"/>
          <p:cNvSpPr>
            <a:spLocks noGrp="1" noSelect="1"/>
          </p:cNvSpPr>
          <p:nvPr>
            <p:ph type="body" sz="quarter" idx="14" hasCustomPrompt="1"/>
          </p:nvPr>
        </p:nvSpPr>
        <p:spPr>
          <a:xfrm>
            <a:off x="6584462" y="1817688"/>
            <a:ext cx="4320000" cy="4068000"/>
          </a:xfrm>
        </p:spPr>
        <p:txBody>
          <a:bodyPr/>
          <a:lstStyle>
            <a:lvl1pPr>
              <a:buClr>
                <a:schemeClr val="accent2"/>
              </a:buClr>
              <a:defRPr>
                <a:solidFill>
                  <a:schemeClr val="accent2"/>
                </a:solidFill>
              </a:defRPr>
            </a:lvl1pPr>
            <a:lvl2pPr>
              <a:buClr>
                <a:schemeClr val="accent2"/>
              </a:buClr>
              <a:defRPr>
                <a:solidFill>
                  <a:schemeClr val="accent2"/>
                </a:solidFill>
              </a:defRPr>
            </a:lvl2pPr>
            <a:lvl3pPr>
              <a:buClr>
                <a:schemeClr val="accent2"/>
              </a:buCl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nl-NL" dirty="0"/>
              <a:t>[Tekst]</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7422646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Citaat">
    <p:bg>
      <p:bgPr>
        <a:solidFill>
          <a:srgbClr val="B7E2FA"/>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10409238" y="0"/>
            <a:ext cx="1782763" cy="2051050"/>
          </a:xfrm>
          <a:custGeom>
            <a:avLst/>
            <a:gdLst>
              <a:gd name="T0" fmla="*/ 3813 w 5617"/>
              <a:gd name="T1" fmla="*/ 5880 h 6460"/>
              <a:gd name="T2" fmla="*/ 1129 w 5617"/>
              <a:gd name="T3" fmla="*/ 3390 h 6460"/>
              <a:gd name="T4" fmla="*/ 360 w 5617"/>
              <a:gd name="T5" fmla="*/ 723 h 6460"/>
              <a:gd name="T6" fmla="*/ 202 w 5617"/>
              <a:gd name="T7" fmla="*/ 0 h 6460"/>
              <a:gd name="T8" fmla="*/ 0 w 5617"/>
              <a:gd name="T9" fmla="*/ 0 h 6460"/>
              <a:gd name="T10" fmla="*/ 168 w 5617"/>
              <a:gd name="T11" fmla="*/ 779 h 6460"/>
              <a:gd name="T12" fmla="*/ 937 w 5617"/>
              <a:gd name="T13" fmla="*/ 3446 h 6460"/>
              <a:gd name="T14" fmla="*/ 3773 w 5617"/>
              <a:gd name="T15" fmla="*/ 6076 h 6460"/>
              <a:gd name="T16" fmla="*/ 5617 w 5617"/>
              <a:gd name="T17" fmla="*/ 6460 h 6460"/>
              <a:gd name="T18" fmla="*/ 5617 w 5617"/>
              <a:gd name="T19" fmla="*/ 6256 h 6460"/>
              <a:gd name="T20" fmla="*/ 3813 w 5617"/>
              <a:gd name="T21" fmla="*/ 5880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7" h="6460">
                <a:moveTo>
                  <a:pt x="3813" y="5880"/>
                </a:moveTo>
                <a:cubicBezTo>
                  <a:pt x="2523" y="5611"/>
                  <a:pt x="1494" y="4657"/>
                  <a:pt x="1129" y="3390"/>
                </a:cubicBezTo>
                <a:cubicBezTo>
                  <a:pt x="360" y="723"/>
                  <a:pt x="360" y="723"/>
                  <a:pt x="360" y="723"/>
                </a:cubicBezTo>
                <a:cubicBezTo>
                  <a:pt x="291" y="485"/>
                  <a:pt x="239" y="243"/>
                  <a:pt x="202" y="0"/>
                </a:cubicBezTo>
                <a:cubicBezTo>
                  <a:pt x="0" y="0"/>
                  <a:pt x="0" y="0"/>
                  <a:pt x="0" y="0"/>
                </a:cubicBezTo>
                <a:cubicBezTo>
                  <a:pt x="38" y="262"/>
                  <a:pt x="94" y="522"/>
                  <a:pt x="168" y="779"/>
                </a:cubicBezTo>
                <a:cubicBezTo>
                  <a:pt x="937" y="3446"/>
                  <a:pt x="937" y="3446"/>
                  <a:pt x="937" y="3446"/>
                </a:cubicBezTo>
                <a:cubicBezTo>
                  <a:pt x="1323" y="4784"/>
                  <a:pt x="2409" y="5792"/>
                  <a:pt x="3773" y="6076"/>
                </a:cubicBezTo>
                <a:cubicBezTo>
                  <a:pt x="5617" y="6460"/>
                  <a:pt x="5617" y="6460"/>
                  <a:pt x="5617" y="6460"/>
                </a:cubicBezTo>
                <a:cubicBezTo>
                  <a:pt x="5617" y="6256"/>
                  <a:pt x="5617" y="6256"/>
                  <a:pt x="5617" y="6256"/>
                </a:cubicBezTo>
                <a:lnTo>
                  <a:pt x="3813" y="5880"/>
                </a:lnTo>
                <a:close/>
              </a:path>
            </a:pathLst>
          </a:custGeom>
          <a:solidFill>
            <a:srgbClr val="90D0F3"/>
          </a:solidFill>
          <a:ln>
            <a:noFill/>
          </a:ln>
        </p:spPr>
        <p:txBody>
          <a:bodyPr vert="horz" wrap="square" lIns="91440" tIns="45720" rIns="91440" bIns="45720" numCol="1" anchor="t" anchorCtr="0" compatLnSpc="1">
            <a:prstTxWarp prst="textNoShape">
              <a:avLst/>
            </a:prstTxWarp>
          </a:bodyPr>
          <a:lstStyle/>
          <a:p>
            <a:endParaRPr lang="nl-NL"/>
          </a:p>
        </p:txBody>
      </p:sp>
      <p:sp>
        <p:nvSpPr>
          <p:cNvPr id="5" name="Freeform 7"/>
          <p:cNvSpPr>
            <a:spLocks noSelect="1"/>
          </p:cNvSpPr>
          <p:nvPr userDrawn="1"/>
        </p:nvSpPr>
        <p:spPr bwMode="auto">
          <a:xfrm>
            <a:off x="0" y="3692525"/>
            <a:ext cx="1095375" cy="3165475"/>
          </a:xfrm>
          <a:custGeom>
            <a:avLst/>
            <a:gdLst>
              <a:gd name="T0" fmla="*/ 2631 w 3450"/>
              <a:gd name="T1" fmla="*/ 4016 h 9967"/>
              <a:gd name="T2" fmla="*/ 0 w 3450"/>
              <a:gd name="T3" fmla="*/ 0 h 9967"/>
              <a:gd name="T4" fmla="*/ 0 w 3450"/>
              <a:gd name="T5" fmla="*/ 365 h 9967"/>
              <a:gd name="T6" fmla="*/ 2464 w 3450"/>
              <a:gd name="T7" fmla="*/ 4125 h 9967"/>
              <a:gd name="T8" fmla="*/ 2601 w 3450"/>
              <a:gd name="T9" fmla="*/ 7784 h 9967"/>
              <a:gd name="T10" fmla="*/ 1395 w 3450"/>
              <a:gd name="T11" fmla="*/ 9967 h 9967"/>
              <a:gd name="T12" fmla="*/ 1624 w 3450"/>
              <a:gd name="T13" fmla="*/ 9967 h 9967"/>
              <a:gd name="T14" fmla="*/ 2776 w 3450"/>
              <a:gd name="T15" fmla="*/ 7881 h 9967"/>
              <a:gd name="T16" fmla="*/ 2631 w 3450"/>
              <a:gd name="T17" fmla="*/ 4016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0" h="9967">
                <a:moveTo>
                  <a:pt x="2631" y="4016"/>
                </a:moveTo>
                <a:cubicBezTo>
                  <a:pt x="0" y="0"/>
                  <a:pt x="0" y="0"/>
                  <a:pt x="0" y="0"/>
                </a:cubicBezTo>
                <a:cubicBezTo>
                  <a:pt x="0" y="365"/>
                  <a:pt x="0" y="365"/>
                  <a:pt x="0" y="365"/>
                </a:cubicBezTo>
                <a:cubicBezTo>
                  <a:pt x="2464" y="4125"/>
                  <a:pt x="2464" y="4125"/>
                  <a:pt x="2464" y="4125"/>
                </a:cubicBezTo>
                <a:cubicBezTo>
                  <a:pt x="3186" y="5228"/>
                  <a:pt x="3239" y="6630"/>
                  <a:pt x="2601" y="7784"/>
                </a:cubicBezTo>
                <a:cubicBezTo>
                  <a:pt x="1395" y="9967"/>
                  <a:pt x="1395" y="9967"/>
                  <a:pt x="1395" y="9967"/>
                </a:cubicBezTo>
                <a:cubicBezTo>
                  <a:pt x="1624" y="9967"/>
                  <a:pt x="1624" y="9967"/>
                  <a:pt x="1624" y="9967"/>
                </a:cubicBezTo>
                <a:cubicBezTo>
                  <a:pt x="2776" y="7881"/>
                  <a:pt x="2776" y="7881"/>
                  <a:pt x="2776" y="7881"/>
                </a:cubicBezTo>
                <a:cubicBezTo>
                  <a:pt x="3450" y="6662"/>
                  <a:pt x="3394" y="5181"/>
                  <a:pt x="2631" y="4016"/>
                </a:cubicBezTo>
                <a:close/>
              </a:path>
            </a:pathLst>
          </a:custGeom>
          <a:solidFill>
            <a:srgbClr val="90D0F3"/>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984738"/>
            <a:ext cx="9648000" cy="4865076"/>
          </a:xfrm>
        </p:spPr>
        <p:txBody>
          <a:bodyPr anchor="ctr"/>
          <a:lstStyle>
            <a:lvl1pPr>
              <a:defRPr sz="6000" b="0"/>
            </a:lvl1pPr>
          </a:lstStyle>
          <a:p>
            <a:r>
              <a:rPr lang="nl-NL" dirty="0"/>
              <a:t>[Titel]</a:t>
            </a:r>
          </a:p>
        </p:txBody>
      </p:sp>
    </p:spTree>
    <p:extLst>
      <p:ext uri="{BB962C8B-B14F-4D97-AF65-F5344CB8AC3E}">
        <p14:creationId xmlns:p14="http://schemas.microsoft.com/office/powerpoint/2010/main" val="420635437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Citaat groen">
    <p:bg>
      <p:bgPr>
        <a:solidFill>
          <a:srgbClr val="CEE7DC"/>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10409238" y="0"/>
            <a:ext cx="1782763" cy="2051050"/>
          </a:xfrm>
          <a:custGeom>
            <a:avLst/>
            <a:gdLst>
              <a:gd name="T0" fmla="*/ 3813 w 5617"/>
              <a:gd name="T1" fmla="*/ 5880 h 6460"/>
              <a:gd name="T2" fmla="*/ 1129 w 5617"/>
              <a:gd name="T3" fmla="*/ 3390 h 6460"/>
              <a:gd name="T4" fmla="*/ 360 w 5617"/>
              <a:gd name="T5" fmla="*/ 723 h 6460"/>
              <a:gd name="T6" fmla="*/ 202 w 5617"/>
              <a:gd name="T7" fmla="*/ 0 h 6460"/>
              <a:gd name="T8" fmla="*/ 0 w 5617"/>
              <a:gd name="T9" fmla="*/ 0 h 6460"/>
              <a:gd name="T10" fmla="*/ 168 w 5617"/>
              <a:gd name="T11" fmla="*/ 779 h 6460"/>
              <a:gd name="T12" fmla="*/ 937 w 5617"/>
              <a:gd name="T13" fmla="*/ 3446 h 6460"/>
              <a:gd name="T14" fmla="*/ 3773 w 5617"/>
              <a:gd name="T15" fmla="*/ 6076 h 6460"/>
              <a:gd name="T16" fmla="*/ 5617 w 5617"/>
              <a:gd name="T17" fmla="*/ 6460 h 6460"/>
              <a:gd name="T18" fmla="*/ 5617 w 5617"/>
              <a:gd name="T19" fmla="*/ 6256 h 6460"/>
              <a:gd name="T20" fmla="*/ 3813 w 5617"/>
              <a:gd name="T21" fmla="*/ 5880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7" h="6460">
                <a:moveTo>
                  <a:pt x="3813" y="5880"/>
                </a:moveTo>
                <a:cubicBezTo>
                  <a:pt x="2523" y="5611"/>
                  <a:pt x="1494" y="4657"/>
                  <a:pt x="1129" y="3390"/>
                </a:cubicBezTo>
                <a:cubicBezTo>
                  <a:pt x="360" y="723"/>
                  <a:pt x="360" y="723"/>
                  <a:pt x="360" y="723"/>
                </a:cubicBezTo>
                <a:cubicBezTo>
                  <a:pt x="291" y="485"/>
                  <a:pt x="239" y="243"/>
                  <a:pt x="202" y="0"/>
                </a:cubicBezTo>
                <a:cubicBezTo>
                  <a:pt x="0" y="0"/>
                  <a:pt x="0" y="0"/>
                  <a:pt x="0" y="0"/>
                </a:cubicBezTo>
                <a:cubicBezTo>
                  <a:pt x="38" y="262"/>
                  <a:pt x="94" y="522"/>
                  <a:pt x="168" y="779"/>
                </a:cubicBezTo>
                <a:cubicBezTo>
                  <a:pt x="937" y="3446"/>
                  <a:pt x="937" y="3446"/>
                  <a:pt x="937" y="3446"/>
                </a:cubicBezTo>
                <a:cubicBezTo>
                  <a:pt x="1323" y="4784"/>
                  <a:pt x="2409" y="5792"/>
                  <a:pt x="3773" y="6076"/>
                </a:cubicBezTo>
                <a:cubicBezTo>
                  <a:pt x="5617" y="6460"/>
                  <a:pt x="5617" y="6460"/>
                  <a:pt x="5617" y="6460"/>
                </a:cubicBezTo>
                <a:cubicBezTo>
                  <a:pt x="5617" y="6256"/>
                  <a:pt x="5617" y="6256"/>
                  <a:pt x="5617" y="6256"/>
                </a:cubicBezTo>
                <a:lnTo>
                  <a:pt x="3813" y="5880"/>
                </a:lnTo>
                <a:close/>
              </a:path>
            </a:pathLst>
          </a:custGeom>
          <a:solidFill>
            <a:srgbClr val="81C5A1"/>
          </a:solidFill>
          <a:ln>
            <a:noFill/>
          </a:ln>
        </p:spPr>
        <p:txBody>
          <a:bodyPr vert="horz" wrap="square" lIns="91440" tIns="45720" rIns="91440" bIns="45720" numCol="1" anchor="t" anchorCtr="0" compatLnSpc="1">
            <a:prstTxWarp prst="textNoShape">
              <a:avLst/>
            </a:prstTxWarp>
          </a:bodyPr>
          <a:lstStyle/>
          <a:p>
            <a:endParaRPr lang="nl-NL"/>
          </a:p>
        </p:txBody>
      </p:sp>
      <p:sp>
        <p:nvSpPr>
          <p:cNvPr id="5" name="Freeform 7"/>
          <p:cNvSpPr>
            <a:spLocks noSelect="1"/>
          </p:cNvSpPr>
          <p:nvPr userDrawn="1"/>
        </p:nvSpPr>
        <p:spPr bwMode="auto">
          <a:xfrm>
            <a:off x="0" y="3692525"/>
            <a:ext cx="1095375" cy="3165475"/>
          </a:xfrm>
          <a:custGeom>
            <a:avLst/>
            <a:gdLst>
              <a:gd name="T0" fmla="*/ 2631 w 3450"/>
              <a:gd name="T1" fmla="*/ 4016 h 9967"/>
              <a:gd name="T2" fmla="*/ 0 w 3450"/>
              <a:gd name="T3" fmla="*/ 0 h 9967"/>
              <a:gd name="T4" fmla="*/ 0 w 3450"/>
              <a:gd name="T5" fmla="*/ 365 h 9967"/>
              <a:gd name="T6" fmla="*/ 2464 w 3450"/>
              <a:gd name="T7" fmla="*/ 4125 h 9967"/>
              <a:gd name="T8" fmla="*/ 2601 w 3450"/>
              <a:gd name="T9" fmla="*/ 7784 h 9967"/>
              <a:gd name="T10" fmla="*/ 1395 w 3450"/>
              <a:gd name="T11" fmla="*/ 9967 h 9967"/>
              <a:gd name="T12" fmla="*/ 1624 w 3450"/>
              <a:gd name="T13" fmla="*/ 9967 h 9967"/>
              <a:gd name="T14" fmla="*/ 2776 w 3450"/>
              <a:gd name="T15" fmla="*/ 7881 h 9967"/>
              <a:gd name="T16" fmla="*/ 2631 w 3450"/>
              <a:gd name="T17" fmla="*/ 4016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0" h="9967">
                <a:moveTo>
                  <a:pt x="2631" y="4016"/>
                </a:moveTo>
                <a:cubicBezTo>
                  <a:pt x="0" y="0"/>
                  <a:pt x="0" y="0"/>
                  <a:pt x="0" y="0"/>
                </a:cubicBezTo>
                <a:cubicBezTo>
                  <a:pt x="0" y="365"/>
                  <a:pt x="0" y="365"/>
                  <a:pt x="0" y="365"/>
                </a:cubicBezTo>
                <a:cubicBezTo>
                  <a:pt x="2464" y="4125"/>
                  <a:pt x="2464" y="4125"/>
                  <a:pt x="2464" y="4125"/>
                </a:cubicBezTo>
                <a:cubicBezTo>
                  <a:pt x="3186" y="5228"/>
                  <a:pt x="3239" y="6630"/>
                  <a:pt x="2601" y="7784"/>
                </a:cubicBezTo>
                <a:cubicBezTo>
                  <a:pt x="1395" y="9967"/>
                  <a:pt x="1395" y="9967"/>
                  <a:pt x="1395" y="9967"/>
                </a:cubicBezTo>
                <a:cubicBezTo>
                  <a:pt x="1624" y="9967"/>
                  <a:pt x="1624" y="9967"/>
                  <a:pt x="1624" y="9967"/>
                </a:cubicBezTo>
                <a:cubicBezTo>
                  <a:pt x="2776" y="7881"/>
                  <a:pt x="2776" y="7881"/>
                  <a:pt x="2776" y="7881"/>
                </a:cubicBezTo>
                <a:cubicBezTo>
                  <a:pt x="3450" y="6662"/>
                  <a:pt x="3394" y="5181"/>
                  <a:pt x="2631" y="4016"/>
                </a:cubicBezTo>
                <a:close/>
              </a:path>
            </a:pathLst>
          </a:custGeom>
          <a:solidFill>
            <a:srgbClr val="81C5A1"/>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984738"/>
            <a:ext cx="9648000" cy="4865076"/>
          </a:xfrm>
        </p:spPr>
        <p:txBody>
          <a:bodyPr anchor="ctr"/>
          <a:lstStyle>
            <a:lvl1pPr>
              <a:defRPr sz="6000" b="0">
                <a:solidFill>
                  <a:srgbClr val="004A26"/>
                </a:solidFill>
              </a:defRPr>
            </a:lvl1pPr>
          </a:lstStyle>
          <a:p>
            <a:r>
              <a:rPr lang="nl-NL" dirty="0"/>
              <a:t>[Titel]</a:t>
            </a:r>
          </a:p>
        </p:txBody>
      </p:sp>
    </p:spTree>
    <p:extLst>
      <p:ext uri="{BB962C8B-B14F-4D97-AF65-F5344CB8AC3E}">
        <p14:creationId xmlns:p14="http://schemas.microsoft.com/office/powerpoint/2010/main" val="21755896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Citaat paars">
    <p:bg>
      <p:bgPr>
        <a:solidFill>
          <a:srgbClr val="EBD6EA"/>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10409238" y="0"/>
            <a:ext cx="1782763" cy="2051050"/>
          </a:xfrm>
          <a:custGeom>
            <a:avLst/>
            <a:gdLst>
              <a:gd name="T0" fmla="*/ 3813 w 5617"/>
              <a:gd name="T1" fmla="*/ 5880 h 6460"/>
              <a:gd name="T2" fmla="*/ 1129 w 5617"/>
              <a:gd name="T3" fmla="*/ 3390 h 6460"/>
              <a:gd name="T4" fmla="*/ 360 w 5617"/>
              <a:gd name="T5" fmla="*/ 723 h 6460"/>
              <a:gd name="T6" fmla="*/ 202 w 5617"/>
              <a:gd name="T7" fmla="*/ 0 h 6460"/>
              <a:gd name="T8" fmla="*/ 0 w 5617"/>
              <a:gd name="T9" fmla="*/ 0 h 6460"/>
              <a:gd name="T10" fmla="*/ 168 w 5617"/>
              <a:gd name="T11" fmla="*/ 779 h 6460"/>
              <a:gd name="T12" fmla="*/ 937 w 5617"/>
              <a:gd name="T13" fmla="*/ 3446 h 6460"/>
              <a:gd name="T14" fmla="*/ 3773 w 5617"/>
              <a:gd name="T15" fmla="*/ 6076 h 6460"/>
              <a:gd name="T16" fmla="*/ 5617 w 5617"/>
              <a:gd name="T17" fmla="*/ 6460 h 6460"/>
              <a:gd name="T18" fmla="*/ 5617 w 5617"/>
              <a:gd name="T19" fmla="*/ 6256 h 6460"/>
              <a:gd name="T20" fmla="*/ 3813 w 5617"/>
              <a:gd name="T21" fmla="*/ 5880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7" h="6460">
                <a:moveTo>
                  <a:pt x="3813" y="5880"/>
                </a:moveTo>
                <a:cubicBezTo>
                  <a:pt x="2523" y="5611"/>
                  <a:pt x="1494" y="4657"/>
                  <a:pt x="1129" y="3390"/>
                </a:cubicBezTo>
                <a:cubicBezTo>
                  <a:pt x="360" y="723"/>
                  <a:pt x="360" y="723"/>
                  <a:pt x="360" y="723"/>
                </a:cubicBezTo>
                <a:cubicBezTo>
                  <a:pt x="291" y="485"/>
                  <a:pt x="239" y="243"/>
                  <a:pt x="202" y="0"/>
                </a:cubicBezTo>
                <a:cubicBezTo>
                  <a:pt x="0" y="0"/>
                  <a:pt x="0" y="0"/>
                  <a:pt x="0" y="0"/>
                </a:cubicBezTo>
                <a:cubicBezTo>
                  <a:pt x="38" y="262"/>
                  <a:pt x="94" y="522"/>
                  <a:pt x="168" y="779"/>
                </a:cubicBezTo>
                <a:cubicBezTo>
                  <a:pt x="937" y="3446"/>
                  <a:pt x="937" y="3446"/>
                  <a:pt x="937" y="3446"/>
                </a:cubicBezTo>
                <a:cubicBezTo>
                  <a:pt x="1323" y="4784"/>
                  <a:pt x="2409" y="5792"/>
                  <a:pt x="3773" y="6076"/>
                </a:cubicBezTo>
                <a:cubicBezTo>
                  <a:pt x="5617" y="6460"/>
                  <a:pt x="5617" y="6460"/>
                  <a:pt x="5617" y="6460"/>
                </a:cubicBezTo>
                <a:cubicBezTo>
                  <a:pt x="5617" y="6256"/>
                  <a:pt x="5617" y="6256"/>
                  <a:pt x="5617" y="6256"/>
                </a:cubicBezTo>
                <a:lnTo>
                  <a:pt x="3813" y="5880"/>
                </a:lnTo>
                <a:close/>
              </a:path>
            </a:pathLst>
          </a:custGeom>
          <a:solidFill>
            <a:srgbClr val="C893C2"/>
          </a:solidFill>
          <a:ln>
            <a:noFill/>
          </a:ln>
        </p:spPr>
        <p:txBody>
          <a:bodyPr vert="horz" wrap="square" lIns="91440" tIns="45720" rIns="91440" bIns="45720" numCol="1" anchor="t" anchorCtr="0" compatLnSpc="1">
            <a:prstTxWarp prst="textNoShape">
              <a:avLst/>
            </a:prstTxWarp>
          </a:bodyPr>
          <a:lstStyle/>
          <a:p>
            <a:endParaRPr lang="nl-NL"/>
          </a:p>
        </p:txBody>
      </p:sp>
      <p:sp>
        <p:nvSpPr>
          <p:cNvPr id="5" name="Freeform 7"/>
          <p:cNvSpPr>
            <a:spLocks noSelect="1"/>
          </p:cNvSpPr>
          <p:nvPr userDrawn="1"/>
        </p:nvSpPr>
        <p:spPr bwMode="auto">
          <a:xfrm>
            <a:off x="0" y="3692525"/>
            <a:ext cx="1095375" cy="3165475"/>
          </a:xfrm>
          <a:custGeom>
            <a:avLst/>
            <a:gdLst>
              <a:gd name="T0" fmla="*/ 2631 w 3450"/>
              <a:gd name="T1" fmla="*/ 4016 h 9967"/>
              <a:gd name="T2" fmla="*/ 0 w 3450"/>
              <a:gd name="T3" fmla="*/ 0 h 9967"/>
              <a:gd name="T4" fmla="*/ 0 w 3450"/>
              <a:gd name="T5" fmla="*/ 365 h 9967"/>
              <a:gd name="T6" fmla="*/ 2464 w 3450"/>
              <a:gd name="T7" fmla="*/ 4125 h 9967"/>
              <a:gd name="T8" fmla="*/ 2601 w 3450"/>
              <a:gd name="T9" fmla="*/ 7784 h 9967"/>
              <a:gd name="T10" fmla="*/ 1395 w 3450"/>
              <a:gd name="T11" fmla="*/ 9967 h 9967"/>
              <a:gd name="T12" fmla="*/ 1624 w 3450"/>
              <a:gd name="T13" fmla="*/ 9967 h 9967"/>
              <a:gd name="T14" fmla="*/ 2776 w 3450"/>
              <a:gd name="T15" fmla="*/ 7881 h 9967"/>
              <a:gd name="T16" fmla="*/ 2631 w 3450"/>
              <a:gd name="T17" fmla="*/ 4016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0" h="9967">
                <a:moveTo>
                  <a:pt x="2631" y="4016"/>
                </a:moveTo>
                <a:cubicBezTo>
                  <a:pt x="0" y="0"/>
                  <a:pt x="0" y="0"/>
                  <a:pt x="0" y="0"/>
                </a:cubicBezTo>
                <a:cubicBezTo>
                  <a:pt x="0" y="365"/>
                  <a:pt x="0" y="365"/>
                  <a:pt x="0" y="365"/>
                </a:cubicBezTo>
                <a:cubicBezTo>
                  <a:pt x="2464" y="4125"/>
                  <a:pt x="2464" y="4125"/>
                  <a:pt x="2464" y="4125"/>
                </a:cubicBezTo>
                <a:cubicBezTo>
                  <a:pt x="3186" y="5228"/>
                  <a:pt x="3239" y="6630"/>
                  <a:pt x="2601" y="7784"/>
                </a:cubicBezTo>
                <a:cubicBezTo>
                  <a:pt x="1395" y="9967"/>
                  <a:pt x="1395" y="9967"/>
                  <a:pt x="1395" y="9967"/>
                </a:cubicBezTo>
                <a:cubicBezTo>
                  <a:pt x="1624" y="9967"/>
                  <a:pt x="1624" y="9967"/>
                  <a:pt x="1624" y="9967"/>
                </a:cubicBezTo>
                <a:cubicBezTo>
                  <a:pt x="2776" y="7881"/>
                  <a:pt x="2776" y="7881"/>
                  <a:pt x="2776" y="7881"/>
                </a:cubicBezTo>
                <a:cubicBezTo>
                  <a:pt x="3450" y="6662"/>
                  <a:pt x="3394" y="5181"/>
                  <a:pt x="2631" y="4016"/>
                </a:cubicBezTo>
                <a:close/>
              </a:path>
            </a:pathLst>
          </a:custGeom>
          <a:solidFill>
            <a:srgbClr val="C893C2"/>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984738"/>
            <a:ext cx="9648000" cy="4865076"/>
          </a:xfrm>
        </p:spPr>
        <p:txBody>
          <a:bodyPr anchor="ctr"/>
          <a:lstStyle>
            <a:lvl1pPr>
              <a:defRPr sz="6000" b="0">
                <a:solidFill>
                  <a:srgbClr val="591F58"/>
                </a:solidFill>
              </a:defRPr>
            </a:lvl1pPr>
          </a:lstStyle>
          <a:p>
            <a:r>
              <a:rPr lang="nl-NL" dirty="0"/>
              <a:t>[Titel]</a:t>
            </a:r>
          </a:p>
        </p:txBody>
      </p:sp>
    </p:spTree>
    <p:extLst>
      <p:ext uri="{BB962C8B-B14F-4D97-AF65-F5344CB8AC3E}">
        <p14:creationId xmlns:p14="http://schemas.microsoft.com/office/powerpoint/2010/main" val="296728225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Citaat roze">
    <p:bg>
      <p:bgPr>
        <a:solidFill>
          <a:srgbClr val="FAE3EF"/>
        </a:solidFill>
        <a:effectLst/>
      </p:bgPr>
    </p:bg>
    <p:spTree>
      <p:nvGrpSpPr>
        <p:cNvPr id="1" name=""/>
        <p:cNvGrpSpPr/>
        <p:nvPr/>
      </p:nvGrpSpPr>
      <p:grpSpPr>
        <a:xfrm>
          <a:off x="0" y="0"/>
          <a:ext cx="0" cy="0"/>
          <a:chOff x="0" y="0"/>
          <a:chExt cx="0" cy="0"/>
        </a:xfrm>
      </p:grpSpPr>
      <p:sp>
        <p:nvSpPr>
          <p:cNvPr id="4" name="Freeform 6"/>
          <p:cNvSpPr>
            <a:spLocks noSelect="1"/>
          </p:cNvSpPr>
          <p:nvPr userDrawn="1"/>
        </p:nvSpPr>
        <p:spPr bwMode="auto">
          <a:xfrm>
            <a:off x="10409238" y="0"/>
            <a:ext cx="1782763" cy="2051050"/>
          </a:xfrm>
          <a:custGeom>
            <a:avLst/>
            <a:gdLst>
              <a:gd name="T0" fmla="*/ 3813 w 5617"/>
              <a:gd name="T1" fmla="*/ 5880 h 6460"/>
              <a:gd name="T2" fmla="*/ 1129 w 5617"/>
              <a:gd name="T3" fmla="*/ 3390 h 6460"/>
              <a:gd name="T4" fmla="*/ 360 w 5617"/>
              <a:gd name="T5" fmla="*/ 723 h 6460"/>
              <a:gd name="T6" fmla="*/ 202 w 5617"/>
              <a:gd name="T7" fmla="*/ 0 h 6460"/>
              <a:gd name="T8" fmla="*/ 0 w 5617"/>
              <a:gd name="T9" fmla="*/ 0 h 6460"/>
              <a:gd name="T10" fmla="*/ 168 w 5617"/>
              <a:gd name="T11" fmla="*/ 779 h 6460"/>
              <a:gd name="T12" fmla="*/ 937 w 5617"/>
              <a:gd name="T13" fmla="*/ 3446 h 6460"/>
              <a:gd name="T14" fmla="*/ 3773 w 5617"/>
              <a:gd name="T15" fmla="*/ 6076 h 6460"/>
              <a:gd name="T16" fmla="*/ 5617 w 5617"/>
              <a:gd name="T17" fmla="*/ 6460 h 6460"/>
              <a:gd name="T18" fmla="*/ 5617 w 5617"/>
              <a:gd name="T19" fmla="*/ 6256 h 6460"/>
              <a:gd name="T20" fmla="*/ 3813 w 5617"/>
              <a:gd name="T21" fmla="*/ 5880 h 6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7" h="6460">
                <a:moveTo>
                  <a:pt x="3813" y="5880"/>
                </a:moveTo>
                <a:cubicBezTo>
                  <a:pt x="2523" y="5611"/>
                  <a:pt x="1494" y="4657"/>
                  <a:pt x="1129" y="3390"/>
                </a:cubicBezTo>
                <a:cubicBezTo>
                  <a:pt x="360" y="723"/>
                  <a:pt x="360" y="723"/>
                  <a:pt x="360" y="723"/>
                </a:cubicBezTo>
                <a:cubicBezTo>
                  <a:pt x="291" y="485"/>
                  <a:pt x="239" y="243"/>
                  <a:pt x="202" y="0"/>
                </a:cubicBezTo>
                <a:cubicBezTo>
                  <a:pt x="0" y="0"/>
                  <a:pt x="0" y="0"/>
                  <a:pt x="0" y="0"/>
                </a:cubicBezTo>
                <a:cubicBezTo>
                  <a:pt x="38" y="262"/>
                  <a:pt x="94" y="522"/>
                  <a:pt x="168" y="779"/>
                </a:cubicBezTo>
                <a:cubicBezTo>
                  <a:pt x="937" y="3446"/>
                  <a:pt x="937" y="3446"/>
                  <a:pt x="937" y="3446"/>
                </a:cubicBezTo>
                <a:cubicBezTo>
                  <a:pt x="1323" y="4784"/>
                  <a:pt x="2409" y="5792"/>
                  <a:pt x="3773" y="6076"/>
                </a:cubicBezTo>
                <a:cubicBezTo>
                  <a:pt x="5617" y="6460"/>
                  <a:pt x="5617" y="6460"/>
                  <a:pt x="5617" y="6460"/>
                </a:cubicBezTo>
                <a:cubicBezTo>
                  <a:pt x="5617" y="6256"/>
                  <a:pt x="5617" y="6256"/>
                  <a:pt x="5617" y="6256"/>
                </a:cubicBezTo>
                <a:lnTo>
                  <a:pt x="3813" y="5880"/>
                </a:lnTo>
                <a:close/>
              </a:path>
            </a:pathLst>
          </a:custGeom>
          <a:solidFill>
            <a:srgbClr val="F6BFD9"/>
          </a:solidFill>
          <a:ln>
            <a:noFill/>
          </a:ln>
        </p:spPr>
        <p:txBody>
          <a:bodyPr vert="horz" wrap="square" lIns="91440" tIns="45720" rIns="91440" bIns="45720" numCol="1" anchor="t" anchorCtr="0" compatLnSpc="1">
            <a:prstTxWarp prst="textNoShape">
              <a:avLst/>
            </a:prstTxWarp>
          </a:bodyPr>
          <a:lstStyle/>
          <a:p>
            <a:endParaRPr lang="nl-NL"/>
          </a:p>
        </p:txBody>
      </p:sp>
      <p:sp>
        <p:nvSpPr>
          <p:cNvPr id="5" name="Freeform 7"/>
          <p:cNvSpPr>
            <a:spLocks noSelect="1"/>
          </p:cNvSpPr>
          <p:nvPr userDrawn="1"/>
        </p:nvSpPr>
        <p:spPr bwMode="auto">
          <a:xfrm>
            <a:off x="0" y="3692525"/>
            <a:ext cx="1095375" cy="3165475"/>
          </a:xfrm>
          <a:custGeom>
            <a:avLst/>
            <a:gdLst>
              <a:gd name="T0" fmla="*/ 2631 w 3450"/>
              <a:gd name="T1" fmla="*/ 4016 h 9967"/>
              <a:gd name="T2" fmla="*/ 0 w 3450"/>
              <a:gd name="T3" fmla="*/ 0 h 9967"/>
              <a:gd name="T4" fmla="*/ 0 w 3450"/>
              <a:gd name="T5" fmla="*/ 365 h 9967"/>
              <a:gd name="T6" fmla="*/ 2464 w 3450"/>
              <a:gd name="T7" fmla="*/ 4125 h 9967"/>
              <a:gd name="T8" fmla="*/ 2601 w 3450"/>
              <a:gd name="T9" fmla="*/ 7784 h 9967"/>
              <a:gd name="T10" fmla="*/ 1395 w 3450"/>
              <a:gd name="T11" fmla="*/ 9967 h 9967"/>
              <a:gd name="T12" fmla="*/ 1624 w 3450"/>
              <a:gd name="T13" fmla="*/ 9967 h 9967"/>
              <a:gd name="T14" fmla="*/ 2776 w 3450"/>
              <a:gd name="T15" fmla="*/ 7881 h 9967"/>
              <a:gd name="T16" fmla="*/ 2631 w 3450"/>
              <a:gd name="T17" fmla="*/ 4016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0" h="9967">
                <a:moveTo>
                  <a:pt x="2631" y="4016"/>
                </a:moveTo>
                <a:cubicBezTo>
                  <a:pt x="0" y="0"/>
                  <a:pt x="0" y="0"/>
                  <a:pt x="0" y="0"/>
                </a:cubicBezTo>
                <a:cubicBezTo>
                  <a:pt x="0" y="365"/>
                  <a:pt x="0" y="365"/>
                  <a:pt x="0" y="365"/>
                </a:cubicBezTo>
                <a:cubicBezTo>
                  <a:pt x="2464" y="4125"/>
                  <a:pt x="2464" y="4125"/>
                  <a:pt x="2464" y="4125"/>
                </a:cubicBezTo>
                <a:cubicBezTo>
                  <a:pt x="3186" y="5228"/>
                  <a:pt x="3239" y="6630"/>
                  <a:pt x="2601" y="7784"/>
                </a:cubicBezTo>
                <a:cubicBezTo>
                  <a:pt x="1395" y="9967"/>
                  <a:pt x="1395" y="9967"/>
                  <a:pt x="1395" y="9967"/>
                </a:cubicBezTo>
                <a:cubicBezTo>
                  <a:pt x="1624" y="9967"/>
                  <a:pt x="1624" y="9967"/>
                  <a:pt x="1624" y="9967"/>
                </a:cubicBezTo>
                <a:cubicBezTo>
                  <a:pt x="2776" y="7881"/>
                  <a:pt x="2776" y="7881"/>
                  <a:pt x="2776" y="7881"/>
                </a:cubicBezTo>
                <a:cubicBezTo>
                  <a:pt x="3450" y="6662"/>
                  <a:pt x="3394" y="5181"/>
                  <a:pt x="2631" y="4016"/>
                </a:cubicBezTo>
                <a:close/>
              </a:path>
            </a:pathLst>
          </a:custGeom>
          <a:solidFill>
            <a:srgbClr val="F6BFD9"/>
          </a:solidFill>
          <a:ln>
            <a:noFill/>
          </a:ln>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a:xfrm>
            <a:off x="1321707" y="984738"/>
            <a:ext cx="9648000" cy="4865076"/>
          </a:xfrm>
        </p:spPr>
        <p:txBody>
          <a:bodyPr anchor="ctr"/>
          <a:lstStyle>
            <a:lvl1pPr>
              <a:defRPr sz="6000" b="0">
                <a:solidFill>
                  <a:srgbClr val="9E145C"/>
                </a:solidFill>
              </a:defRPr>
            </a:lvl1pPr>
          </a:lstStyle>
          <a:p>
            <a:r>
              <a:rPr lang="nl-NL" dirty="0"/>
              <a:t>[Titel]</a:t>
            </a:r>
          </a:p>
        </p:txBody>
      </p:sp>
    </p:spTree>
    <p:extLst>
      <p:ext uri="{BB962C8B-B14F-4D97-AF65-F5344CB8AC3E}">
        <p14:creationId xmlns:p14="http://schemas.microsoft.com/office/powerpoint/2010/main" val="17865442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eelddia">
    <p:bg>
      <p:bgPr>
        <a:solidFill>
          <a:srgbClr val="61ABDF"/>
        </a:solidFill>
        <a:effectLst/>
      </p:bgPr>
    </p:bg>
    <p:spTree>
      <p:nvGrpSpPr>
        <p:cNvPr id="1" name=""/>
        <p:cNvGrpSpPr/>
        <p:nvPr/>
      </p:nvGrpSpPr>
      <p:grpSpPr>
        <a:xfrm>
          <a:off x="0" y="0"/>
          <a:ext cx="0" cy="0"/>
          <a:chOff x="0" y="0"/>
          <a:chExt cx="0" cy="0"/>
        </a:xfrm>
      </p:grpSpPr>
      <p:sp>
        <p:nvSpPr>
          <p:cNvPr id="6" name="Instructie algemeen 6"/>
          <p:cNvSpPr>
            <a:spLocks noGrp="1" noSelect="1"/>
          </p:cNvSpPr>
          <p:nvPr>
            <p:ph type="body" sz="quarter" idx="15" hasCustomPrompt="1"/>
          </p:nvPr>
        </p:nvSpPr>
        <p:spPr>
          <a:xfrm>
            <a:off x="-2160000" y="-1"/>
            <a:ext cx="2052000" cy="4665786"/>
          </a:xfrm>
          <a:ln w="25400">
            <a:solidFill>
              <a:schemeClr val="accent1"/>
            </a:solidFill>
          </a:ln>
        </p:spPr>
        <p:txBody>
          <a:bodyPr lIns="36000" tIns="36000" rIns="36000" bIns="36000"/>
          <a:lstStyle>
            <a:lvl1pPr marL="0" indent="0">
              <a:lnSpc>
                <a:spcPct val="99000"/>
              </a:lnSpc>
              <a:buNone/>
              <a:defRPr sz="1050" b="0" baseline="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99000"/>
              </a:lnSpc>
              <a:buFont typeface="Arial" panose="020B0604020202020204" pitchFamily="34" charset="0"/>
              <a:buNone/>
              <a:defRPr sz="1050" b="0"/>
            </a:lvl5pPr>
          </a:lstStyle>
          <a:p>
            <a:pPr lvl="0"/>
            <a:r>
              <a:rPr lang="nl-NL" dirty="0"/>
              <a:t>Voeg je een foto in dan komt deze automatisch achter de vorm.</a:t>
            </a:r>
            <a:br>
              <a:rPr lang="nl-NL" dirty="0"/>
            </a:br>
            <a:r>
              <a:rPr lang="nl-NL" dirty="0"/>
              <a:t>Wil je de foto wijzigen, verwijder dan eerst de foto en klik dan in het lint hierboven op Start | Opnieuw instellen. Voeg daarna een nieuwe foto in. Zo komt de foto automatisch weer achter de vorm. Kies niet voor de optie Afbeelding wijzigen, want dan zal PowerPoint de foto in een ander formaat plaatsen. Opnieuw instellen zal het beeld vervormen.</a:t>
            </a:r>
            <a:br>
              <a:rPr lang="nl-NL" dirty="0"/>
            </a:br>
            <a:br>
              <a:rPr lang="nl-NL" dirty="0"/>
            </a:br>
            <a:br>
              <a:rPr lang="nl-NL" dirty="0"/>
            </a:br>
            <a:r>
              <a:rPr lang="nl-NL" dirty="0"/>
              <a:t> </a:t>
            </a:r>
            <a:br>
              <a:rPr lang="nl-NL" dirty="0"/>
            </a:br>
            <a:br>
              <a:rPr lang="nl-NL" dirty="0"/>
            </a:br>
            <a:br>
              <a:rPr lang="nl-NL" dirty="0"/>
            </a:br>
            <a:br>
              <a:rPr lang="nl-NL" dirty="0"/>
            </a:br>
            <a:br>
              <a:rPr lang="nl-NL" dirty="0"/>
            </a:br>
            <a:r>
              <a:rPr lang="nl-NL" dirty="0"/>
              <a:t>Deze uitleg wordt niet geprint of getoond in de presentatie. Klik in de rand van het frame met de tekst en de rand van de afbeelding en druk op delete om te verwijderen.</a:t>
            </a:r>
          </a:p>
          <a:p>
            <a:pPr lvl="4"/>
            <a:endParaRPr lang="nl-NL" dirty="0"/>
          </a:p>
        </p:txBody>
      </p:sp>
      <p:sp>
        <p:nvSpPr>
          <p:cNvPr id="7" name="Instructie afbeelding 7"/>
          <p:cNvSpPr>
            <a:spLocks noGrp="1" noSelect="1" noChangeAspect="1"/>
          </p:cNvSpPr>
          <p:nvPr>
            <p:ph type="body" sz="quarter" idx="16" hasCustomPrompt="1"/>
          </p:nvPr>
        </p:nvSpPr>
        <p:spPr>
          <a:xfrm>
            <a:off x="-1891637" y="2597168"/>
            <a:ext cx="1465333" cy="756000"/>
          </a:xfrm>
          <a:blipFill>
            <a:blip r:embed="rId2"/>
            <a:stretch>
              <a:fillRect/>
            </a:stretch>
          </a:blipFill>
        </p:spPr>
        <p:txBody>
          <a:bodyPr/>
          <a:lstStyle>
            <a:lvl1pPr marL="0" indent="0">
              <a:lnSpc>
                <a:spcPct val="99000"/>
              </a:lnSpc>
              <a:buNone/>
              <a:defRPr sz="1000" b="0"/>
            </a:lvl1pPr>
            <a:lvl2pPr marL="0" indent="0">
              <a:lnSpc>
                <a:spcPct val="99000"/>
              </a:lnSpc>
              <a:buNone/>
              <a:defRPr sz="1000" b="0"/>
            </a:lvl2pPr>
            <a:lvl3pPr marL="0" indent="0">
              <a:lnSpc>
                <a:spcPct val="99000"/>
              </a:lnSpc>
              <a:buNone/>
              <a:defRPr sz="1000" b="0"/>
            </a:lvl3pPr>
            <a:lvl4pPr marL="0" indent="0">
              <a:lnSpc>
                <a:spcPct val="99000"/>
              </a:lnSpc>
              <a:buFont typeface="Arial" panose="020B0604020202020204" pitchFamily="34" charset="0"/>
              <a:buNone/>
              <a:defRPr sz="1000" b="0"/>
            </a:lvl4pPr>
            <a:lvl5pPr marL="0" indent="0">
              <a:lnSpc>
                <a:spcPct val="99000"/>
              </a:lnSpc>
              <a:buFont typeface="Arial" panose="020B0604020202020204" pitchFamily="34" charset="0"/>
              <a:buNone/>
              <a:defRPr sz="1000" b="0"/>
            </a:lvl5pPr>
            <a:lvl6pPr marL="0" indent="0">
              <a:lnSpc>
                <a:spcPct val="99000"/>
              </a:lnSpc>
              <a:buFont typeface="Arial" panose="020B0604020202020204" pitchFamily="34" charset="0"/>
              <a:buNone/>
              <a:defRPr sz="1000" b="0"/>
            </a:lvl6pPr>
            <a:lvl7pPr marL="0" indent="0">
              <a:lnSpc>
                <a:spcPct val="99000"/>
              </a:lnSpc>
              <a:buFont typeface="Arial" panose="020B0604020202020204" pitchFamily="34" charset="0"/>
              <a:buNone/>
              <a:defRPr sz="1000" b="0"/>
            </a:lvl7pPr>
            <a:lvl8pPr marL="0" indent="0">
              <a:lnSpc>
                <a:spcPct val="99000"/>
              </a:lnSpc>
              <a:buFont typeface="Arial" panose="020B0604020202020204" pitchFamily="34" charset="0"/>
              <a:buNone/>
              <a:defRPr sz="1000" b="0"/>
            </a:lvl8pPr>
            <a:lvl9pPr marL="0" indent="0">
              <a:lnSpc>
                <a:spcPct val="99000"/>
              </a:lnSpc>
              <a:buFont typeface="Arial" panose="020B0604020202020204" pitchFamily="34" charset="0"/>
              <a:buNone/>
              <a:defRPr sz="1000" b="0"/>
            </a:lvl9pPr>
          </a:lstStyle>
          <a:p>
            <a:pPr lvl="0"/>
            <a:r>
              <a:rPr lang="nl-NL" dirty="0"/>
              <a:t> </a:t>
            </a:r>
          </a:p>
        </p:txBody>
      </p:sp>
      <p:sp>
        <p:nvSpPr>
          <p:cNvPr id="8" name="Tijdelijke aanduiding voor afbeelding 13"/>
          <p:cNvSpPr>
            <a:spLocks noGrp="1" noSelect="1"/>
          </p:cNvSpPr>
          <p:nvPr>
            <p:ph type="pic" idx="10" hasCustomPrompt="1"/>
          </p:nvPr>
        </p:nvSpPr>
        <p:spPr>
          <a:xfrm>
            <a:off x="0" y="0"/>
            <a:ext cx="11044346" cy="6858000"/>
          </a:xfrm>
          <a:custGeom>
            <a:avLst/>
            <a:gdLst>
              <a:gd name="connsiteX0" fmla="*/ 0 w 11044346"/>
              <a:gd name="connsiteY0" fmla="*/ 0 h 6858000"/>
              <a:gd name="connsiteX1" fmla="*/ 9010650 w 11044346"/>
              <a:gd name="connsiteY1" fmla="*/ 0 h 6858000"/>
              <a:gd name="connsiteX2" fmla="*/ 9012237 w 11044346"/>
              <a:gd name="connsiteY2" fmla="*/ 953 h 6858000"/>
              <a:gd name="connsiteX3" fmla="*/ 10232024 w 11044346"/>
              <a:gd name="connsiteY3" fmla="*/ 810895 h 6858000"/>
              <a:gd name="connsiteX4" fmla="*/ 10999510 w 11044346"/>
              <a:gd name="connsiteY4" fmla="*/ 2725420 h 6858000"/>
              <a:gd name="connsiteX5" fmla="*/ 10460873 w 11044346"/>
              <a:gd name="connsiteY5" fmla="*/ 5109210 h 6858000"/>
              <a:gd name="connsiteX6" fmla="*/ 9319168 w 11044346"/>
              <a:gd name="connsiteY6" fmla="*/ 6858000 h 6858000"/>
              <a:gd name="connsiteX7" fmla="*/ 0 w 1104434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4346" h="6858000">
                <a:moveTo>
                  <a:pt x="0" y="0"/>
                </a:moveTo>
                <a:lnTo>
                  <a:pt x="9010650" y="0"/>
                </a:lnTo>
                <a:cubicBezTo>
                  <a:pt x="9011285" y="318"/>
                  <a:pt x="9011602" y="635"/>
                  <a:pt x="9012237" y="953"/>
                </a:cubicBezTo>
                <a:cubicBezTo>
                  <a:pt x="10232024" y="810895"/>
                  <a:pt x="10232024" y="810895"/>
                  <a:pt x="10232024" y="810895"/>
                </a:cubicBezTo>
                <a:cubicBezTo>
                  <a:pt x="10860486" y="1228090"/>
                  <a:pt x="11165830" y="1989773"/>
                  <a:pt x="10999510" y="2725420"/>
                </a:cubicBezTo>
                <a:cubicBezTo>
                  <a:pt x="10460873" y="5109210"/>
                  <a:pt x="10460873" y="5109210"/>
                  <a:pt x="10460873" y="5109210"/>
                </a:cubicBezTo>
                <a:cubicBezTo>
                  <a:pt x="10301219" y="5816600"/>
                  <a:pt x="9892084" y="6435090"/>
                  <a:pt x="9319168" y="6858000"/>
                </a:cubicBezTo>
                <a:lnTo>
                  <a:pt x="0" y="6858000"/>
                </a:lnTo>
                <a:close/>
              </a:path>
            </a:pathLst>
          </a:custGeom>
          <a:solidFill>
            <a:srgbClr val="B7E2FA"/>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84135855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eelddia groen">
    <p:bg>
      <p:bgPr>
        <a:solidFill>
          <a:srgbClr val="2BAD70"/>
        </a:solidFill>
        <a:effectLst/>
      </p:bgPr>
    </p:bg>
    <p:spTree>
      <p:nvGrpSpPr>
        <p:cNvPr id="1" name=""/>
        <p:cNvGrpSpPr/>
        <p:nvPr/>
      </p:nvGrpSpPr>
      <p:grpSpPr>
        <a:xfrm>
          <a:off x="0" y="0"/>
          <a:ext cx="0" cy="0"/>
          <a:chOff x="0" y="0"/>
          <a:chExt cx="0" cy="0"/>
        </a:xfrm>
      </p:grpSpPr>
      <p:sp>
        <p:nvSpPr>
          <p:cNvPr id="6" name="Instructie algemeen 6"/>
          <p:cNvSpPr>
            <a:spLocks noGrp="1" noSelect="1"/>
          </p:cNvSpPr>
          <p:nvPr>
            <p:ph type="body" sz="quarter" idx="15" hasCustomPrompt="1"/>
          </p:nvPr>
        </p:nvSpPr>
        <p:spPr>
          <a:xfrm>
            <a:off x="-2160000" y="-1"/>
            <a:ext cx="2052000" cy="4665786"/>
          </a:xfrm>
          <a:ln w="25400">
            <a:solidFill>
              <a:schemeClr val="accent1"/>
            </a:solidFill>
          </a:ln>
        </p:spPr>
        <p:txBody>
          <a:bodyPr lIns="36000" tIns="36000" rIns="36000" bIns="36000"/>
          <a:lstStyle>
            <a:lvl1pPr marL="0" indent="0">
              <a:lnSpc>
                <a:spcPct val="99000"/>
              </a:lnSpc>
              <a:buNone/>
              <a:defRPr sz="1050" b="0" baseline="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99000"/>
              </a:lnSpc>
              <a:buFont typeface="Arial" panose="020B0604020202020204" pitchFamily="34" charset="0"/>
              <a:buNone/>
              <a:defRPr sz="1050" b="0"/>
            </a:lvl5pPr>
          </a:lstStyle>
          <a:p>
            <a:pPr lvl="0"/>
            <a:r>
              <a:rPr lang="nl-NL" dirty="0"/>
              <a:t>Voeg je een foto in dan komt deze automatisch achter de vorm.</a:t>
            </a:r>
            <a:br>
              <a:rPr lang="nl-NL" dirty="0"/>
            </a:br>
            <a:r>
              <a:rPr lang="nl-NL" dirty="0"/>
              <a:t>Wil je de foto wijzigen, verwijder dan eerst de foto en klik dan in het lint hierboven op Start | Opnieuw instellen. Voeg daarna een nieuwe foto in. Zo komt de foto automatisch weer achter de vorm. Kies niet voor de optie Afbeelding wijzigen, want dan zal PowerPoint de foto in een ander formaat plaatsen. Opnieuw instellen zal het beeld vervormen.</a:t>
            </a:r>
            <a:br>
              <a:rPr lang="nl-NL" dirty="0"/>
            </a:br>
            <a:br>
              <a:rPr lang="nl-NL" dirty="0"/>
            </a:br>
            <a:br>
              <a:rPr lang="nl-NL" dirty="0"/>
            </a:br>
            <a:r>
              <a:rPr lang="nl-NL" dirty="0"/>
              <a:t> </a:t>
            </a:r>
            <a:br>
              <a:rPr lang="nl-NL" dirty="0"/>
            </a:br>
            <a:br>
              <a:rPr lang="nl-NL" dirty="0"/>
            </a:br>
            <a:br>
              <a:rPr lang="nl-NL" dirty="0"/>
            </a:br>
            <a:br>
              <a:rPr lang="nl-NL" dirty="0"/>
            </a:br>
            <a:br>
              <a:rPr lang="nl-NL" dirty="0"/>
            </a:br>
            <a:r>
              <a:rPr lang="nl-NL" dirty="0"/>
              <a:t>Deze uitleg wordt niet geprint of getoond in de presentatie. Klik in de rand van het frame met de tekst en de rand van de afbeelding en druk op delete om te verwijderen.</a:t>
            </a:r>
          </a:p>
          <a:p>
            <a:pPr lvl="4"/>
            <a:endParaRPr lang="nl-NL" dirty="0"/>
          </a:p>
        </p:txBody>
      </p:sp>
      <p:sp>
        <p:nvSpPr>
          <p:cNvPr id="7" name="Instructie afbeelding 7"/>
          <p:cNvSpPr>
            <a:spLocks noGrp="1" noSelect="1" noChangeAspect="1"/>
          </p:cNvSpPr>
          <p:nvPr>
            <p:ph type="body" sz="quarter" idx="16" hasCustomPrompt="1"/>
          </p:nvPr>
        </p:nvSpPr>
        <p:spPr>
          <a:xfrm>
            <a:off x="-1891637" y="2597168"/>
            <a:ext cx="1465333" cy="756000"/>
          </a:xfrm>
          <a:blipFill>
            <a:blip r:embed="rId2"/>
            <a:stretch>
              <a:fillRect/>
            </a:stretch>
          </a:blipFill>
        </p:spPr>
        <p:txBody>
          <a:bodyPr/>
          <a:lstStyle>
            <a:lvl1pPr marL="0" indent="0">
              <a:lnSpc>
                <a:spcPct val="99000"/>
              </a:lnSpc>
              <a:buNone/>
              <a:defRPr sz="1000" b="0"/>
            </a:lvl1pPr>
            <a:lvl2pPr marL="0" indent="0">
              <a:lnSpc>
                <a:spcPct val="99000"/>
              </a:lnSpc>
              <a:buNone/>
              <a:defRPr sz="1000" b="0"/>
            </a:lvl2pPr>
            <a:lvl3pPr marL="0" indent="0">
              <a:lnSpc>
                <a:spcPct val="99000"/>
              </a:lnSpc>
              <a:buNone/>
              <a:defRPr sz="1000" b="0"/>
            </a:lvl3pPr>
            <a:lvl4pPr marL="0" indent="0">
              <a:lnSpc>
                <a:spcPct val="99000"/>
              </a:lnSpc>
              <a:buFont typeface="Arial" panose="020B0604020202020204" pitchFamily="34" charset="0"/>
              <a:buNone/>
              <a:defRPr sz="1000" b="0"/>
            </a:lvl4pPr>
            <a:lvl5pPr marL="0" indent="0">
              <a:lnSpc>
                <a:spcPct val="99000"/>
              </a:lnSpc>
              <a:buFont typeface="Arial" panose="020B0604020202020204" pitchFamily="34" charset="0"/>
              <a:buNone/>
              <a:defRPr sz="1000" b="0"/>
            </a:lvl5pPr>
            <a:lvl6pPr marL="0" indent="0">
              <a:lnSpc>
                <a:spcPct val="99000"/>
              </a:lnSpc>
              <a:buFont typeface="Arial" panose="020B0604020202020204" pitchFamily="34" charset="0"/>
              <a:buNone/>
              <a:defRPr sz="1000" b="0"/>
            </a:lvl6pPr>
            <a:lvl7pPr marL="0" indent="0">
              <a:lnSpc>
                <a:spcPct val="99000"/>
              </a:lnSpc>
              <a:buFont typeface="Arial" panose="020B0604020202020204" pitchFamily="34" charset="0"/>
              <a:buNone/>
              <a:defRPr sz="1000" b="0"/>
            </a:lvl7pPr>
            <a:lvl8pPr marL="0" indent="0">
              <a:lnSpc>
                <a:spcPct val="99000"/>
              </a:lnSpc>
              <a:buFont typeface="Arial" panose="020B0604020202020204" pitchFamily="34" charset="0"/>
              <a:buNone/>
              <a:defRPr sz="1000" b="0"/>
            </a:lvl8pPr>
            <a:lvl9pPr marL="0" indent="0">
              <a:lnSpc>
                <a:spcPct val="99000"/>
              </a:lnSpc>
              <a:buFont typeface="Arial" panose="020B0604020202020204" pitchFamily="34" charset="0"/>
              <a:buNone/>
              <a:defRPr sz="1000" b="0"/>
            </a:lvl9pPr>
          </a:lstStyle>
          <a:p>
            <a:pPr lvl="0"/>
            <a:r>
              <a:rPr lang="nl-NL" dirty="0"/>
              <a:t> </a:t>
            </a:r>
          </a:p>
        </p:txBody>
      </p:sp>
      <p:sp>
        <p:nvSpPr>
          <p:cNvPr id="8" name="Tijdelijke aanduiding voor afbeelding 13"/>
          <p:cNvSpPr>
            <a:spLocks noGrp="1" noSelect="1"/>
          </p:cNvSpPr>
          <p:nvPr>
            <p:ph type="pic" idx="10" hasCustomPrompt="1"/>
          </p:nvPr>
        </p:nvSpPr>
        <p:spPr>
          <a:xfrm>
            <a:off x="0" y="0"/>
            <a:ext cx="11044346" cy="6858000"/>
          </a:xfrm>
          <a:custGeom>
            <a:avLst/>
            <a:gdLst>
              <a:gd name="connsiteX0" fmla="*/ 0 w 11044346"/>
              <a:gd name="connsiteY0" fmla="*/ 0 h 6858000"/>
              <a:gd name="connsiteX1" fmla="*/ 9010650 w 11044346"/>
              <a:gd name="connsiteY1" fmla="*/ 0 h 6858000"/>
              <a:gd name="connsiteX2" fmla="*/ 9012237 w 11044346"/>
              <a:gd name="connsiteY2" fmla="*/ 953 h 6858000"/>
              <a:gd name="connsiteX3" fmla="*/ 10232024 w 11044346"/>
              <a:gd name="connsiteY3" fmla="*/ 810895 h 6858000"/>
              <a:gd name="connsiteX4" fmla="*/ 10999510 w 11044346"/>
              <a:gd name="connsiteY4" fmla="*/ 2725420 h 6858000"/>
              <a:gd name="connsiteX5" fmla="*/ 10460873 w 11044346"/>
              <a:gd name="connsiteY5" fmla="*/ 5109210 h 6858000"/>
              <a:gd name="connsiteX6" fmla="*/ 9319168 w 11044346"/>
              <a:gd name="connsiteY6" fmla="*/ 6858000 h 6858000"/>
              <a:gd name="connsiteX7" fmla="*/ 0 w 1104434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4346" h="6858000">
                <a:moveTo>
                  <a:pt x="0" y="0"/>
                </a:moveTo>
                <a:lnTo>
                  <a:pt x="9010650" y="0"/>
                </a:lnTo>
                <a:cubicBezTo>
                  <a:pt x="9011285" y="318"/>
                  <a:pt x="9011602" y="635"/>
                  <a:pt x="9012237" y="953"/>
                </a:cubicBezTo>
                <a:cubicBezTo>
                  <a:pt x="10232024" y="810895"/>
                  <a:pt x="10232024" y="810895"/>
                  <a:pt x="10232024" y="810895"/>
                </a:cubicBezTo>
                <a:cubicBezTo>
                  <a:pt x="10860486" y="1228090"/>
                  <a:pt x="11165830" y="1989773"/>
                  <a:pt x="10999510" y="2725420"/>
                </a:cubicBezTo>
                <a:cubicBezTo>
                  <a:pt x="10460873" y="5109210"/>
                  <a:pt x="10460873" y="5109210"/>
                  <a:pt x="10460873" y="5109210"/>
                </a:cubicBezTo>
                <a:cubicBezTo>
                  <a:pt x="10301219" y="5816600"/>
                  <a:pt x="9892084" y="6435090"/>
                  <a:pt x="9319168" y="6858000"/>
                </a:cubicBezTo>
                <a:lnTo>
                  <a:pt x="0" y="6858000"/>
                </a:lnTo>
                <a:close/>
              </a:path>
            </a:pathLst>
          </a:custGeom>
          <a:solidFill>
            <a:srgbClr val="CEE7DC"/>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20121522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oranje">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1F7B3C21-7F2D-4FC3-8EA4-F6C9E2D71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jdelijke aanduiding voor inhoud 2"/>
          <p:cNvSpPr>
            <a:spLocks noGrp="1"/>
          </p:cNvSpPr>
          <p:nvPr>
            <p:ph idx="1"/>
          </p:nvPr>
        </p:nvSpPr>
        <p:spPr>
          <a:xfrm>
            <a:off x="1730326" y="2419643"/>
            <a:ext cx="8975188" cy="329184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3491E7AF-C790-44BF-807F-104AF2ADA70E}"/>
              </a:ext>
            </a:extLst>
          </p:cNvPr>
          <p:cNvSpPr>
            <a:spLocks noGrp="1"/>
          </p:cNvSpPr>
          <p:nvPr>
            <p:ph type="dt" sz="half" idx="10"/>
          </p:nvPr>
        </p:nvSpPr>
        <p:spPr/>
        <p:txBody>
          <a:bodyPr/>
          <a:lstStyle>
            <a:lvl1pPr>
              <a:defRPr smtClean="0">
                <a:solidFill>
                  <a:schemeClr val="bg1"/>
                </a:solidFill>
              </a:defRPr>
            </a:lvl1pPr>
          </a:lstStyle>
          <a:p>
            <a:pPr>
              <a:defRPr/>
            </a:pPr>
            <a:fld id="{36595C4B-77C6-493A-A17B-EC7AF4E36FE8}" type="datetimeFigureOut">
              <a:rPr lang="nl-NL"/>
              <a:pPr>
                <a:defRPr/>
              </a:pPr>
              <a:t>28-9-2022</a:t>
            </a:fld>
            <a:endParaRPr lang="nl-NL" dirty="0"/>
          </a:p>
        </p:txBody>
      </p:sp>
      <p:sp>
        <p:nvSpPr>
          <p:cNvPr id="5" name="Tijdelijke aanduiding voor voettekst 4">
            <a:extLst>
              <a:ext uri="{FF2B5EF4-FFF2-40B4-BE49-F238E27FC236}">
                <a16:creationId xmlns:a16="http://schemas.microsoft.com/office/drawing/2014/main" id="{720278D9-5FEE-4893-BB1B-F972DAB667B4}"/>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5">
            <a:extLst>
              <a:ext uri="{FF2B5EF4-FFF2-40B4-BE49-F238E27FC236}">
                <a16:creationId xmlns:a16="http://schemas.microsoft.com/office/drawing/2014/main" id="{61D0F0AC-D9C1-4D62-A76B-868DAD688E8A}"/>
              </a:ext>
            </a:extLst>
          </p:cNvPr>
          <p:cNvSpPr>
            <a:spLocks noGrp="1"/>
          </p:cNvSpPr>
          <p:nvPr>
            <p:ph type="sldNum" sz="quarter" idx="12"/>
          </p:nvPr>
        </p:nvSpPr>
        <p:spPr/>
        <p:txBody>
          <a:bodyPr/>
          <a:lstStyle>
            <a:lvl1pPr>
              <a:defRPr smtClean="0">
                <a:solidFill>
                  <a:schemeClr val="bg1"/>
                </a:solidFill>
              </a:defRPr>
            </a:lvl1pPr>
          </a:lstStyle>
          <a:p>
            <a:pPr>
              <a:defRPr/>
            </a:pPr>
            <a:fld id="{B8C11841-BE91-47C5-A8CA-0C40F322F0FC}" type="slidenum">
              <a:rPr lang="nl-NL"/>
              <a:pPr>
                <a:defRPr/>
              </a:pPr>
              <a:t>‹nr.›</a:t>
            </a:fld>
            <a:endParaRPr lang="nl-NL" dirty="0"/>
          </a:p>
        </p:txBody>
      </p:sp>
    </p:spTree>
    <p:extLst>
      <p:ext uri="{BB962C8B-B14F-4D97-AF65-F5344CB8AC3E}">
        <p14:creationId xmlns:p14="http://schemas.microsoft.com/office/powerpoint/2010/main" val="11337256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eelddia paars">
    <p:bg>
      <p:bgPr>
        <a:solidFill>
          <a:srgbClr val="B26BA9"/>
        </a:solidFill>
        <a:effectLst/>
      </p:bgPr>
    </p:bg>
    <p:spTree>
      <p:nvGrpSpPr>
        <p:cNvPr id="1" name=""/>
        <p:cNvGrpSpPr/>
        <p:nvPr/>
      </p:nvGrpSpPr>
      <p:grpSpPr>
        <a:xfrm>
          <a:off x="0" y="0"/>
          <a:ext cx="0" cy="0"/>
          <a:chOff x="0" y="0"/>
          <a:chExt cx="0" cy="0"/>
        </a:xfrm>
      </p:grpSpPr>
      <p:sp>
        <p:nvSpPr>
          <p:cNvPr id="6" name="Instructie algemeen 6"/>
          <p:cNvSpPr>
            <a:spLocks noGrp="1" noSelect="1"/>
          </p:cNvSpPr>
          <p:nvPr>
            <p:ph type="body" sz="quarter" idx="15" hasCustomPrompt="1"/>
          </p:nvPr>
        </p:nvSpPr>
        <p:spPr>
          <a:xfrm>
            <a:off x="-2160000" y="-1"/>
            <a:ext cx="2052000" cy="4665786"/>
          </a:xfrm>
          <a:ln w="25400">
            <a:solidFill>
              <a:schemeClr val="accent1"/>
            </a:solidFill>
          </a:ln>
        </p:spPr>
        <p:txBody>
          <a:bodyPr lIns="36000" tIns="36000" rIns="36000" bIns="36000"/>
          <a:lstStyle>
            <a:lvl1pPr marL="0" indent="0">
              <a:lnSpc>
                <a:spcPct val="99000"/>
              </a:lnSpc>
              <a:buNone/>
              <a:defRPr sz="1050" b="0" baseline="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99000"/>
              </a:lnSpc>
              <a:buFont typeface="Arial" panose="020B0604020202020204" pitchFamily="34" charset="0"/>
              <a:buNone/>
              <a:defRPr sz="1050" b="0"/>
            </a:lvl5pPr>
          </a:lstStyle>
          <a:p>
            <a:pPr lvl="0"/>
            <a:r>
              <a:rPr lang="nl-NL" dirty="0"/>
              <a:t>Voeg je een foto in dan komt deze automatisch achter de vorm.</a:t>
            </a:r>
            <a:br>
              <a:rPr lang="nl-NL" dirty="0"/>
            </a:br>
            <a:r>
              <a:rPr lang="nl-NL" dirty="0"/>
              <a:t>Wil je de foto wijzigen, verwijder dan eerst de foto en klik dan in het lint hierboven op Start | Opnieuw instellen. Voeg daarna een nieuwe foto in. Zo komt de foto automatisch weer achter de vorm. Kies niet voor de optie Afbeelding wijzigen, want dan zal PowerPoint de foto in een ander formaat plaatsen. Opnieuw instellen zal het beeld vervormen.</a:t>
            </a:r>
            <a:br>
              <a:rPr lang="nl-NL" dirty="0"/>
            </a:br>
            <a:br>
              <a:rPr lang="nl-NL" dirty="0"/>
            </a:br>
            <a:br>
              <a:rPr lang="nl-NL" dirty="0"/>
            </a:br>
            <a:r>
              <a:rPr lang="nl-NL" dirty="0"/>
              <a:t> </a:t>
            </a:r>
            <a:br>
              <a:rPr lang="nl-NL" dirty="0"/>
            </a:br>
            <a:br>
              <a:rPr lang="nl-NL" dirty="0"/>
            </a:br>
            <a:br>
              <a:rPr lang="nl-NL" dirty="0"/>
            </a:br>
            <a:br>
              <a:rPr lang="nl-NL" dirty="0"/>
            </a:br>
            <a:br>
              <a:rPr lang="nl-NL" dirty="0"/>
            </a:br>
            <a:r>
              <a:rPr lang="nl-NL" dirty="0"/>
              <a:t>Deze uitleg wordt niet geprint of getoond in de presentatie. Klik in de rand van het frame met de tekst en de rand van de afbeelding en druk op delete om te verwijderen.</a:t>
            </a:r>
          </a:p>
          <a:p>
            <a:pPr lvl="4"/>
            <a:endParaRPr lang="nl-NL" dirty="0"/>
          </a:p>
        </p:txBody>
      </p:sp>
      <p:sp>
        <p:nvSpPr>
          <p:cNvPr id="7" name="Instructie afbeelding 7"/>
          <p:cNvSpPr>
            <a:spLocks noGrp="1" noSelect="1" noChangeAspect="1"/>
          </p:cNvSpPr>
          <p:nvPr>
            <p:ph type="body" sz="quarter" idx="16" hasCustomPrompt="1"/>
          </p:nvPr>
        </p:nvSpPr>
        <p:spPr>
          <a:xfrm>
            <a:off x="-1891637" y="2597168"/>
            <a:ext cx="1465333" cy="756000"/>
          </a:xfrm>
          <a:blipFill>
            <a:blip r:embed="rId2"/>
            <a:stretch>
              <a:fillRect/>
            </a:stretch>
          </a:blipFill>
        </p:spPr>
        <p:txBody>
          <a:bodyPr/>
          <a:lstStyle>
            <a:lvl1pPr marL="0" indent="0">
              <a:lnSpc>
                <a:spcPct val="99000"/>
              </a:lnSpc>
              <a:buNone/>
              <a:defRPr sz="1000" b="0"/>
            </a:lvl1pPr>
            <a:lvl2pPr marL="0" indent="0">
              <a:lnSpc>
                <a:spcPct val="99000"/>
              </a:lnSpc>
              <a:buNone/>
              <a:defRPr sz="1000" b="0"/>
            </a:lvl2pPr>
            <a:lvl3pPr marL="0" indent="0">
              <a:lnSpc>
                <a:spcPct val="99000"/>
              </a:lnSpc>
              <a:buNone/>
              <a:defRPr sz="1000" b="0"/>
            </a:lvl3pPr>
            <a:lvl4pPr marL="0" indent="0">
              <a:lnSpc>
                <a:spcPct val="99000"/>
              </a:lnSpc>
              <a:buFont typeface="Arial" panose="020B0604020202020204" pitchFamily="34" charset="0"/>
              <a:buNone/>
              <a:defRPr sz="1000" b="0"/>
            </a:lvl4pPr>
            <a:lvl5pPr marL="0" indent="0">
              <a:lnSpc>
                <a:spcPct val="99000"/>
              </a:lnSpc>
              <a:buFont typeface="Arial" panose="020B0604020202020204" pitchFamily="34" charset="0"/>
              <a:buNone/>
              <a:defRPr sz="1000" b="0"/>
            </a:lvl5pPr>
            <a:lvl6pPr marL="0" indent="0">
              <a:lnSpc>
                <a:spcPct val="99000"/>
              </a:lnSpc>
              <a:buFont typeface="Arial" panose="020B0604020202020204" pitchFamily="34" charset="0"/>
              <a:buNone/>
              <a:defRPr sz="1000" b="0"/>
            </a:lvl6pPr>
            <a:lvl7pPr marL="0" indent="0">
              <a:lnSpc>
                <a:spcPct val="99000"/>
              </a:lnSpc>
              <a:buFont typeface="Arial" panose="020B0604020202020204" pitchFamily="34" charset="0"/>
              <a:buNone/>
              <a:defRPr sz="1000" b="0"/>
            </a:lvl7pPr>
            <a:lvl8pPr marL="0" indent="0">
              <a:lnSpc>
                <a:spcPct val="99000"/>
              </a:lnSpc>
              <a:buFont typeface="Arial" panose="020B0604020202020204" pitchFamily="34" charset="0"/>
              <a:buNone/>
              <a:defRPr sz="1000" b="0"/>
            </a:lvl8pPr>
            <a:lvl9pPr marL="0" indent="0">
              <a:lnSpc>
                <a:spcPct val="99000"/>
              </a:lnSpc>
              <a:buFont typeface="Arial" panose="020B0604020202020204" pitchFamily="34" charset="0"/>
              <a:buNone/>
              <a:defRPr sz="1000" b="0"/>
            </a:lvl9pPr>
          </a:lstStyle>
          <a:p>
            <a:pPr lvl="0"/>
            <a:r>
              <a:rPr lang="nl-NL" dirty="0"/>
              <a:t> </a:t>
            </a:r>
          </a:p>
        </p:txBody>
      </p:sp>
      <p:sp>
        <p:nvSpPr>
          <p:cNvPr id="8" name="Tijdelijke aanduiding voor afbeelding 13"/>
          <p:cNvSpPr>
            <a:spLocks noGrp="1" noSelect="1"/>
          </p:cNvSpPr>
          <p:nvPr>
            <p:ph type="pic" idx="10" hasCustomPrompt="1"/>
          </p:nvPr>
        </p:nvSpPr>
        <p:spPr>
          <a:xfrm>
            <a:off x="0" y="0"/>
            <a:ext cx="11044346" cy="6858000"/>
          </a:xfrm>
          <a:custGeom>
            <a:avLst/>
            <a:gdLst>
              <a:gd name="connsiteX0" fmla="*/ 0 w 11044346"/>
              <a:gd name="connsiteY0" fmla="*/ 0 h 6858000"/>
              <a:gd name="connsiteX1" fmla="*/ 9010650 w 11044346"/>
              <a:gd name="connsiteY1" fmla="*/ 0 h 6858000"/>
              <a:gd name="connsiteX2" fmla="*/ 9012237 w 11044346"/>
              <a:gd name="connsiteY2" fmla="*/ 953 h 6858000"/>
              <a:gd name="connsiteX3" fmla="*/ 10232024 w 11044346"/>
              <a:gd name="connsiteY3" fmla="*/ 810895 h 6858000"/>
              <a:gd name="connsiteX4" fmla="*/ 10999510 w 11044346"/>
              <a:gd name="connsiteY4" fmla="*/ 2725420 h 6858000"/>
              <a:gd name="connsiteX5" fmla="*/ 10460873 w 11044346"/>
              <a:gd name="connsiteY5" fmla="*/ 5109210 h 6858000"/>
              <a:gd name="connsiteX6" fmla="*/ 9319168 w 11044346"/>
              <a:gd name="connsiteY6" fmla="*/ 6858000 h 6858000"/>
              <a:gd name="connsiteX7" fmla="*/ 0 w 1104434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4346" h="6858000">
                <a:moveTo>
                  <a:pt x="0" y="0"/>
                </a:moveTo>
                <a:lnTo>
                  <a:pt x="9010650" y="0"/>
                </a:lnTo>
                <a:cubicBezTo>
                  <a:pt x="9011285" y="318"/>
                  <a:pt x="9011602" y="635"/>
                  <a:pt x="9012237" y="953"/>
                </a:cubicBezTo>
                <a:cubicBezTo>
                  <a:pt x="10232024" y="810895"/>
                  <a:pt x="10232024" y="810895"/>
                  <a:pt x="10232024" y="810895"/>
                </a:cubicBezTo>
                <a:cubicBezTo>
                  <a:pt x="10860486" y="1228090"/>
                  <a:pt x="11165830" y="1989773"/>
                  <a:pt x="10999510" y="2725420"/>
                </a:cubicBezTo>
                <a:cubicBezTo>
                  <a:pt x="10460873" y="5109210"/>
                  <a:pt x="10460873" y="5109210"/>
                  <a:pt x="10460873" y="5109210"/>
                </a:cubicBezTo>
                <a:cubicBezTo>
                  <a:pt x="10301219" y="5816600"/>
                  <a:pt x="9892084" y="6435090"/>
                  <a:pt x="9319168" y="6858000"/>
                </a:cubicBezTo>
                <a:lnTo>
                  <a:pt x="0" y="6858000"/>
                </a:lnTo>
                <a:close/>
              </a:path>
            </a:pathLst>
          </a:custGeom>
          <a:solidFill>
            <a:srgbClr val="EBD6EA"/>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1518363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eelddia roze">
    <p:bg>
      <p:bgPr>
        <a:solidFill>
          <a:srgbClr val="F29FC5"/>
        </a:solidFill>
        <a:effectLst/>
      </p:bgPr>
    </p:bg>
    <p:spTree>
      <p:nvGrpSpPr>
        <p:cNvPr id="1" name=""/>
        <p:cNvGrpSpPr/>
        <p:nvPr/>
      </p:nvGrpSpPr>
      <p:grpSpPr>
        <a:xfrm>
          <a:off x="0" y="0"/>
          <a:ext cx="0" cy="0"/>
          <a:chOff x="0" y="0"/>
          <a:chExt cx="0" cy="0"/>
        </a:xfrm>
      </p:grpSpPr>
      <p:sp>
        <p:nvSpPr>
          <p:cNvPr id="6" name="Instructie algemeen 6"/>
          <p:cNvSpPr>
            <a:spLocks noGrp="1" noSelect="1"/>
          </p:cNvSpPr>
          <p:nvPr>
            <p:ph type="body" sz="quarter" idx="15" hasCustomPrompt="1"/>
          </p:nvPr>
        </p:nvSpPr>
        <p:spPr>
          <a:xfrm>
            <a:off x="-2160000" y="-1"/>
            <a:ext cx="2052000" cy="4665786"/>
          </a:xfrm>
          <a:ln w="25400">
            <a:solidFill>
              <a:schemeClr val="accent1"/>
            </a:solidFill>
          </a:ln>
        </p:spPr>
        <p:txBody>
          <a:bodyPr lIns="36000" tIns="36000" rIns="36000" bIns="36000"/>
          <a:lstStyle>
            <a:lvl1pPr marL="0" indent="0">
              <a:lnSpc>
                <a:spcPct val="99000"/>
              </a:lnSpc>
              <a:buNone/>
              <a:defRPr sz="1050" b="0" baseline="0"/>
            </a:lvl1pPr>
            <a:lvl2pPr marL="0" indent="0">
              <a:buNone/>
              <a:defRPr sz="1100" b="0"/>
            </a:lvl2pPr>
            <a:lvl3pPr marL="0" indent="0">
              <a:buNone/>
              <a:defRPr sz="1100" b="0"/>
            </a:lvl3pPr>
            <a:lvl4pPr marL="0" indent="0">
              <a:buFont typeface="Arial" panose="020B0604020202020204" pitchFamily="34" charset="0"/>
              <a:buNone/>
              <a:defRPr sz="1100" b="0"/>
            </a:lvl4pPr>
            <a:lvl5pPr marL="0" indent="0">
              <a:lnSpc>
                <a:spcPct val="99000"/>
              </a:lnSpc>
              <a:buFont typeface="Arial" panose="020B0604020202020204" pitchFamily="34" charset="0"/>
              <a:buNone/>
              <a:defRPr sz="1050" b="0"/>
            </a:lvl5pPr>
          </a:lstStyle>
          <a:p>
            <a:pPr lvl="0"/>
            <a:r>
              <a:rPr lang="nl-NL" dirty="0"/>
              <a:t>Voeg je een foto in dan komt deze automatisch achter de vorm.</a:t>
            </a:r>
            <a:br>
              <a:rPr lang="nl-NL" dirty="0"/>
            </a:br>
            <a:r>
              <a:rPr lang="nl-NL" dirty="0"/>
              <a:t>Wil je de foto wijzigen, verwijder dan eerst de foto en klik dan in het lint hierboven op Start | Opnieuw instellen. Voeg daarna een nieuwe foto in. Zo komt de foto automatisch weer achter de vorm. Kies niet voor de optie Afbeelding wijzigen, want dan zal PowerPoint de foto in een ander formaat plaatsen. Opnieuw instellen zal het beeld vervormen.</a:t>
            </a:r>
            <a:br>
              <a:rPr lang="nl-NL" dirty="0"/>
            </a:br>
            <a:br>
              <a:rPr lang="nl-NL" dirty="0"/>
            </a:br>
            <a:br>
              <a:rPr lang="nl-NL" dirty="0"/>
            </a:br>
            <a:r>
              <a:rPr lang="nl-NL" dirty="0"/>
              <a:t> </a:t>
            </a:r>
            <a:br>
              <a:rPr lang="nl-NL" dirty="0"/>
            </a:br>
            <a:br>
              <a:rPr lang="nl-NL" dirty="0"/>
            </a:br>
            <a:br>
              <a:rPr lang="nl-NL" dirty="0"/>
            </a:br>
            <a:br>
              <a:rPr lang="nl-NL" dirty="0"/>
            </a:br>
            <a:br>
              <a:rPr lang="nl-NL" dirty="0"/>
            </a:br>
            <a:r>
              <a:rPr lang="nl-NL" dirty="0"/>
              <a:t>Deze uitleg wordt niet geprint of getoond in de presentatie. Klik in de rand van het frame met de tekst en de rand van de afbeelding en druk op delete om te verwijderen.</a:t>
            </a:r>
          </a:p>
          <a:p>
            <a:pPr lvl="4"/>
            <a:endParaRPr lang="nl-NL" dirty="0"/>
          </a:p>
        </p:txBody>
      </p:sp>
      <p:sp>
        <p:nvSpPr>
          <p:cNvPr id="7" name="Instructie afbeelding 7"/>
          <p:cNvSpPr>
            <a:spLocks noGrp="1" noSelect="1" noChangeAspect="1"/>
          </p:cNvSpPr>
          <p:nvPr>
            <p:ph type="body" sz="quarter" idx="16" hasCustomPrompt="1"/>
          </p:nvPr>
        </p:nvSpPr>
        <p:spPr>
          <a:xfrm>
            <a:off x="-1891637" y="2597168"/>
            <a:ext cx="1465333" cy="756000"/>
          </a:xfrm>
          <a:blipFill>
            <a:blip r:embed="rId2"/>
            <a:stretch>
              <a:fillRect/>
            </a:stretch>
          </a:blipFill>
        </p:spPr>
        <p:txBody>
          <a:bodyPr/>
          <a:lstStyle>
            <a:lvl1pPr marL="0" indent="0">
              <a:lnSpc>
                <a:spcPct val="99000"/>
              </a:lnSpc>
              <a:buNone/>
              <a:defRPr sz="1000" b="0"/>
            </a:lvl1pPr>
            <a:lvl2pPr marL="0" indent="0">
              <a:lnSpc>
                <a:spcPct val="99000"/>
              </a:lnSpc>
              <a:buNone/>
              <a:defRPr sz="1000" b="0"/>
            </a:lvl2pPr>
            <a:lvl3pPr marL="0" indent="0">
              <a:lnSpc>
                <a:spcPct val="99000"/>
              </a:lnSpc>
              <a:buNone/>
              <a:defRPr sz="1000" b="0"/>
            </a:lvl3pPr>
            <a:lvl4pPr marL="0" indent="0">
              <a:lnSpc>
                <a:spcPct val="99000"/>
              </a:lnSpc>
              <a:buFont typeface="Arial" panose="020B0604020202020204" pitchFamily="34" charset="0"/>
              <a:buNone/>
              <a:defRPr sz="1000" b="0"/>
            </a:lvl4pPr>
            <a:lvl5pPr marL="0" indent="0">
              <a:lnSpc>
                <a:spcPct val="99000"/>
              </a:lnSpc>
              <a:buFont typeface="Arial" panose="020B0604020202020204" pitchFamily="34" charset="0"/>
              <a:buNone/>
              <a:defRPr sz="1000" b="0"/>
            </a:lvl5pPr>
            <a:lvl6pPr marL="0" indent="0">
              <a:lnSpc>
                <a:spcPct val="99000"/>
              </a:lnSpc>
              <a:buFont typeface="Arial" panose="020B0604020202020204" pitchFamily="34" charset="0"/>
              <a:buNone/>
              <a:defRPr sz="1000" b="0"/>
            </a:lvl6pPr>
            <a:lvl7pPr marL="0" indent="0">
              <a:lnSpc>
                <a:spcPct val="99000"/>
              </a:lnSpc>
              <a:buFont typeface="Arial" panose="020B0604020202020204" pitchFamily="34" charset="0"/>
              <a:buNone/>
              <a:defRPr sz="1000" b="0"/>
            </a:lvl7pPr>
            <a:lvl8pPr marL="0" indent="0">
              <a:lnSpc>
                <a:spcPct val="99000"/>
              </a:lnSpc>
              <a:buFont typeface="Arial" panose="020B0604020202020204" pitchFamily="34" charset="0"/>
              <a:buNone/>
              <a:defRPr sz="1000" b="0"/>
            </a:lvl8pPr>
            <a:lvl9pPr marL="0" indent="0">
              <a:lnSpc>
                <a:spcPct val="99000"/>
              </a:lnSpc>
              <a:buFont typeface="Arial" panose="020B0604020202020204" pitchFamily="34" charset="0"/>
              <a:buNone/>
              <a:defRPr sz="1000" b="0"/>
            </a:lvl9pPr>
          </a:lstStyle>
          <a:p>
            <a:pPr lvl="0"/>
            <a:r>
              <a:rPr lang="nl-NL" dirty="0"/>
              <a:t> </a:t>
            </a:r>
          </a:p>
        </p:txBody>
      </p:sp>
      <p:sp>
        <p:nvSpPr>
          <p:cNvPr id="8" name="Tijdelijke aanduiding voor afbeelding 13"/>
          <p:cNvSpPr>
            <a:spLocks noGrp="1" noSelect="1"/>
          </p:cNvSpPr>
          <p:nvPr>
            <p:ph type="pic" idx="10" hasCustomPrompt="1"/>
          </p:nvPr>
        </p:nvSpPr>
        <p:spPr>
          <a:xfrm>
            <a:off x="0" y="0"/>
            <a:ext cx="11044346" cy="6858000"/>
          </a:xfrm>
          <a:custGeom>
            <a:avLst/>
            <a:gdLst>
              <a:gd name="connsiteX0" fmla="*/ 0 w 11044346"/>
              <a:gd name="connsiteY0" fmla="*/ 0 h 6858000"/>
              <a:gd name="connsiteX1" fmla="*/ 9010650 w 11044346"/>
              <a:gd name="connsiteY1" fmla="*/ 0 h 6858000"/>
              <a:gd name="connsiteX2" fmla="*/ 9012237 w 11044346"/>
              <a:gd name="connsiteY2" fmla="*/ 953 h 6858000"/>
              <a:gd name="connsiteX3" fmla="*/ 10232024 w 11044346"/>
              <a:gd name="connsiteY3" fmla="*/ 810895 h 6858000"/>
              <a:gd name="connsiteX4" fmla="*/ 10999510 w 11044346"/>
              <a:gd name="connsiteY4" fmla="*/ 2725420 h 6858000"/>
              <a:gd name="connsiteX5" fmla="*/ 10460873 w 11044346"/>
              <a:gd name="connsiteY5" fmla="*/ 5109210 h 6858000"/>
              <a:gd name="connsiteX6" fmla="*/ 9319168 w 11044346"/>
              <a:gd name="connsiteY6" fmla="*/ 6858000 h 6858000"/>
              <a:gd name="connsiteX7" fmla="*/ 0 w 1104434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4346" h="6858000">
                <a:moveTo>
                  <a:pt x="0" y="0"/>
                </a:moveTo>
                <a:lnTo>
                  <a:pt x="9010650" y="0"/>
                </a:lnTo>
                <a:cubicBezTo>
                  <a:pt x="9011285" y="318"/>
                  <a:pt x="9011602" y="635"/>
                  <a:pt x="9012237" y="953"/>
                </a:cubicBezTo>
                <a:cubicBezTo>
                  <a:pt x="10232024" y="810895"/>
                  <a:pt x="10232024" y="810895"/>
                  <a:pt x="10232024" y="810895"/>
                </a:cubicBezTo>
                <a:cubicBezTo>
                  <a:pt x="10860486" y="1228090"/>
                  <a:pt x="11165830" y="1989773"/>
                  <a:pt x="10999510" y="2725420"/>
                </a:cubicBezTo>
                <a:cubicBezTo>
                  <a:pt x="10460873" y="5109210"/>
                  <a:pt x="10460873" y="5109210"/>
                  <a:pt x="10460873" y="5109210"/>
                </a:cubicBezTo>
                <a:cubicBezTo>
                  <a:pt x="10301219" y="5816600"/>
                  <a:pt x="9892084" y="6435090"/>
                  <a:pt x="9319168" y="6858000"/>
                </a:cubicBezTo>
                <a:lnTo>
                  <a:pt x="0" y="6858000"/>
                </a:lnTo>
                <a:close/>
              </a:path>
            </a:pathLst>
          </a:custGeom>
          <a:solidFill>
            <a:srgbClr val="EBD6EA"/>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None/>
              <a:defRPr baseline="0"/>
            </a:lvl1pPr>
          </a:lstStyle>
          <a:p>
            <a:r>
              <a:rPr lang="nl-NL" dirty="0"/>
              <a:t>[Klik op het pictogram om een afbeelding in te voegen]</a:t>
            </a:r>
          </a:p>
        </p:txBody>
      </p:sp>
    </p:spTree>
    <p:extLst>
      <p:ext uri="{BB962C8B-B14F-4D97-AF65-F5344CB8AC3E}">
        <p14:creationId xmlns:p14="http://schemas.microsoft.com/office/powerpoint/2010/main" val="256511434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Afsluitdia">
    <p:bg>
      <p:bgPr>
        <a:solidFill>
          <a:srgbClr val="003F5F"/>
        </a:solidFill>
        <a:effectLst/>
      </p:bgPr>
    </p:bg>
    <p:spTree>
      <p:nvGrpSpPr>
        <p:cNvPr id="1" name=""/>
        <p:cNvGrpSpPr/>
        <p:nvPr/>
      </p:nvGrpSpPr>
      <p:grpSpPr>
        <a:xfrm>
          <a:off x="0" y="0"/>
          <a:ext cx="0" cy="0"/>
          <a:chOff x="0" y="0"/>
          <a:chExt cx="0" cy="0"/>
        </a:xfrm>
      </p:grpSpPr>
      <p:sp>
        <p:nvSpPr>
          <p:cNvPr id="10" name="Freeform 8"/>
          <p:cNvSpPr>
            <a:spLocks noSelect="1"/>
          </p:cNvSpPr>
          <p:nvPr userDrawn="1"/>
        </p:nvSpPr>
        <p:spPr bwMode="auto">
          <a:xfrm>
            <a:off x="0" y="3167063"/>
            <a:ext cx="4102100" cy="3690938"/>
          </a:xfrm>
          <a:custGeom>
            <a:avLst/>
            <a:gdLst>
              <a:gd name="T0" fmla="*/ 12918 w 12918"/>
              <a:gd name="T1" fmla="*/ 11625 h 11625"/>
              <a:gd name="T2" fmla="*/ 0 w 12918"/>
              <a:gd name="T3" fmla="*/ 11625 h 11625"/>
              <a:gd name="T4" fmla="*/ 0 w 12918"/>
              <a:gd name="T5" fmla="*/ 1594 h 11625"/>
              <a:gd name="T6" fmla="*/ 1522 w 12918"/>
              <a:gd name="T7" fmla="*/ 634 h 11625"/>
              <a:gd name="T8" fmla="*/ 4704 w 12918"/>
              <a:gd name="T9" fmla="*/ 805 h 11625"/>
              <a:gd name="T10" fmla="*/ 5090 w 12918"/>
              <a:gd name="T11" fmla="*/ 1178 h 11625"/>
              <a:gd name="T12" fmla="*/ 5261 w 12918"/>
              <a:gd name="T13" fmla="*/ 1379 h 11625"/>
              <a:gd name="T14" fmla="*/ 8885 w 12918"/>
              <a:gd name="T15" fmla="*/ 5633 h 11625"/>
              <a:gd name="T16" fmla="*/ 9577 w 12918"/>
              <a:gd name="T17" fmla="*/ 6446 h 11625"/>
              <a:gd name="T18" fmla="*/ 11395 w 12918"/>
              <a:gd name="T19" fmla="*/ 8579 h 11625"/>
              <a:gd name="T20" fmla="*/ 12918 w 12918"/>
              <a:gd name="T21" fmla="*/ 11625 h 1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18" h="11625">
                <a:moveTo>
                  <a:pt x="12918" y="11625"/>
                </a:moveTo>
                <a:cubicBezTo>
                  <a:pt x="0" y="11625"/>
                  <a:pt x="0" y="11625"/>
                  <a:pt x="0" y="11625"/>
                </a:cubicBezTo>
                <a:cubicBezTo>
                  <a:pt x="0" y="1594"/>
                  <a:pt x="0" y="1594"/>
                  <a:pt x="0" y="1594"/>
                </a:cubicBezTo>
                <a:cubicBezTo>
                  <a:pt x="1522" y="634"/>
                  <a:pt x="1522" y="634"/>
                  <a:pt x="1522" y="634"/>
                </a:cubicBezTo>
                <a:cubicBezTo>
                  <a:pt x="2527" y="0"/>
                  <a:pt x="3803" y="90"/>
                  <a:pt x="4704" y="805"/>
                </a:cubicBezTo>
                <a:cubicBezTo>
                  <a:pt x="4842" y="915"/>
                  <a:pt x="4971" y="1039"/>
                  <a:pt x="5090" y="1178"/>
                </a:cubicBezTo>
                <a:cubicBezTo>
                  <a:pt x="5261" y="1379"/>
                  <a:pt x="5261" y="1379"/>
                  <a:pt x="5261" y="1379"/>
                </a:cubicBezTo>
                <a:cubicBezTo>
                  <a:pt x="8885" y="5633"/>
                  <a:pt x="8885" y="5633"/>
                  <a:pt x="8885" y="5633"/>
                </a:cubicBezTo>
                <a:cubicBezTo>
                  <a:pt x="9577" y="6446"/>
                  <a:pt x="9577" y="6446"/>
                  <a:pt x="9577" y="6446"/>
                </a:cubicBezTo>
                <a:cubicBezTo>
                  <a:pt x="11395" y="8579"/>
                  <a:pt x="11395" y="8579"/>
                  <a:pt x="11395" y="8579"/>
                </a:cubicBezTo>
                <a:cubicBezTo>
                  <a:pt x="12151" y="9467"/>
                  <a:pt x="12668" y="10515"/>
                  <a:pt x="12918" y="11625"/>
                </a:cubicBezTo>
                <a:close/>
              </a:path>
            </a:pathLst>
          </a:custGeom>
          <a:solidFill>
            <a:srgbClr val="3F7C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p:cNvSpPr>
          <p:nvPr userDrawn="1"/>
        </p:nvSpPr>
        <p:spPr bwMode="auto">
          <a:xfrm>
            <a:off x="6313488" y="236538"/>
            <a:ext cx="5878513" cy="6429375"/>
          </a:xfrm>
          <a:custGeom>
            <a:avLst/>
            <a:gdLst>
              <a:gd name="T0" fmla="*/ 18518 w 18518"/>
              <a:gd name="T1" fmla="*/ 5890 h 20248"/>
              <a:gd name="T2" fmla="*/ 18518 w 18518"/>
              <a:gd name="T3" fmla="*/ 16944 h 20248"/>
              <a:gd name="T4" fmla="*/ 8998 w 18518"/>
              <a:gd name="T5" fmla="*/ 19855 h 20248"/>
              <a:gd name="T6" fmla="*/ 5530 w 18518"/>
              <a:gd name="T7" fmla="*/ 18710 h 20248"/>
              <a:gd name="T8" fmla="*/ 3314 w 18518"/>
              <a:gd name="T9" fmla="*/ 15675 h 20248"/>
              <a:gd name="T10" fmla="*/ 3209 w 18518"/>
              <a:gd name="T11" fmla="*/ 15530 h 20248"/>
              <a:gd name="T12" fmla="*/ 830 w 18518"/>
              <a:gd name="T13" fmla="*/ 12271 h 20248"/>
              <a:gd name="T14" fmla="*/ 225 w 18518"/>
              <a:gd name="T15" fmla="*/ 11072 h 20248"/>
              <a:gd name="T16" fmla="*/ 42 w 18518"/>
              <a:gd name="T17" fmla="*/ 10034 h 20248"/>
              <a:gd name="T18" fmla="*/ 850 w 18518"/>
              <a:gd name="T19" fmla="*/ 7382 h 20248"/>
              <a:gd name="T20" fmla="*/ 5216 w 18518"/>
              <a:gd name="T21" fmla="*/ 1458 h 20248"/>
              <a:gd name="T22" fmla="*/ 8765 w 18518"/>
              <a:gd name="T23" fmla="*/ 639 h 20248"/>
              <a:gd name="T24" fmla="*/ 17417 w 18518"/>
              <a:gd name="T25" fmla="*/ 5177 h 20248"/>
              <a:gd name="T26" fmla="*/ 18518 w 18518"/>
              <a:gd name="T27" fmla="*/ 5890 h 20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18" h="20248">
                <a:moveTo>
                  <a:pt x="18518" y="5890"/>
                </a:moveTo>
                <a:cubicBezTo>
                  <a:pt x="18518" y="16944"/>
                  <a:pt x="18518" y="16944"/>
                  <a:pt x="18518" y="16944"/>
                </a:cubicBezTo>
                <a:cubicBezTo>
                  <a:pt x="8998" y="19855"/>
                  <a:pt x="8998" y="19855"/>
                  <a:pt x="8998" y="19855"/>
                </a:cubicBezTo>
                <a:cubicBezTo>
                  <a:pt x="7711" y="20248"/>
                  <a:pt x="6318" y="19789"/>
                  <a:pt x="5530" y="18710"/>
                </a:cubicBezTo>
                <a:cubicBezTo>
                  <a:pt x="3314" y="15675"/>
                  <a:pt x="3314" y="15675"/>
                  <a:pt x="3314" y="15675"/>
                </a:cubicBezTo>
                <a:cubicBezTo>
                  <a:pt x="3209" y="15530"/>
                  <a:pt x="3209" y="15530"/>
                  <a:pt x="3209" y="15530"/>
                </a:cubicBezTo>
                <a:cubicBezTo>
                  <a:pt x="830" y="12271"/>
                  <a:pt x="830" y="12271"/>
                  <a:pt x="830" y="12271"/>
                </a:cubicBezTo>
                <a:cubicBezTo>
                  <a:pt x="558" y="11899"/>
                  <a:pt x="357" y="11494"/>
                  <a:pt x="225" y="11072"/>
                </a:cubicBezTo>
                <a:cubicBezTo>
                  <a:pt x="119" y="10734"/>
                  <a:pt x="58" y="10385"/>
                  <a:pt x="42" y="10034"/>
                </a:cubicBezTo>
                <a:cubicBezTo>
                  <a:pt x="0" y="9108"/>
                  <a:pt x="269" y="8170"/>
                  <a:pt x="850" y="7382"/>
                </a:cubicBezTo>
                <a:cubicBezTo>
                  <a:pt x="5216" y="1458"/>
                  <a:pt x="5216" y="1458"/>
                  <a:pt x="5216" y="1458"/>
                </a:cubicBezTo>
                <a:cubicBezTo>
                  <a:pt x="6034" y="349"/>
                  <a:pt x="7546" y="0"/>
                  <a:pt x="8765" y="639"/>
                </a:cubicBezTo>
                <a:cubicBezTo>
                  <a:pt x="17417" y="5177"/>
                  <a:pt x="17417" y="5177"/>
                  <a:pt x="17417" y="5177"/>
                </a:cubicBezTo>
                <a:cubicBezTo>
                  <a:pt x="17809" y="5382"/>
                  <a:pt x="18177" y="5622"/>
                  <a:pt x="18518" y="5890"/>
                </a:cubicBezTo>
                <a:close/>
              </a:path>
            </a:pathLst>
          </a:custGeom>
          <a:solidFill>
            <a:srgbClr val="3F7C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p:txBody>
          <a:bodyPr/>
          <a:lstStyle>
            <a:lvl1pPr>
              <a:defRPr>
                <a:solidFill>
                  <a:schemeClr val="bg1"/>
                </a:solidFill>
              </a:defRPr>
            </a:lvl1pPr>
          </a:lstStyle>
          <a:p>
            <a:r>
              <a:rPr lang="nl-NL" dirty="0"/>
              <a:t>[Titel]</a:t>
            </a:r>
          </a:p>
        </p:txBody>
      </p:sp>
      <p:sp>
        <p:nvSpPr>
          <p:cNvPr id="5" name="Tijdelijke aanduiding voor tekst 4 (JU-Free)"/>
          <p:cNvSpPr>
            <a:spLocks noGrp="1"/>
          </p:cNvSpPr>
          <p:nvPr>
            <p:ph type="body" sz="quarter" idx="13" hasCustomPrompt="1"/>
          </p:nvPr>
        </p:nvSpPr>
        <p:spPr>
          <a:xfrm>
            <a:off x="1321200" y="1818000"/>
            <a:ext cx="9683750" cy="126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nl-NL" dirty="0"/>
              <a:t>[Tekst]</a:t>
            </a:r>
          </a:p>
          <a:p>
            <a:pPr lvl="0"/>
            <a:r>
              <a:rPr lang="nl-NL" dirty="0"/>
              <a:t>JU-LEVEL1=Opsomming 1e niveau  met witruimte</a:t>
            </a:r>
          </a:p>
          <a:p>
            <a:pPr lvl="1"/>
            <a:r>
              <a:rPr lang="nl-NL" dirty="0"/>
              <a:t>JU-LEVEL2=Opsomming 2e niveau</a:t>
            </a:r>
          </a:p>
          <a:p>
            <a:pPr lvl="2"/>
            <a:r>
              <a:rPr lang="nl-NL" dirty="0"/>
              <a:t>JU-LEVEL3=Inhoud lijst + witregel</a:t>
            </a:r>
          </a:p>
          <a:p>
            <a:pPr lvl="3"/>
            <a:r>
              <a:rPr lang="nl-NL" dirty="0"/>
              <a:t>JU-LEVEL4=Kop</a:t>
            </a:r>
          </a:p>
          <a:p>
            <a:pPr lvl="4"/>
            <a:r>
              <a:rPr lang="nl-NL" dirty="0"/>
              <a:t>JU-LEVEL5=Basistekst</a:t>
            </a:r>
          </a:p>
          <a:p>
            <a:pPr lvl="5"/>
            <a:r>
              <a:rPr lang="nl-NL" dirty="0"/>
              <a:t>JU-LEVEL6=Zwevend 1e niveau</a:t>
            </a:r>
          </a:p>
          <a:p>
            <a:pPr lvl="6"/>
            <a:r>
              <a:rPr lang="nl-NL" dirty="0"/>
              <a:t>JU-LEVEL7=Zwevend 2e niveau</a:t>
            </a:r>
          </a:p>
        </p:txBody>
      </p:sp>
      <p:sp>
        <p:nvSpPr>
          <p:cNvPr id="7" name="Tijdelijke aanduiding voor tekst 5 (JU-Free)"/>
          <p:cNvSpPr>
            <a:spLocks noGrp="1"/>
          </p:cNvSpPr>
          <p:nvPr>
            <p:ph type="body" sz="quarter" idx="14" hasCustomPrompt="1"/>
          </p:nvPr>
        </p:nvSpPr>
        <p:spPr>
          <a:xfrm>
            <a:off x="3443075"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8" name="Tijdelijke aanduiding voor tekst 5 (JU-Free)"/>
          <p:cNvSpPr>
            <a:spLocks noGrp="1"/>
          </p:cNvSpPr>
          <p:nvPr>
            <p:ph type="body" sz="quarter" idx="15" hasCustomPrompt="1"/>
          </p:nvPr>
        </p:nvSpPr>
        <p:spPr>
          <a:xfrm>
            <a:off x="8296429"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9" name="Tijdelijke aanduiding voor afbeelding 8"/>
          <p:cNvSpPr>
            <a:spLocks noGrp="1" noSelect="1" noChangeAspect="1"/>
          </p:cNvSpPr>
          <p:nvPr>
            <p:ph type="pic" sz="quarter" idx="16" hasCustomPrompt="1"/>
          </p:nvPr>
        </p:nvSpPr>
        <p:spPr>
          <a:xfrm>
            <a:off x="1301627" y="3417276"/>
            <a:ext cx="1782000" cy="1782000"/>
          </a:xfrm>
          <a:prstGeom prst="ellipse">
            <a:avLst/>
          </a:prstGeom>
          <a:solidFill>
            <a:srgbClr val="90D0F3"/>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
        <p:nvSpPr>
          <p:cNvPr id="11" name="Tijdelijke aanduiding voor afbeelding 9"/>
          <p:cNvSpPr>
            <a:spLocks noGrp="1" noSelect="1" noChangeAspect="1"/>
          </p:cNvSpPr>
          <p:nvPr>
            <p:ph type="pic" sz="quarter" idx="17" hasCustomPrompt="1"/>
          </p:nvPr>
        </p:nvSpPr>
        <p:spPr>
          <a:xfrm>
            <a:off x="6166706" y="3417276"/>
            <a:ext cx="1782000" cy="1782000"/>
          </a:xfrm>
          <a:prstGeom prst="ellipse">
            <a:avLst/>
          </a:prstGeom>
          <a:solidFill>
            <a:srgbClr val="90D0F3"/>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Tree>
    <p:extLst>
      <p:ext uri="{BB962C8B-B14F-4D97-AF65-F5344CB8AC3E}">
        <p14:creationId xmlns:p14="http://schemas.microsoft.com/office/powerpoint/2010/main" val="205751762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Afsluitdia groen">
    <p:bg>
      <p:bgPr>
        <a:solidFill>
          <a:srgbClr val="004A26"/>
        </a:solidFill>
        <a:effectLst/>
      </p:bgPr>
    </p:bg>
    <p:spTree>
      <p:nvGrpSpPr>
        <p:cNvPr id="1" name=""/>
        <p:cNvGrpSpPr/>
        <p:nvPr/>
      </p:nvGrpSpPr>
      <p:grpSpPr>
        <a:xfrm>
          <a:off x="0" y="0"/>
          <a:ext cx="0" cy="0"/>
          <a:chOff x="0" y="0"/>
          <a:chExt cx="0" cy="0"/>
        </a:xfrm>
      </p:grpSpPr>
      <p:sp>
        <p:nvSpPr>
          <p:cNvPr id="10" name="Freeform 8"/>
          <p:cNvSpPr>
            <a:spLocks noSelect="1"/>
          </p:cNvSpPr>
          <p:nvPr userDrawn="1"/>
        </p:nvSpPr>
        <p:spPr bwMode="auto">
          <a:xfrm>
            <a:off x="0" y="3167063"/>
            <a:ext cx="4102100" cy="3690938"/>
          </a:xfrm>
          <a:custGeom>
            <a:avLst/>
            <a:gdLst>
              <a:gd name="T0" fmla="*/ 12918 w 12918"/>
              <a:gd name="T1" fmla="*/ 11625 h 11625"/>
              <a:gd name="T2" fmla="*/ 0 w 12918"/>
              <a:gd name="T3" fmla="*/ 11625 h 11625"/>
              <a:gd name="T4" fmla="*/ 0 w 12918"/>
              <a:gd name="T5" fmla="*/ 1594 h 11625"/>
              <a:gd name="T6" fmla="*/ 1522 w 12918"/>
              <a:gd name="T7" fmla="*/ 634 h 11625"/>
              <a:gd name="T8" fmla="*/ 4704 w 12918"/>
              <a:gd name="T9" fmla="*/ 805 h 11625"/>
              <a:gd name="T10" fmla="*/ 5090 w 12918"/>
              <a:gd name="T11" fmla="*/ 1178 h 11625"/>
              <a:gd name="T12" fmla="*/ 5261 w 12918"/>
              <a:gd name="T13" fmla="*/ 1379 h 11625"/>
              <a:gd name="T14" fmla="*/ 8885 w 12918"/>
              <a:gd name="T15" fmla="*/ 5633 h 11625"/>
              <a:gd name="T16" fmla="*/ 9577 w 12918"/>
              <a:gd name="T17" fmla="*/ 6446 h 11625"/>
              <a:gd name="T18" fmla="*/ 11395 w 12918"/>
              <a:gd name="T19" fmla="*/ 8579 h 11625"/>
              <a:gd name="T20" fmla="*/ 12918 w 12918"/>
              <a:gd name="T21" fmla="*/ 11625 h 1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18" h="11625">
                <a:moveTo>
                  <a:pt x="12918" y="11625"/>
                </a:moveTo>
                <a:cubicBezTo>
                  <a:pt x="0" y="11625"/>
                  <a:pt x="0" y="11625"/>
                  <a:pt x="0" y="11625"/>
                </a:cubicBezTo>
                <a:cubicBezTo>
                  <a:pt x="0" y="1594"/>
                  <a:pt x="0" y="1594"/>
                  <a:pt x="0" y="1594"/>
                </a:cubicBezTo>
                <a:cubicBezTo>
                  <a:pt x="1522" y="634"/>
                  <a:pt x="1522" y="634"/>
                  <a:pt x="1522" y="634"/>
                </a:cubicBezTo>
                <a:cubicBezTo>
                  <a:pt x="2527" y="0"/>
                  <a:pt x="3803" y="90"/>
                  <a:pt x="4704" y="805"/>
                </a:cubicBezTo>
                <a:cubicBezTo>
                  <a:pt x="4842" y="915"/>
                  <a:pt x="4971" y="1039"/>
                  <a:pt x="5090" y="1178"/>
                </a:cubicBezTo>
                <a:cubicBezTo>
                  <a:pt x="5261" y="1379"/>
                  <a:pt x="5261" y="1379"/>
                  <a:pt x="5261" y="1379"/>
                </a:cubicBezTo>
                <a:cubicBezTo>
                  <a:pt x="8885" y="5633"/>
                  <a:pt x="8885" y="5633"/>
                  <a:pt x="8885" y="5633"/>
                </a:cubicBezTo>
                <a:cubicBezTo>
                  <a:pt x="9577" y="6446"/>
                  <a:pt x="9577" y="6446"/>
                  <a:pt x="9577" y="6446"/>
                </a:cubicBezTo>
                <a:cubicBezTo>
                  <a:pt x="11395" y="8579"/>
                  <a:pt x="11395" y="8579"/>
                  <a:pt x="11395" y="8579"/>
                </a:cubicBezTo>
                <a:cubicBezTo>
                  <a:pt x="12151" y="9467"/>
                  <a:pt x="12668" y="10515"/>
                  <a:pt x="12918" y="11625"/>
                </a:cubicBezTo>
                <a:close/>
              </a:path>
            </a:pathLst>
          </a:custGeom>
          <a:solidFill>
            <a:srgbClr val="0E864A"/>
          </a:solidFill>
          <a:ln>
            <a:noFill/>
          </a:ln>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p:cNvSpPr>
          <p:nvPr userDrawn="1"/>
        </p:nvSpPr>
        <p:spPr bwMode="auto">
          <a:xfrm>
            <a:off x="6313488" y="236538"/>
            <a:ext cx="5878513" cy="6429375"/>
          </a:xfrm>
          <a:custGeom>
            <a:avLst/>
            <a:gdLst>
              <a:gd name="T0" fmla="*/ 18518 w 18518"/>
              <a:gd name="T1" fmla="*/ 5890 h 20248"/>
              <a:gd name="T2" fmla="*/ 18518 w 18518"/>
              <a:gd name="T3" fmla="*/ 16944 h 20248"/>
              <a:gd name="T4" fmla="*/ 8998 w 18518"/>
              <a:gd name="T5" fmla="*/ 19855 h 20248"/>
              <a:gd name="T6" fmla="*/ 5530 w 18518"/>
              <a:gd name="T7" fmla="*/ 18710 h 20248"/>
              <a:gd name="T8" fmla="*/ 3314 w 18518"/>
              <a:gd name="T9" fmla="*/ 15675 h 20248"/>
              <a:gd name="T10" fmla="*/ 3209 w 18518"/>
              <a:gd name="T11" fmla="*/ 15530 h 20248"/>
              <a:gd name="T12" fmla="*/ 830 w 18518"/>
              <a:gd name="T13" fmla="*/ 12271 h 20248"/>
              <a:gd name="T14" fmla="*/ 225 w 18518"/>
              <a:gd name="T15" fmla="*/ 11072 h 20248"/>
              <a:gd name="T16" fmla="*/ 42 w 18518"/>
              <a:gd name="T17" fmla="*/ 10034 h 20248"/>
              <a:gd name="T18" fmla="*/ 850 w 18518"/>
              <a:gd name="T19" fmla="*/ 7382 h 20248"/>
              <a:gd name="T20" fmla="*/ 5216 w 18518"/>
              <a:gd name="T21" fmla="*/ 1458 h 20248"/>
              <a:gd name="T22" fmla="*/ 8765 w 18518"/>
              <a:gd name="T23" fmla="*/ 639 h 20248"/>
              <a:gd name="T24" fmla="*/ 17417 w 18518"/>
              <a:gd name="T25" fmla="*/ 5177 h 20248"/>
              <a:gd name="T26" fmla="*/ 18518 w 18518"/>
              <a:gd name="T27" fmla="*/ 5890 h 20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18" h="20248">
                <a:moveTo>
                  <a:pt x="18518" y="5890"/>
                </a:moveTo>
                <a:cubicBezTo>
                  <a:pt x="18518" y="16944"/>
                  <a:pt x="18518" y="16944"/>
                  <a:pt x="18518" y="16944"/>
                </a:cubicBezTo>
                <a:cubicBezTo>
                  <a:pt x="8998" y="19855"/>
                  <a:pt x="8998" y="19855"/>
                  <a:pt x="8998" y="19855"/>
                </a:cubicBezTo>
                <a:cubicBezTo>
                  <a:pt x="7711" y="20248"/>
                  <a:pt x="6318" y="19789"/>
                  <a:pt x="5530" y="18710"/>
                </a:cubicBezTo>
                <a:cubicBezTo>
                  <a:pt x="3314" y="15675"/>
                  <a:pt x="3314" y="15675"/>
                  <a:pt x="3314" y="15675"/>
                </a:cubicBezTo>
                <a:cubicBezTo>
                  <a:pt x="3209" y="15530"/>
                  <a:pt x="3209" y="15530"/>
                  <a:pt x="3209" y="15530"/>
                </a:cubicBezTo>
                <a:cubicBezTo>
                  <a:pt x="830" y="12271"/>
                  <a:pt x="830" y="12271"/>
                  <a:pt x="830" y="12271"/>
                </a:cubicBezTo>
                <a:cubicBezTo>
                  <a:pt x="558" y="11899"/>
                  <a:pt x="357" y="11494"/>
                  <a:pt x="225" y="11072"/>
                </a:cubicBezTo>
                <a:cubicBezTo>
                  <a:pt x="119" y="10734"/>
                  <a:pt x="58" y="10385"/>
                  <a:pt x="42" y="10034"/>
                </a:cubicBezTo>
                <a:cubicBezTo>
                  <a:pt x="0" y="9108"/>
                  <a:pt x="269" y="8170"/>
                  <a:pt x="850" y="7382"/>
                </a:cubicBezTo>
                <a:cubicBezTo>
                  <a:pt x="5216" y="1458"/>
                  <a:pt x="5216" y="1458"/>
                  <a:pt x="5216" y="1458"/>
                </a:cubicBezTo>
                <a:cubicBezTo>
                  <a:pt x="6034" y="349"/>
                  <a:pt x="7546" y="0"/>
                  <a:pt x="8765" y="639"/>
                </a:cubicBezTo>
                <a:cubicBezTo>
                  <a:pt x="17417" y="5177"/>
                  <a:pt x="17417" y="5177"/>
                  <a:pt x="17417" y="5177"/>
                </a:cubicBezTo>
                <a:cubicBezTo>
                  <a:pt x="17809" y="5382"/>
                  <a:pt x="18177" y="5622"/>
                  <a:pt x="18518" y="5890"/>
                </a:cubicBezTo>
                <a:close/>
              </a:path>
            </a:pathLst>
          </a:custGeom>
          <a:solidFill>
            <a:srgbClr val="0E864A"/>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p:txBody>
          <a:bodyPr/>
          <a:lstStyle>
            <a:lvl1pPr>
              <a:defRPr>
                <a:solidFill>
                  <a:schemeClr val="bg1"/>
                </a:solidFill>
              </a:defRPr>
            </a:lvl1pPr>
          </a:lstStyle>
          <a:p>
            <a:r>
              <a:rPr lang="nl-NL" dirty="0"/>
              <a:t>[Titel]</a:t>
            </a:r>
          </a:p>
        </p:txBody>
      </p:sp>
      <p:sp>
        <p:nvSpPr>
          <p:cNvPr id="5" name="Tijdelijke aanduiding voor tekst 4 (JU-Free)"/>
          <p:cNvSpPr>
            <a:spLocks noGrp="1"/>
          </p:cNvSpPr>
          <p:nvPr>
            <p:ph type="body" sz="quarter" idx="13" hasCustomPrompt="1"/>
          </p:nvPr>
        </p:nvSpPr>
        <p:spPr>
          <a:xfrm>
            <a:off x="1321200" y="1818000"/>
            <a:ext cx="9683750" cy="126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nl-NL" dirty="0"/>
              <a:t>[Tekst]</a:t>
            </a:r>
          </a:p>
          <a:p>
            <a:pPr lvl="0"/>
            <a:r>
              <a:rPr lang="nl-NL" dirty="0"/>
              <a:t>JU-LEVEL1=Opsomming 1e niveau  met witruimte</a:t>
            </a:r>
          </a:p>
          <a:p>
            <a:pPr lvl="1"/>
            <a:r>
              <a:rPr lang="nl-NL" dirty="0"/>
              <a:t>JU-LEVEL2=Opsomming 2e niveau</a:t>
            </a:r>
          </a:p>
          <a:p>
            <a:pPr lvl="2"/>
            <a:r>
              <a:rPr lang="nl-NL" dirty="0"/>
              <a:t>JU-LEVEL3=Inhoud lijst + witregel</a:t>
            </a:r>
          </a:p>
          <a:p>
            <a:pPr lvl="3"/>
            <a:r>
              <a:rPr lang="nl-NL" dirty="0"/>
              <a:t>JU-LEVEL4=Kop</a:t>
            </a:r>
          </a:p>
          <a:p>
            <a:pPr lvl="4"/>
            <a:r>
              <a:rPr lang="nl-NL" dirty="0"/>
              <a:t>JU-LEVEL5=Basistekst</a:t>
            </a:r>
          </a:p>
          <a:p>
            <a:pPr lvl="5"/>
            <a:r>
              <a:rPr lang="nl-NL" dirty="0"/>
              <a:t>JU-LEVEL6=Zwevend 1e niveau</a:t>
            </a:r>
          </a:p>
          <a:p>
            <a:pPr lvl="6"/>
            <a:r>
              <a:rPr lang="nl-NL" dirty="0"/>
              <a:t>JU-LEVEL7=Zwevend 2e niveau</a:t>
            </a:r>
          </a:p>
        </p:txBody>
      </p:sp>
      <p:sp>
        <p:nvSpPr>
          <p:cNvPr id="7" name="Tijdelijke aanduiding voor tekst 5 (JU-Free)"/>
          <p:cNvSpPr>
            <a:spLocks noGrp="1"/>
          </p:cNvSpPr>
          <p:nvPr>
            <p:ph type="body" sz="quarter" idx="14" hasCustomPrompt="1"/>
          </p:nvPr>
        </p:nvSpPr>
        <p:spPr>
          <a:xfrm>
            <a:off x="3443075"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8" name="Tijdelijke aanduiding voor tekst 5 (JU-Free)"/>
          <p:cNvSpPr>
            <a:spLocks noGrp="1"/>
          </p:cNvSpPr>
          <p:nvPr>
            <p:ph type="body" sz="quarter" idx="15" hasCustomPrompt="1"/>
          </p:nvPr>
        </p:nvSpPr>
        <p:spPr>
          <a:xfrm>
            <a:off x="8296429"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9" name="Tijdelijke aanduiding voor afbeelding 8"/>
          <p:cNvSpPr>
            <a:spLocks noGrp="1" noSelect="1" noChangeAspect="1"/>
          </p:cNvSpPr>
          <p:nvPr>
            <p:ph type="pic" sz="quarter" idx="16" hasCustomPrompt="1"/>
          </p:nvPr>
        </p:nvSpPr>
        <p:spPr>
          <a:xfrm>
            <a:off x="1301627" y="3417276"/>
            <a:ext cx="1782000" cy="1782000"/>
          </a:xfrm>
          <a:prstGeom prst="ellipse">
            <a:avLst/>
          </a:prstGeom>
          <a:solidFill>
            <a:srgbClr val="81C5A1"/>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
        <p:nvSpPr>
          <p:cNvPr id="11" name="Tijdelijke aanduiding voor afbeelding 9"/>
          <p:cNvSpPr>
            <a:spLocks noGrp="1" noSelect="1" noChangeAspect="1"/>
          </p:cNvSpPr>
          <p:nvPr>
            <p:ph type="pic" sz="quarter" idx="17" hasCustomPrompt="1"/>
          </p:nvPr>
        </p:nvSpPr>
        <p:spPr>
          <a:xfrm>
            <a:off x="6166706" y="3417276"/>
            <a:ext cx="1782000" cy="1782000"/>
          </a:xfrm>
          <a:prstGeom prst="ellipse">
            <a:avLst/>
          </a:prstGeom>
          <a:solidFill>
            <a:srgbClr val="81C5A1"/>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Tree>
    <p:extLst>
      <p:ext uri="{BB962C8B-B14F-4D97-AF65-F5344CB8AC3E}">
        <p14:creationId xmlns:p14="http://schemas.microsoft.com/office/powerpoint/2010/main" val="35777476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Afsluitdia paars">
    <p:bg>
      <p:bgPr>
        <a:solidFill>
          <a:srgbClr val="591F58"/>
        </a:solidFill>
        <a:effectLst/>
      </p:bgPr>
    </p:bg>
    <p:spTree>
      <p:nvGrpSpPr>
        <p:cNvPr id="1" name=""/>
        <p:cNvGrpSpPr/>
        <p:nvPr/>
      </p:nvGrpSpPr>
      <p:grpSpPr>
        <a:xfrm>
          <a:off x="0" y="0"/>
          <a:ext cx="0" cy="0"/>
          <a:chOff x="0" y="0"/>
          <a:chExt cx="0" cy="0"/>
        </a:xfrm>
      </p:grpSpPr>
      <p:sp>
        <p:nvSpPr>
          <p:cNvPr id="10" name="Freeform 8"/>
          <p:cNvSpPr>
            <a:spLocks noSelect="1"/>
          </p:cNvSpPr>
          <p:nvPr userDrawn="1"/>
        </p:nvSpPr>
        <p:spPr bwMode="auto">
          <a:xfrm>
            <a:off x="0" y="3167063"/>
            <a:ext cx="4102100" cy="3690938"/>
          </a:xfrm>
          <a:custGeom>
            <a:avLst/>
            <a:gdLst>
              <a:gd name="T0" fmla="*/ 12918 w 12918"/>
              <a:gd name="T1" fmla="*/ 11625 h 11625"/>
              <a:gd name="T2" fmla="*/ 0 w 12918"/>
              <a:gd name="T3" fmla="*/ 11625 h 11625"/>
              <a:gd name="T4" fmla="*/ 0 w 12918"/>
              <a:gd name="T5" fmla="*/ 1594 h 11625"/>
              <a:gd name="T6" fmla="*/ 1522 w 12918"/>
              <a:gd name="T7" fmla="*/ 634 h 11625"/>
              <a:gd name="T8" fmla="*/ 4704 w 12918"/>
              <a:gd name="T9" fmla="*/ 805 h 11625"/>
              <a:gd name="T10" fmla="*/ 5090 w 12918"/>
              <a:gd name="T11" fmla="*/ 1178 h 11625"/>
              <a:gd name="T12" fmla="*/ 5261 w 12918"/>
              <a:gd name="T13" fmla="*/ 1379 h 11625"/>
              <a:gd name="T14" fmla="*/ 8885 w 12918"/>
              <a:gd name="T15" fmla="*/ 5633 h 11625"/>
              <a:gd name="T16" fmla="*/ 9577 w 12918"/>
              <a:gd name="T17" fmla="*/ 6446 h 11625"/>
              <a:gd name="T18" fmla="*/ 11395 w 12918"/>
              <a:gd name="T19" fmla="*/ 8579 h 11625"/>
              <a:gd name="T20" fmla="*/ 12918 w 12918"/>
              <a:gd name="T21" fmla="*/ 11625 h 1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18" h="11625">
                <a:moveTo>
                  <a:pt x="12918" y="11625"/>
                </a:moveTo>
                <a:cubicBezTo>
                  <a:pt x="0" y="11625"/>
                  <a:pt x="0" y="11625"/>
                  <a:pt x="0" y="11625"/>
                </a:cubicBezTo>
                <a:cubicBezTo>
                  <a:pt x="0" y="1594"/>
                  <a:pt x="0" y="1594"/>
                  <a:pt x="0" y="1594"/>
                </a:cubicBezTo>
                <a:cubicBezTo>
                  <a:pt x="1522" y="634"/>
                  <a:pt x="1522" y="634"/>
                  <a:pt x="1522" y="634"/>
                </a:cubicBezTo>
                <a:cubicBezTo>
                  <a:pt x="2527" y="0"/>
                  <a:pt x="3803" y="90"/>
                  <a:pt x="4704" y="805"/>
                </a:cubicBezTo>
                <a:cubicBezTo>
                  <a:pt x="4842" y="915"/>
                  <a:pt x="4971" y="1039"/>
                  <a:pt x="5090" y="1178"/>
                </a:cubicBezTo>
                <a:cubicBezTo>
                  <a:pt x="5261" y="1379"/>
                  <a:pt x="5261" y="1379"/>
                  <a:pt x="5261" y="1379"/>
                </a:cubicBezTo>
                <a:cubicBezTo>
                  <a:pt x="8885" y="5633"/>
                  <a:pt x="8885" y="5633"/>
                  <a:pt x="8885" y="5633"/>
                </a:cubicBezTo>
                <a:cubicBezTo>
                  <a:pt x="9577" y="6446"/>
                  <a:pt x="9577" y="6446"/>
                  <a:pt x="9577" y="6446"/>
                </a:cubicBezTo>
                <a:cubicBezTo>
                  <a:pt x="11395" y="8579"/>
                  <a:pt x="11395" y="8579"/>
                  <a:pt x="11395" y="8579"/>
                </a:cubicBezTo>
                <a:cubicBezTo>
                  <a:pt x="12151" y="9467"/>
                  <a:pt x="12668" y="10515"/>
                  <a:pt x="12918" y="11625"/>
                </a:cubicBezTo>
                <a:close/>
              </a:path>
            </a:pathLst>
          </a:custGeom>
          <a:solidFill>
            <a:srgbClr val="852F81"/>
          </a:solidFill>
          <a:ln>
            <a:noFill/>
          </a:ln>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p:cNvSpPr>
          <p:nvPr userDrawn="1"/>
        </p:nvSpPr>
        <p:spPr bwMode="auto">
          <a:xfrm>
            <a:off x="6313488" y="236538"/>
            <a:ext cx="5878513" cy="6429375"/>
          </a:xfrm>
          <a:custGeom>
            <a:avLst/>
            <a:gdLst>
              <a:gd name="T0" fmla="*/ 18518 w 18518"/>
              <a:gd name="T1" fmla="*/ 5890 h 20248"/>
              <a:gd name="T2" fmla="*/ 18518 w 18518"/>
              <a:gd name="T3" fmla="*/ 16944 h 20248"/>
              <a:gd name="T4" fmla="*/ 8998 w 18518"/>
              <a:gd name="T5" fmla="*/ 19855 h 20248"/>
              <a:gd name="T6" fmla="*/ 5530 w 18518"/>
              <a:gd name="T7" fmla="*/ 18710 h 20248"/>
              <a:gd name="T8" fmla="*/ 3314 w 18518"/>
              <a:gd name="T9" fmla="*/ 15675 h 20248"/>
              <a:gd name="T10" fmla="*/ 3209 w 18518"/>
              <a:gd name="T11" fmla="*/ 15530 h 20248"/>
              <a:gd name="T12" fmla="*/ 830 w 18518"/>
              <a:gd name="T13" fmla="*/ 12271 h 20248"/>
              <a:gd name="T14" fmla="*/ 225 w 18518"/>
              <a:gd name="T15" fmla="*/ 11072 h 20248"/>
              <a:gd name="T16" fmla="*/ 42 w 18518"/>
              <a:gd name="T17" fmla="*/ 10034 h 20248"/>
              <a:gd name="T18" fmla="*/ 850 w 18518"/>
              <a:gd name="T19" fmla="*/ 7382 h 20248"/>
              <a:gd name="T20" fmla="*/ 5216 w 18518"/>
              <a:gd name="T21" fmla="*/ 1458 h 20248"/>
              <a:gd name="T22" fmla="*/ 8765 w 18518"/>
              <a:gd name="T23" fmla="*/ 639 h 20248"/>
              <a:gd name="T24" fmla="*/ 17417 w 18518"/>
              <a:gd name="T25" fmla="*/ 5177 h 20248"/>
              <a:gd name="T26" fmla="*/ 18518 w 18518"/>
              <a:gd name="T27" fmla="*/ 5890 h 20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18" h="20248">
                <a:moveTo>
                  <a:pt x="18518" y="5890"/>
                </a:moveTo>
                <a:cubicBezTo>
                  <a:pt x="18518" y="16944"/>
                  <a:pt x="18518" y="16944"/>
                  <a:pt x="18518" y="16944"/>
                </a:cubicBezTo>
                <a:cubicBezTo>
                  <a:pt x="8998" y="19855"/>
                  <a:pt x="8998" y="19855"/>
                  <a:pt x="8998" y="19855"/>
                </a:cubicBezTo>
                <a:cubicBezTo>
                  <a:pt x="7711" y="20248"/>
                  <a:pt x="6318" y="19789"/>
                  <a:pt x="5530" y="18710"/>
                </a:cubicBezTo>
                <a:cubicBezTo>
                  <a:pt x="3314" y="15675"/>
                  <a:pt x="3314" y="15675"/>
                  <a:pt x="3314" y="15675"/>
                </a:cubicBezTo>
                <a:cubicBezTo>
                  <a:pt x="3209" y="15530"/>
                  <a:pt x="3209" y="15530"/>
                  <a:pt x="3209" y="15530"/>
                </a:cubicBezTo>
                <a:cubicBezTo>
                  <a:pt x="830" y="12271"/>
                  <a:pt x="830" y="12271"/>
                  <a:pt x="830" y="12271"/>
                </a:cubicBezTo>
                <a:cubicBezTo>
                  <a:pt x="558" y="11899"/>
                  <a:pt x="357" y="11494"/>
                  <a:pt x="225" y="11072"/>
                </a:cubicBezTo>
                <a:cubicBezTo>
                  <a:pt x="119" y="10734"/>
                  <a:pt x="58" y="10385"/>
                  <a:pt x="42" y="10034"/>
                </a:cubicBezTo>
                <a:cubicBezTo>
                  <a:pt x="0" y="9108"/>
                  <a:pt x="269" y="8170"/>
                  <a:pt x="850" y="7382"/>
                </a:cubicBezTo>
                <a:cubicBezTo>
                  <a:pt x="5216" y="1458"/>
                  <a:pt x="5216" y="1458"/>
                  <a:pt x="5216" y="1458"/>
                </a:cubicBezTo>
                <a:cubicBezTo>
                  <a:pt x="6034" y="349"/>
                  <a:pt x="7546" y="0"/>
                  <a:pt x="8765" y="639"/>
                </a:cubicBezTo>
                <a:cubicBezTo>
                  <a:pt x="17417" y="5177"/>
                  <a:pt x="17417" y="5177"/>
                  <a:pt x="17417" y="5177"/>
                </a:cubicBezTo>
                <a:cubicBezTo>
                  <a:pt x="17809" y="5382"/>
                  <a:pt x="18177" y="5622"/>
                  <a:pt x="18518" y="5890"/>
                </a:cubicBezTo>
                <a:close/>
              </a:path>
            </a:pathLst>
          </a:custGeom>
          <a:solidFill>
            <a:srgbClr val="852F81"/>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p:txBody>
          <a:bodyPr/>
          <a:lstStyle>
            <a:lvl1pPr>
              <a:defRPr>
                <a:solidFill>
                  <a:schemeClr val="bg1"/>
                </a:solidFill>
              </a:defRPr>
            </a:lvl1pPr>
          </a:lstStyle>
          <a:p>
            <a:r>
              <a:rPr lang="nl-NL" dirty="0"/>
              <a:t>[Titel]</a:t>
            </a:r>
          </a:p>
        </p:txBody>
      </p:sp>
      <p:sp>
        <p:nvSpPr>
          <p:cNvPr id="5" name="Tijdelijke aanduiding voor tekst 4 (JU-Free)"/>
          <p:cNvSpPr>
            <a:spLocks noGrp="1"/>
          </p:cNvSpPr>
          <p:nvPr>
            <p:ph type="body" sz="quarter" idx="13" hasCustomPrompt="1"/>
          </p:nvPr>
        </p:nvSpPr>
        <p:spPr>
          <a:xfrm>
            <a:off x="1321200" y="1818000"/>
            <a:ext cx="9683750" cy="126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nl-NL" dirty="0"/>
              <a:t>[Tekst]</a:t>
            </a:r>
          </a:p>
          <a:p>
            <a:pPr lvl="0"/>
            <a:r>
              <a:rPr lang="nl-NL" dirty="0"/>
              <a:t>JU-LEVEL1=Opsomming 1e niveau  met witruimte</a:t>
            </a:r>
          </a:p>
          <a:p>
            <a:pPr lvl="1"/>
            <a:r>
              <a:rPr lang="nl-NL" dirty="0"/>
              <a:t>JU-LEVEL2=Opsomming 2e niveau</a:t>
            </a:r>
          </a:p>
          <a:p>
            <a:pPr lvl="2"/>
            <a:r>
              <a:rPr lang="nl-NL" dirty="0"/>
              <a:t>JU-LEVEL3=Inhoud lijst + witregel</a:t>
            </a:r>
          </a:p>
          <a:p>
            <a:pPr lvl="3"/>
            <a:r>
              <a:rPr lang="nl-NL" dirty="0"/>
              <a:t>JU-LEVEL4=Kop</a:t>
            </a:r>
          </a:p>
          <a:p>
            <a:pPr lvl="4"/>
            <a:r>
              <a:rPr lang="nl-NL" dirty="0"/>
              <a:t>JU-LEVEL5=Basistekst</a:t>
            </a:r>
          </a:p>
          <a:p>
            <a:pPr lvl="5"/>
            <a:r>
              <a:rPr lang="nl-NL" dirty="0"/>
              <a:t>JU-LEVEL6=Zwevend 1e niveau</a:t>
            </a:r>
          </a:p>
          <a:p>
            <a:pPr lvl="6"/>
            <a:r>
              <a:rPr lang="nl-NL" dirty="0"/>
              <a:t>JU-LEVEL7=Zwevend 2e niveau</a:t>
            </a:r>
          </a:p>
        </p:txBody>
      </p:sp>
      <p:sp>
        <p:nvSpPr>
          <p:cNvPr id="7" name="Tijdelijke aanduiding voor tekst 5 (JU-Free)"/>
          <p:cNvSpPr>
            <a:spLocks noGrp="1"/>
          </p:cNvSpPr>
          <p:nvPr>
            <p:ph type="body" sz="quarter" idx="14" hasCustomPrompt="1"/>
          </p:nvPr>
        </p:nvSpPr>
        <p:spPr>
          <a:xfrm>
            <a:off x="3443075"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8" name="Tijdelijke aanduiding voor tekst 5 (JU-Free)"/>
          <p:cNvSpPr>
            <a:spLocks noGrp="1"/>
          </p:cNvSpPr>
          <p:nvPr>
            <p:ph type="body" sz="quarter" idx="15" hasCustomPrompt="1"/>
          </p:nvPr>
        </p:nvSpPr>
        <p:spPr>
          <a:xfrm>
            <a:off x="8296429"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9" name="Tijdelijke aanduiding voor afbeelding 8"/>
          <p:cNvSpPr>
            <a:spLocks noGrp="1" noSelect="1" noChangeAspect="1"/>
          </p:cNvSpPr>
          <p:nvPr>
            <p:ph type="pic" sz="quarter" idx="16" hasCustomPrompt="1"/>
          </p:nvPr>
        </p:nvSpPr>
        <p:spPr>
          <a:xfrm>
            <a:off x="1301627" y="3417276"/>
            <a:ext cx="1782000" cy="1782000"/>
          </a:xfrm>
          <a:prstGeom prst="ellipse">
            <a:avLst/>
          </a:prstGeom>
          <a:solidFill>
            <a:srgbClr val="C893C2"/>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
        <p:nvSpPr>
          <p:cNvPr id="11" name="Tijdelijke aanduiding voor afbeelding 9"/>
          <p:cNvSpPr>
            <a:spLocks noGrp="1" noSelect="1" noChangeAspect="1"/>
          </p:cNvSpPr>
          <p:nvPr>
            <p:ph type="pic" sz="quarter" idx="17" hasCustomPrompt="1"/>
          </p:nvPr>
        </p:nvSpPr>
        <p:spPr>
          <a:xfrm>
            <a:off x="6166706" y="3417276"/>
            <a:ext cx="1782000" cy="1782000"/>
          </a:xfrm>
          <a:prstGeom prst="ellipse">
            <a:avLst/>
          </a:prstGeom>
          <a:solidFill>
            <a:srgbClr val="C893C2"/>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Tree>
    <p:extLst>
      <p:ext uri="{BB962C8B-B14F-4D97-AF65-F5344CB8AC3E}">
        <p14:creationId xmlns:p14="http://schemas.microsoft.com/office/powerpoint/2010/main" val="12236063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fsluitdia roze">
    <p:bg>
      <p:bgPr>
        <a:solidFill>
          <a:srgbClr val="9E145C"/>
        </a:solidFill>
        <a:effectLst/>
      </p:bgPr>
    </p:bg>
    <p:spTree>
      <p:nvGrpSpPr>
        <p:cNvPr id="1" name=""/>
        <p:cNvGrpSpPr/>
        <p:nvPr/>
      </p:nvGrpSpPr>
      <p:grpSpPr>
        <a:xfrm>
          <a:off x="0" y="0"/>
          <a:ext cx="0" cy="0"/>
          <a:chOff x="0" y="0"/>
          <a:chExt cx="0" cy="0"/>
        </a:xfrm>
      </p:grpSpPr>
      <p:sp>
        <p:nvSpPr>
          <p:cNvPr id="10" name="Freeform 8"/>
          <p:cNvSpPr>
            <a:spLocks noSelect="1"/>
          </p:cNvSpPr>
          <p:nvPr userDrawn="1"/>
        </p:nvSpPr>
        <p:spPr bwMode="auto">
          <a:xfrm>
            <a:off x="0" y="3167063"/>
            <a:ext cx="4102100" cy="3690938"/>
          </a:xfrm>
          <a:custGeom>
            <a:avLst/>
            <a:gdLst>
              <a:gd name="T0" fmla="*/ 12918 w 12918"/>
              <a:gd name="T1" fmla="*/ 11625 h 11625"/>
              <a:gd name="T2" fmla="*/ 0 w 12918"/>
              <a:gd name="T3" fmla="*/ 11625 h 11625"/>
              <a:gd name="T4" fmla="*/ 0 w 12918"/>
              <a:gd name="T5" fmla="*/ 1594 h 11625"/>
              <a:gd name="T6" fmla="*/ 1522 w 12918"/>
              <a:gd name="T7" fmla="*/ 634 h 11625"/>
              <a:gd name="T8" fmla="*/ 4704 w 12918"/>
              <a:gd name="T9" fmla="*/ 805 h 11625"/>
              <a:gd name="T10" fmla="*/ 5090 w 12918"/>
              <a:gd name="T11" fmla="*/ 1178 h 11625"/>
              <a:gd name="T12" fmla="*/ 5261 w 12918"/>
              <a:gd name="T13" fmla="*/ 1379 h 11625"/>
              <a:gd name="T14" fmla="*/ 8885 w 12918"/>
              <a:gd name="T15" fmla="*/ 5633 h 11625"/>
              <a:gd name="T16" fmla="*/ 9577 w 12918"/>
              <a:gd name="T17" fmla="*/ 6446 h 11625"/>
              <a:gd name="T18" fmla="*/ 11395 w 12918"/>
              <a:gd name="T19" fmla="*/ 8579 h 11625"/>
              <a:gd name="T20" fmla="*/ 12918 w 12918"/>
              <a:gd name="T21" fmla="*/ 11625 h 1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18" h="11625">
                <a:moveTo>
                  <a:pt x="12918" y="11625"/>
                </a:moveTo>
                <a:cubicBezTo>
                  <a:pt x="0" y="11625"/>
                  <a:pt x="0" y="11625"/>
                  <a:pt x="0" y="11625"/>
                </a:cubicBezTo>
                <a:cubicBezTo>
                  <a:pt x="0" y="1594"/>
                  <a:pt x="0" y="1594"/>
                  <a:pt x="0" y="1594"/>
                </a:cubicBezTo>
                <a:cubicBezTo>
                  <a:pt x="1522" y="634"/>
                  <a:pt x="1522" y="634"/>
                  <a:pt x="1522" y="634"/>
                </a:cubicBezTo>
                <a:cubicBezTo>
                  <a:pt x="2527" y="0"/>
                  <a:pt x="3803" y="90"/>
                  <a:pt x="4704" y="805"/>
                </a:cubicBezTo>
                <a:cubicBezTo>
                  <a:pt x="4842" y="915"/>
                  <a:pt x="4971" y="1039"/>
                  <a:pt x="5090" y="1178"/>
                </a:cubicBezTo>
                <a:cubicBezTo>
                  <a:pt x="5261" y="1379"/>
                  <a:pt x="5261" y="1379"/>
                  <a:pt x="5261" y="1379"/>
                </a:cubicBezTo>
                <a:cubicBezTo>
                  <a:pt x="8885" y="5633"/>
                  <a:pt x="8885" y="5633"/>
                  <a:pt x="8885" y="5633"/>
                </a:cubicBezTo>
                <a:cubicBezTo>
                  <a:pt x="9577" y="6446"/>
                  <a:pt x="9577" y="6446"/>
                  <a:pt x="9577" y="6446"/>
                </a:cubicBezTo>
                <a:cubicBezTo>
                  <a:pt x="11395" y="8579"/>
                  <a:pt x="11395" y="8579"/>
                  <a:pt x="11395" y="8579"/>
                </a:cubicBezTo>
                <a:cubicBezTo>
                  <a:pt x="12151" y="9467"/>
                  <a:pt x="12668" y="10515"/>
                  <a:pt x="12918" y="11625"/>
                </a:cubicBezTo>
                <a:close/>
              </a:path>
            </a:pathLst>
          </a:custGeom>
          <a:solidFill>
            <a:srgbClr val="B15688"/>
          </a:solidFill>
          <a:ln>
            <a:noFill/>
          </a:ln>
        </p:spPr>
        <p:txBody>
          <a:bodyPr vert="horz" wrap="square" lIns="91440" tIns="45720" rIns="91440" bIns="45720" numCol="1" anchor="t" anchorCtr="0" compatLnSpc="1">
            <a:prstTxWarp prst="textNoShape">
              <a:avLst/>
            </a:prstTxWarp>
          </a:bodyPr>
          <a:lstStyle/>
          <a:p>
            <a:endParaRPr lang="nl-NL"/>
          </a:p>
        </p:txBody>
      </p:sp>
      <p:sp>
        <p:nvSpPr>
          <p:cNvPr id="12" name="Freeform 9"/>
          <p:cNvSpPr>
            <a:spLocks noSelect="1"/>
          </p:cNvSpPr>
          <p:nvPr userDrawn="1"/>
        </p:nvSpPr>
        <p:spPr bwMode="auto">
          <a:xfrm>
            <a:off x="6313488" y="236538"/>
            <a:ext cx="5878513" cy="6429375"/>
          </a:xfrm>
          <a:custGeom>
            <a:avLst/>
            <a:gdLst>
              <a:gd name="T0" fmla="*/ 18518 w 18518"/>
              <a:gd name="T1" fmla="*/ 5890 h 20248"/>
              <a:gd name="T2" fmla="*/ 18518 w 18518"/>
              <a:gd name="T3" fmla="*/ 16944 h 20248"/>
              <a:gd name="T4" fmla="*/ 8998 w 18518"/>
              <a:gd name="T5" fmla="*/ 19855 h 20248"/>
              <a:gd name="T6" fmla="*/ 5530 w 18518"/>
              <a:gd name="T7" fmla="*/ 18710 h 20248"/>
              <a:gd name="T8" fmla="*/ 3314 w 18518"/>
              <a:gd name="T9" fmla="*/ 15675 h 20248"/>
              <a:gd name="T10" fmla="*/ 3209 w 18518"/>
              <a:gd name="T11" fmla="*/ 15530 h 20248"/>
              <a:gd name="T12" fmla="*/ 830 w 18518"/>
              <a:gd name="T13" fmla="*/ 12271 h 20248"/>
              <a:gd name="T14" fmla="*/ 225 w 18518"/>
              <a:gd name="T15" fmla="*/ 11072 h 20248"/>
              <a:gd name="T16" fmla="*/ 42 w 18518"/>
              <a:gd name="T17" fmla="*/ 10034 h 20248"/>
              <a:gd name="T18" fmla="*/ 850 w 18518"/>
              <a:gd name="T19" fmla="*/ 7382 h 20248"/>
              <a:gd name="T20" fmla="*/ 5216 w 18518"/>
              <a:gd name="T21" fmla="*/ 1458 h 20248"/>
              <a:gd name="T22" fmla="*/ 8765 w 18518"/>
              <a:gd name="T23" fmla="*/ 639 h 20248"/>
              <a:gd name="T24" fmla="*/ 17417 w 18518"/>
              <a:gd name="T25" fmla="*/ 5177 h 20248"/>
              <a:gd name="T26" fmla="*/ 18518 w 18518"/>
              <a:gd name="T27" fmla="*/ 5890 h 20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18" h="20248">
                <a:moveTo>
                  <a:pt x="18518" y="5890"/>
                </a:moveTo>
                <a:cubicBezTo>
                  <a:pt x="18518" y="16944"/>
                  <a:pt x="18518" y="16944"/>
                  <a:pt x="18518" y="16944"/>
                </a:cubicBezTo>
                <a:cubicBezTo>
                  <a:pt x="8998" y="19855"/>
                  <a:pt x="8998" y="19855"/>
                  <a:pt x="8998" y="19855"/>
                </a:cubicBezTo>
                <a:cubicBezTo>
                  <a:pt x="7711" y="20248"/>
                  <a:pt x="6318" y="19789"/>
                  <a:pt x="5530" y="18710"/>
                </a:cubicBezTo>
                <a:cubicBezTo>
                  <a:pt x="3314" y="15675"/>
                  <a:pt x="3314" y="15675"/>
                  <a:pt x="3314" y="15675"/>
                </a:cubicBezTo>
                <a:cubicBezTo>
                  <a:pt x="3209" y="15530"/>
                  <a:pt x="3209" y="15530"/>
                  <a:pt x="3209" y="15530"/>
                </a:cubicBezTo>
                <a:cubicBezTo>
                  <a:pt x="830" y="12271"/>
                  <a:pt x="830" y="12271"/>
                  <a:pt x="830" y="12271"/>
                </a:cubicBezTo>
                <a:cubicBezTo>
                  <a:pt x="558" y="11899"/>
                  <a:pt x="357" y="11494"/>
                  <a:pt x="225" y="11072"/>
                </a:cubicBezTo>
                <a:cubicBezTo>
                  <a:pt x="119" y="10734"/>
                  <a:pt x="58" y="10385"/>
                  <a:pt x="42" y="10034"/>
                </a:cubicBezTo>
                <a:cubicBezTo>
                  <a:pt x="0" y="9108"/>
                  <a:pt x="269" y="8170"/>
                  <a:pt x="850" y="7382"/>
                </a:cubicBezTo>
                <a:cubicBezTo>
                  <a:pt x="5216" y="1458"/>
                  <a:pt x="5216" y="1458"/>
                  <a:pt x="5216" y="1458"/>
                </a:cubicBezTo>
                <a:cubicBezTo>
                  <a:pt x="6034" y="349"/>
                  <a:pt x="7546" y="0"/>
                  <a:pt x="8765" y="639"/>
                </a:cubicBezTo>
                <a:cubicBezTo>
                  <a:pt x="17417" y="5177"/>
                  <a:pt x="17417" y="5177"/>
                  <a:pt x="17417" y="5177"/>
                </a:cubicBezTo>
                <a:cubicBezTo>
                  <a:pt x="17809" y="5382"/>
                  <a:pt x="18177" y="5622"/>
                  <a:pt x="18518" y="5890"/>
                </a:cubicBezTo>
                <a:close/>
              </a:path>
            </a:pathLst>
          </a:custGeom>
          <a:solidFill>
            <a:srgbClr val="B15688"/>
          </a:solidFill>
          <a:ln>
            <a:noFill/>
          </a:ln>
        </p:spPr>
        <p:txBody>
          <a:bodyPr vert="horz" wrap="square" lIns="91440" tIns="45720" rIns="91440" bIns="45720" numCol="1" anchor="t" anchorCtr="0" compatLnSpc="1">
            <a:prstTxWarp prst="textNoShape">
              <a:avLst/>
            </a:prstTxWarp>
          </a:bodyPr>
          <a:lstStyle/>
          <a:p>
            <a:endParaRPr lang="nl-NL"/>
          </a:p>
        </p:txBody>
      </p:sp>
      <p:sp>
        <p:nvSpPr>
          <p:cNvPr id="13" name="Freeform 10"/>
          <p:cNvSpPr>
            <a:spLocks noSelect="1" noEditPoints="1"/>
          </p:cNvSpPr>
          <p:nvPr userDrawn="1"/>
        </p:nvSpPr>
        <p:spPr bwMode="auto">
          <a:xfrm>
            <a:off x="11025188" y="314325"/>
            <a:ext cx="858838" cy="700088"/>
          </a:xfrm>
          <a:custGeom>
            <a:avLst/>
            <a:gdLst>
              <a:gd name="T0" fmla="*/ 1032 w 2704"/>
              <a:gd name="T1" fmla="*/ 1252 h 2206"/>
              <a:gd name="T2" fmla="*/ 927 w 2704"/>
              <a:gd name="T3" fmla="*/ 1278 h 2206"/>
              <a:gd name="T4" fmla="*/ 650 w 2704"/>
              <a:gd name="T5" fmla="*/ 915 h 2206"/>
              <a:gd name="T6" fmla="*/ 611 w 2704"/>
              <a:gd name="T7" fmla="*/ 910 h 2206"/>
              <a:gd name="T8" fmla="*/ 598 w 2704"/>
              <a:gd name="T9" fmla="*/ 1252 h 2206"/>
              <a:gd name="T10" fmla="*/ 553 w 2704"/>
              <a:gd name="T11" fmla="*/ 1278 h 2206"/>
              <a:gd name="T12" fmla="*/ 528 w 2704"/>
              <a:gd name="T13" fmla="*/ 722 h 2206"/>
              <a:gd name="T14" fmla="*/ 632 w 2704"/>
              <a:gd name="T15" fmla="*/ 697 h 2206"/>
              <a:gd name="T16" fmla="*/ 909 w 2704"/>
              <a:gd name="T17" fmla="*/ 1060 h 2206"/>
              <a:gd name="T18" fmla="*/ 947 w 2704"/>
              <a:gd name="T19" fmla="*/ 1065 h 2206"/>
              <a:gd name="T20" fmla="*/ 960 w 2704"/>
              <a:gd name="T21" fmla="*/ 722 h 2206"/>
              <a:gd name="T22" fmla="*/ 1006 w 2704"/>
              <a:gd name="T23" fmla="*/ 697 h 2206"/>
              <a:gd name="T24" fmla="*/ 1550 w 2704"/>
              <a:gd name="T25" fmla="*/ 1151 h 2206"/>
              <a:gd name="T26" fmla="*/ 1269 w 2704"/>
              <a:gd name="T27" fmla="*/ 1144 h 2206"/>
              <a:gd name="T28" fmla="*/ 1563 w 2704"/>
              <a:gd name="T29" fmla="*/ 799 h 2206"/>
              <a:gd name="T30" fmla="*/ 1570 w 2704"/>
              <a:gd name="T31" fmla="*/ 722 h 2206"/>
              <a:gd name="T32" fmla="*/ 1127 w 2704"/>
              <a:gd name="T33" fmla="*/ 697 h 2206"/>
              <a:gd name="T34" fmla="*/ 1102 w 2704"/>
              <a:gd name="T35" fmla="*/ 798 h 2206"/>
              <a:gd name="T36" fmla="*/ 1382 w 2704"/>
              <a:gd name="T37" fmla="*/ 824 h 2206"/>
              <a:gd name="T38" fmla="*/ 1401 w 2704"/>
              <a:gd name="T39" fmla="*/ 868 h 2206"/>
              <a:gd name="T40" fmla="*/ 1098 w 2704"/>
              <a:gd name="T41" fmla="*/ 1193 h 2206"/>
              <a:gd name="T42" fmla="*/ 1124 w 2704"/>
              <a:gd name="T43" fmla="*/ 1278 h 2206"/>
              <a:gd name="T44" fmla="*/ 1576 w 2704"/>
              <a:gd name="T45" fmla="*/ 1253 h 2206"/>
              <a:gd name="T46" fmla="*/ 1550 w 2704"/>
              <a:gd name="T47" fmla="*/ 1151 h 2206"/>
              <a:gd name="T48" fmla="*/ 2454 w 2704"/>
              <a:gd name="T49" fmla="*/ 1582 h 2206"/>
              <a:gd name="T50" fmla="*/ 848 w 2704"/>
              <a:gd name="T51" fmla="*/ 2170 h 2206"/>
              <a:gd name="T52" fmla="*/ 72 w 2704"/>
              <a:gd name="T53" fmla="*/ 1162 h 2206"/>
              <a:gd name="T54" fmla="*/ 486 w 2704"/>
              <a:gd name="T55" fmla="*/ 116 h 2206"/>
              <a:gd name="T56" fmla="*/ 732 w 2704"/>
              <a:gd name="T57" fmla="*/ 3 h 2206"/>
              <a:gd name="T58" fmla="*/ 2407 w 2704"/>
              <a:gd name="T59" fmla="*/ 395 h 2206"/>
              <a:gd name="T60" fmla="*/ 2649 w 2704"/>
              <a:gd name="T61" fmla="*/ 1137 h 2206"/>
              <a:gd name="T62" fmla="*/ 2356 w 2704"/>
              <a:gd name="T63" fmla="*/ 426 h 2206"/>
              <a:gd name="T64" fmla="*/ 724 w 2704"/>
              <a:gd name="T65" fmla="*/ 60 h 2206"/>
              <a:gd name="T66" fmla="*/ 535 w 2704"/>
              <a:gd name="T67" fmla="*/ 147 h 2206"/>
              <a:gd name="T68" fmla="*/ 124 w 2704"/>
              <a:gd name="T69" fmla="*/ 1133 h 2206"/>
              <a:gd name="T70" fmla="*/ 774 w 2704"/>
              <a:gd name="T71" fmla="*/ 2123 h 2206"/>
              <a:gd name="T72" fmla="*/ 2282 w 2704"/>
              <a:gd name="T73" fmla="*/ 1664 h 2206"/>
              <a:gd name="T74" fmla="*/ 2595 w 2704"/>
              <a:gd name="T75" fmla="*/ 1114 h 2206"/>
              <a:gd name="T76" fmla="*/ 2166 w 2704"/>
              <a:gd name="T77" fmla="*/ 722 h 2206"/>
              <a:gd name="T78" fmla="*/ 2140 w 2704"/>
              <a:gd name="T79" fmla="*/ 1278 h 2206"/>
              <a:gd name="T80" fmla="*/ 2095 w 2704"/>
              <a:gd name="T81" fmla="*/ 1252 h 2206"/>
              <a:gd name="T82" fmla="*/ 1864 w 2704"/>
              <a:gd name="T83" fmla="*/ 1292 h 2206"/>
              <a:gd name="T84" fmla="*/ 1864 w 2704"/>
              <a:gd name="T85" fmla="*/ 683 h 2206"/>
              <a:gd name="T86" fmla="*/ 2095 w 2704"/>
              <a:gd name="T87" fmla="*/ 722 h 2206"/>
              <a:gd name="T88" fmla="*/ 2140 w 2704"/>
              <a:gd name="T89" fmla="*/ 696 h 2206"/>
              <a:gd name="T90" fmla="*/ 2095 w 2704"/>
              <a:gd name="T91" fmla="*/ 987 h 2206"/>
              <a:gd name="T92" fmla="*/ 1682 w 2704"/>
              <a:gd name="T93" fmla="*/ 987 h 2206"/>
              <a:gd name="T94" fmla="*/ 1889 w 2704"/>
              <a:gd name="T95" fmla="*/ 1157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4" h="2206">
                <a:moveTo>
                  <a:pt x="1032" y="722"/>
                </a:moveTo>
                <a:cubicBezTo>
                  <a:pt x="1032" y="1252"/>
                  <a:pt x="1032" y="1252"/>
                  <a:pt x="1032" y="1252"/>
                </a:cubicBezTo>
                <a:cubicBezTo>
                  <a:pt x="1032" y="1267"/>
                  <a:pt x="1020" y="1278"/>
                  <a:pt x="1006" y="1278"/>
                </a:cubicBezTo>
                <a:cubicBezTo>
                  <a:pt x="927" y="1278"/>
                  <a:pt x="927" y="1278"/>
                  <a:pt x="927" y="1278"/>
                </a:cubicBezTo>
                <a:cubicBezTo>
                  <a:pt x="918" y="1278"/>
                  <a:pt x="910" y="1274"/>
                  <a:pt x="906" y="1268"/>
                </a:cubicBezTo>
                <a:cubicBezTo>
                  <a:pt x="650" y="915"/>
                  <a:pt x="650" y="915"/>
                  <a:pt x="650" y="915"/>
                </a:cubicBezTo>
                <a:cubicBezTo>
                  <a:pt x="648" y="912"/>
                  <a:pt x="644" y="910"/>
                  <a:pt x="639" y="910"/>
                </a:cubicBezTo>
                <a:cubicBezTo>
                  <a:pt x="611" y="910"/>
                  <a:pt x="611" y="910"/>
                  <a:pt x="611" y="910"/>
                </a:cubicBezTo>
                <a:cubicBezTo>
                  <a:pt x="604" y="910"/>
                  <a:pt x="598" y="916"/>
                  <a:pt x="598" y="923"/>
                </a:cubicBezTo>
                <a:cubicBezTo>
                  <a:pt x="598" y="1252"/>
                  <a:pt x="598" y="1252"/>
                  <a:pt x="598" y="1252"/>
                </a:cubicBezTo>
                <a:cubicBezTo>
                  <a:pt x="598" y="1267"/>
                  <a:pt x="587" y="1278"/>
                  <a:pt x="572" y="1278"/>
                </a:cubicBezTo>
                <a:cubicBezTo>
                  <a:pt x="553" y="1278"/>
                  <a:pt x="553" y="1278"/>
                  <a:pt x="553" y="1278"/>
                </a:cubicBezTo>
                <a:cubicBezTo>
                  <a:pt x="539" y="1278"/>
                  <a:pt x="528" y="1267"/>
                  <a:pt x="528" y="1252"/>
                </a:cubicBezTo>
                <a:cubicBezTo>
                  <a:pt x="528" y="722"/>
                  <a:pt x="528" y="722"/>
                  <a:pt x="528" y="722"/>
                </a:cubicBezTo>
                <a:cubicBezTo>
                  <a:pt x="528" y="708"/>
                  <a:pt x="539" y="697"/>
                  <a:pt x="553" y="697"/>
                </a:cubicBezTo>
                <a:cubicBezTo>
                  <a:pt x="632" y="697"/>
                  <a:pt x="632" y="697"/>
                  <a:pt x="632" y="697"/>
                </a:cubicBezTo>
                <a:cubicBezTo>
                  <a:pt x="640" y="697"/>
                  <a:pt x="648" y="701"/>
                  <a:pt x="652" y="707"/>
                </a:cubicBezTo>
                <a:cubicBezTo>
                  <a:pt x="909" y="1060"/>
                  <a:pt x="909" y="1060"/>
                  <a:pt x="909" y="1060"/>
                </a:cubicBezTo>
                <a:cubicBezTo>
                  <a:pt x="911" y="1063"/>
                  <a:pt x="915" y="1065"/>
                  <a:pt x="919" y="1065"/>
                </a:cubicBezTo>
                <a:cubicBezTo>
                  <a:pt x="947" y="1065"/>
                  <a:pt x="947" y="1065"/>
                  <a:pt x="947" y="1065"/>
                </a:cubicBezTo>
                <a:cubicBezTo>
                  <a:pt x="954" y="1065"/>
                  <a:pt x="960" y="1059"/>
                  <a:pt x="960" y="1052"/>
                </a:cubicBezTo>
                <a:cubicBezTo>
                  <a:pt x="960" y="722"/>
                  <a:pt x="960" y="722"/>
                  <a:pt x="960" y="722"/>
                </a:cubicBezTo>
                <a:cubicBezTo>
                  <a:pt x="960" y="708"/>
                  <a:pt x="972" y="697"/>
                  <a:pt x="986" y="697"/>
                </a:cubicBezTo>
                <a:cubicBezTo>
                  <a:pt x="1006" y="697"/>
                  <a:pt x="1006" y="697"/>
                  <a:pt x="1006" y="697"/>
                </a:cubicBezTo>
                <a:cubicBezTo>
                  <a:pt x="1020" y="697"/>
                  <a:pt x="1032" y="708"/>
                  <a:pt x="1032" y="722"/>
                </a:cubicBezTo>
                <a:close/>
                <a:moveTo>
                  <a:pt x="1550" y="1151"/>
                </a:moveTo>
                <a:cubicBezTo>
                  <a:pt x="1287" y="1151"/>
                  <a:pt x="1287" y="1151"/>
                  <a:pt x="1287" y="1151"/>
                </a:cubicBezTo>
                <a:cubicBezTo>
                  <a:pt x="1280" y="1151"/>
                  <a:pt x="1273" y="1148"/>
                  <a:pt x="1269" y="1144"/>
                </a:cubicBezTo>
                <a:cubicBezTo>
                  <a:pt x="1258" y="1134"/>
                  <a:pt x="1258" y="1118"/>
                  <a:pt x="1268" y="1107"/>
                </a:cubicBezTo>
                <a:cubicBezTo>
                  <a:pt x="1563" y="799"/>
                  <a:pt x="1563" y="799"/>
                  <a:pt x="1563" y="799"/>
                </a:cubicBezTo>
                <a:cubicBezTo>
                  <a:pt x="1568" y="795"/>
                  <a:pt x="1570" y="788"/>
                  <a:pt x="1570" y="782"/>
                </a:cubicBezTo>
                <a:cubicBezTo>
                  <a:pt x="1570" y="722"/>
                  <a:pt x="1570" y="722"/>
                  <a:pt x="1570" y="722"/>
                </a:cubicBezTo>
                <a:cubicBezTo>
                  <a:pt x="1570" y="708"/>
                  <a:pt x="1559" y="697"/>
                  <a:pt x="1545" y="697"/>
                </a:cubicBezTo>
                <a:cubicBezTo>
                  <a:pt x="1127" y="697"/>
                  <a:pt x="1127" y="697"/>
                  <a:pt x="1127" y="697"/>
                </a:cubicBezTo>
                <a:cubicBezTo>
                  <a:pt x="1113" y="697"/>
                  <a:pt x="1102" y="708"/>
                  <a:pt x="1102" y="722"/>
                </a:cubicBezTo>
                <a:cubicBezTo>
                  <a:pt x="1102" y="798"/>
                  <a:pt x="1102" y="798"/>
                  <a:pt x="1102" y="798"/>
                </a:cubicBezTo>
                <a:cubicBezTo>
                  <a:pt x="1102" y="812"/>
                  <a:pt x="1113" y="824"/>
                  <a:pt x="1127" y="824"/>
                </a:cubicBezTo>
                <a:cubicBezTo>
                  <a:pt x="1382" y="824"/>
                  <a:pt x="1382" y="824"/>
                  <a:pt x="1382" y="824"/>
                </a:cubicBezTo>
                <a:cubicBezTo>
                  <a:pt x="1389" y="824"/>
                  <a:pt x="1395" y="827"/>
                  <a:pt x="1400" y="831"/>
                </a:cubicBezTo>
                <a:cubicBezTo>
                  <a:pt x="1410" y="841"/>
                  <a:pt x="1410" y="857"/>
                  <a:pt x="1401" y="868"/>
                </a:cubicBezTo>
                <a:cubicBezTo>
                  <a:pt x="1105" y="1176"/>
                  <a:pt x="1105" y="1176"/>
                  <a:pt x="1105" y="1176"/>
                </a:cubicBezTo>
                <a:cubicBezTo>
                  <a:pt x="1101" y="1180"/>
                  <a:pt x="1098" y="1187"/>
                  <a:pt x="1098" y="1193"/>
                </a:cubicBezTo>
                <a:cubicBezTo>
                  <a:pt x="1098" y="1253"/>
                  <a:pt x="1098" y="1253"/>
                  <a:pt x="1098" y="1253"/>
                </a:cubicBezTo>
                <a:cubicBezTo>
                  <a:pt x="1098" y="1267"/>
                  <a:pt x="1110" y="1278"/>
                  <a:pt x="1124" y="1278"/>
                </a:cubicBezTo>
                <a:cubicBezTo>
                  <a:pt x="1550" y="1278"/>
                  <a:pt x="1550" y="1278"/>
                  <a:pt x="1550" y="1278"/>
                </a:cubicBezTo>
                <a:cubicBezTo>
                  <a:pt x="1565" y="1278"/>
                  <a:pt x="1576" y="1267"/>
                  <a:pt x="1576" y="1253"/>
                </a:cubicBezTo>
                <a:cubicBezTo>
                  <a:pt x="1576" y="1177"/>
                  <a:pt x="1576" y="1177"/>
                  <a:pt x="1576" y="1177"/>
                </a:cubicBezTo>
                <a:cubicBezTo>
                  <a:pt x="1576" y="1162"/>
                  <a:pt x="1565" y="1151"/>
                  <a:pt x="1550" y="1151"/>
                </a:cubicBezTo>
                <a:close/>
                <a:moveTo>
                  <a:pt x="2649" y="1137"/>
                </a:moveTo>
                <a:cubicBezTo>
                  <a:pt x="2454" y="1582"/>
                  <a:pt x="2454" y="1582"/>
                  <a:pt x="2454" y="1582"/>
                </a:cubicBezTo>
                <a:cubicBezTo>
                  <a:pt x="2425" y="1649"/>
                  <a:pt x="2368" y="1699"/>
                  <a:pt x="2299" y="1721"/>
                </a:cubicBezTo>
                <a:cubicBezTo>
                  <a:pt x="848" y="2170"/>
                  <a:pt x="848" y="2170"/>
                  <a:pt x="848" y="2170"/>
                </a:cubicBezTo>
                <a:cubicBezTo>
                  <a:pt x="734" y="2206"/>
                  <a:pt x="610" y="2155"/>
                  <a:pt x="554" y="2050"/>
                </a:cubicBezTo>
                <a:cubicBezTo>
                  <a:pt x="72" y="1162"/>
                  <a:pt x="72" y="1162"/>
                  <a:pt x="72" y="1162"/>
                </a:cubicBezTo>
                <a:cubicBezTo>
                  <a:pt x="0" y="1028"/>
                  <a:pt x="6" y="866"/>
                  <a:pt x="88" y="738"/>
                </a:cubicBezTo>
                <a:cubicBezTo>
                  <a:pt x="486" y="116"/>
                  <a:pt x="486" y="116"/>
                  <a:pt x="486" y="116"/>
                </a:cubicBezTo>
                <a:cubicBezTo>
                  <a:pt x="532" y="44"/>
                  <a:pt x="611" y="0"/>
                  <a:pt x="697" y="0"/>
                </a:cubicBezTo>
                <a:cubicBezTo>
                  <a:pt x="708" y="0"/>
                  <a:pt x="720" y="1"/>
                  <a:pt x="732" y="3"/>
                </a:cubicBezTo>
                <a:cubicBezTo>
                  <a:pt x="2108" y="198"/>
                  <a:pt x="2108" y="198"/>
                  <a:pt x="2108" y="198"/>
                </a:cubicBezTo>
                <a:cubicBezTo>
                  <a:pt x="2232" y="215"/>
                  <a:pt x="2342" y="288"/>
                  <a:pt x="2407" y="395"/>
                </a:cubicBezTo>
                <a:cubicBezTo>
                  <a:pt x="2624" y="753"/>
                  <a:pt x="2624" y="753"/>
                  <a:pt x="2624" y="753"/>
                </a:cubicBezTo>
                <a:cubicBezTo>
                  <a:pt x="2694" y="870"/>
                  <a:pt x="2704" y="1012"/>
                  <a:pt x="2649" y="1137"/>
                </a:cubicBezTo>
                <a:close/>
                <a:moveTo>
                  <a:pt x="2573" y="784"/>
                </a:moveTo>
                <a:cubicBezTo>
                  <a:pt x="2356" y="426"/>
                  <a:pt x="2356" y="426"/>
                  <a:pt x="2356" y="426"/>
                </a:cubicBezTo>
                <a:cubicBezTo>
                  <a:pt x="2301" y="333"/>
                  <a:pt x="2207" y="271"/>
                  <a:pt x="2100" y="256"/>
                </a:cubicBezTo>
                <a:cubicBezTo>
                  <a:pt x="724" y="60"/>
                  <a:pt x="724" y="60"/>
                  <a:pt x="724" y="60"/>
                </a:cubicBezTo>
                <a:cubicBezTo>
                  <a:pt x="715" y="59"/>
                  <a:pt x="706" y="59"/>
                  <a:pt x="697" y="59"/>
                </a:cubicBezTo>
                <a:cubicBezTo>
                  <a:pt x="631" y="58"/>
                  <a:pt x="570" y="92"/>
                  <a:pt x="535" y="147"/>
                </a:cubicBezTo>
                <a:cubicBezTo>
                  <a:pt x="138" y="770"/>
                  <a:pt x="138" y="770"/>
                  <a:pt x="138" y="770"/>
                </a:cubicBezTo>
                <a:cubicBezTo>
                  <a:pt x="67" y="879"/>
                  <a:pt x="62" y="1019"/>
                  <a:pt x="124" y="1133"/>
                </a:cubicBezTo>
                <a:cubicBezTo>
                  <a:pt x="606" y="2022"/>
                  <a:pt x="606" y="2022"/>
                  <a:pt x="606" y="2022"/>
                </a:cubicBezTo>
                <a:cubicBezTo>
                  <a:pt x="639" y="2084"/>
                  <a:pt x="704" y="2123"/>
                  <a:pt x="774" y="2123"/>
                </a:cubicBezTo>
                <a:cubicBezTo>
                  <a:pt x="793" y="2123"/>
                  <a:pt x="812" y="2120"/>
                  <a:pt x="831" y="2114"/>
                </a:cubicBezTo>
                <a:cubicBezTo>
                  <a:pt x="2282" y="1664"/>
                  <a:pt x="2282" y="1664"/>
                  <a:pt x="2282" y="1664"/>
                </a:cubicBezTo>
                <a:cubicBezTo>
                  <a:pt x="2335" y="1648"/>
                  <a:pt x="2378" y="1609"/>
                  <a:pt x="2400" y="1558"/>
                </a:cubicBezTo>
                <a:cubicBezTo>
                  <a:pt x="2595" y="1114"/>
                  <a:pt x="2595" y="1114"/>
                  <a:pt x="2595" y="1114"/>
                </a:cubicBezTo>
                <a:cubicBezTo>
                  <a:pt x="2642" y="1006"/>
                  <a:pt x="2634" y="884"/>
                  <a:pt x="2573" y="784"/>
                </a:cubicBezTo>
                <a:close/>
                <a:moveTo>
                  <a:pt x="2166" y="722"/>
                </a:moveTo>
                <a:cubicBezTo>
                  <a:pt x="2166" y="1252"/>
                  <a:pt x="2166" y="1252"/>
                  <a:pt x="2166" y="1252"/>
                </a:cubicBezTo>
                <a:cubicBezTo>
                  <a:pt x="2166" y="1266"/>
                  <a:pt x="2154" y="1278"/>
                  <a:pt x="2140" y="1278"/>
                </a:cubicBezTo>
                <a:cubicBezTo>
                  <a:pt x="2121" y="1278"/>
                  <a:pt x="2121" y="1278"/>
                  <a:pt x="2121" y="1278"/>
                </a:cubicBezTo>
                <a:cubicBezTo>
                  <a:pt x="2107" y="1278"/>
                  <a:pt x="2095" y="1266"/>
                  <a:pt x="2095" y="1252"/>
                </a:cubicBezTo>
                <a:cubicBezTo>
                  <a:pt x="2095" y="1183"/>
                  <a:pt x="2095" y="1183"/>
                  <a:pt x="2095" y="1183"/>
                </a:cubicBezTo>
                <a:cubicBezTo>
                  <a:pt x="2076" y="1218"/>
                  <a:pt x="2004" y="1292"/>
                  <a:pt x="1864" y="1292"/>
                </a:cubicBezTo>
                <a:cubicBezTo>
                  <a:pt x="1700" y="1292"/>
                  <a:pt x="1578" y="1160"/>
                  <a:pt x="1578" y="987"/>
                </a:cubicBezTo>
                <a:cubicBezTo>
                  <a:pt x="1578" y="814"/>
                  <a:pt x="1700" y="683"/>
                  <a:pt x="1864" y="683"/>
                </a:cubicBezTo>
                <a:cubicBezTo>
                  <a:pt x="2005" y="683"/>
                  <a:pt x="2076" y="756"/>
                  <a:pt x="2095" y="792"/>
                </a:cubicBezTo>
                <a:cubicBezTo>
                  <a:pt x="2095" y="722"/>
                  <a:pt x="2095" y="722"/>
                  <a:pt x="2095" y="722"/>
                </a:cubicBezTo>
                <a:cubicBezTo>
                  <a:pt x="2095" y="708"/>
                  <a:pt x="2107" y="696"/>
                  <a:pt x="2121" y="696"/>
                </a:cubicBezTo>
                <a:cubicBezTo>
                  <a:pt x="2140" y="696"/>
                  <a:pt x="2140" y="696"/>
                  <a:pt x="2140" y="696"/>
                </a:cubicBezTo>
                <a:cubicBezTo>
                  <a:pt x="2154" y="696"/>
                  <a:pt x="2166" y="708"/>
                  <a:pt x="2166" y="722"/>
                </a:cubicBezTo>
                <a:close/>
                <a:moveTo>
                  <a:pt x="2095" y="987"/>
                </a:moveTo>
                <a:cubicBezTo>
                  <a:pt x="2095" y="891"/>
                  <a:pt x="2008" y="818"/>
                  <a:pt x="1889" y="818"/>
                </a:cubicBezTo>
                <a:cubicBezTo>
                  <a:pt x="1770" y="818"/>
                  <a:pt x="1682" y="891"/>
                  <a:pt x="1682" y="987"/>
                </a:cubicBezTo>
                <a:cubicBezTo>
                  <a:pt x="1682" y="1084"/>
                  <a:pt x="1770" y="1157"/>
                  <a:pt x="1889" y="1157"/>
                </a:cubicBezTo>
                <a:cubicBezTo>
                  <a:pt x="1889" y="1157"/>
                  <a:pt x="1889" y="1157"/>
                  <a:pt x="1889" y="1157"/>
                </a:cubicBezTo>
                <a:cubicBezTo>
                  <a:pt x="2006" y="1157"/>
                  <a:pt x="2095" y="1084"/>
                  <a:pt x="2095" y="98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 name="Titel 1"/>
          <p:cNvSpPr>
            <a:spLocks noGrp="1" noSelect="1"/>
          </p:cNvSpPr>
          <p:nvPr>
            <p:ph type="title" hasCustomPrompt="1"/>
          </p:nvPr>
        </p:nvSpPr>
        <p:spPr/>
        <p:txBody>
          <a:bodyPr/>
          <a:lstStyle>
            <a:lvl1pPr>
              <a:defRPr>
                <a:solidFill>
                  <a:schemeClr val="bg1"/>
                </a:solidFill>
              </a:defRPr>
            </a:lvl1pPr>
          </a:lstStyle>
          <a:p>
            <a:r>
              <a:rPr lang="nl-NL" dirty="0"/>
              <a:t>[Titel]</a:t>
            </a:r>
          </a:p>
        </p:txBody>
      </p:sp>
      <p:sp>
        <p:nvSpPr>
          <p:cNvPr id="5" name="Tijdelijke aanduiding voor tekst 4 (JU-Free)"/>
          <p:cNvSpPr>
            <a:spLocks noGrp="1"/>
          </p:cNvSpPr>
          <p:nvPr>
            <p:ph type="body" sz="quarter" idx="13" hasCustomPrompt="1"/>
          </p:nvPr>
        </p:nvSpPr>
        <p:spPr>
          <a:xfrm>
            <a:off x="1321200" y="1818000"/>
            <a:ext cx="9683750" cy="12600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nl-NL" dirty="0"/>
              <a:t>[Tekst]</a:t>
            </a:r>
          </a:p>
          <a:p>
            <a:pPr lvl="0"/>
            <a:r>
              <a:rPr lang="nl-NL" dirty="0"/>
              <a:t>JU-LEVEL1=Opsomming 1e niveau  met witruimte</a:t>
            </a:r>
          </a:p>
          <a:p>
            <a:pPr lvl="1"/>
            <a:r>
              <a:rPr lang="nl-NL" dirty="0"/>
              <a:t>JU-LEVEL2=Opsomming 2e niveau</a:t>
            </a:r>
          </a:p>
          <a:p>
            <a:pPr lvl="2"/>
            <a:r>
              <a:rPr lang="nl-NL" dirty="0"/>
              <a:t>JU-LEVEL3=Inhoud lijst + witregel</a:t>
            </a:r>
          </a:p>
          <a:p>
            <a:pPr lvl="3"/>
            <a:r>
              <a:rPr lang="nl-NL" dirty="0"/>
              <a:t>JU-LEVEL4=Kop</a:t>
            </a:r>
          </a:p>
          <a:p>
            <a:pPr lvl="4"/>
            <a:r>
              <a:rPr lang="nl-NL" dirty="0"/>
              <a:t>JU-LEVEL5=Basistekst</a:t>
            </a:r>
          </a:p>
          <a:p>
            <a:pPr lvl="5"/>
            <a:r>
              <a:rPr lang="nl-NL" dirty="0"/>
              <a:t>JU-LEVEL6=Zwevend 1e niveau</a:t>
            </a:r>
          </a:p>
          <a:p>
            <a:pPr lvl="6"/>
            <a:r>
              <a:rPr lang="nl-NL" dirty="0"/>
              <a:t>JU-LEVEL7=Zwevend 2e niveau</a:t>
            </a:r>
          </a:p>
        </p:txBody>
      </p:sp>
      <p:sp>
        <p:nvSpPr>
          <p:cNvPr id="7" name="Tijdelijke aanduiding voor tekst 5 (JU-Free)"/>
          <p:cNvSpPr>
            <a:spLocks noGrp="1"/>
          </p:cNvSpPr>
          <p:nvPr>
            <p:ph type="body" sz="quarter" idx="14" hasCustomPrompt="1"/>
          </p:nvPr>
        </p:nvSpPr>
        <p:spPr>
          <a:xfrm>
            <a:off x="3443075"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8" name="Tijdelijke aanduiding voor tekst 5 (JU-Free)"/>
          <p:cNvSpPr>
            <a:spLocks noGrp="1"/>
          </p:cNvSpPr>
          <p:nvPr>
            <p:ph type="body" sz="quarter" idx="15" hasCustomPrompt="1"/>
          </p:nvPr>
        </p:nvSpPr>
        <p:spPr>
          <a:xfrm>
            <a:off x="8296429" y="3681967"/>
            <a:ext cx="2547418" cy="1898217"/>
          </a:xfrm>
        </p:spPr>
        <p:txBody>
          <a:bodyPr/>
          <a:lstStyle>
            <a:lvl1pPr marL="0" marR="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b="1">
                <a:solidFill>
                  <a:schemeClr val="bg1"/>
                </a:solidFill>
              </a:defRPr>
            </a:lvl1pPr>
            <a:lvl2pPr marL="0" indent="0">
              <a:spcBef>
                <a:spcPts val="0"/>
              </a:spcBef>
              <a:buClr>
                <a:schemeClr val="bg1"/>
              </a:buClr>
              <a:buNone/>
              <a:defRPr b="0">
                <a:solidFill>
                  <a:schemeClr val="bg1"/>
                </a:solidFill>
              </a:defRPr>
            </a:lvl2pPr>
            <a:lvl3pPr marL="0" indent="0">
              <a:spcBef>
                <a:spcPts val="2500"/>
              </a:spcBef>
              <a:buClr>
                <a:schemeClr val="bg1"/>
              </a:buClr>
              <a:buNone/>
              <a:defRPr b="0" i="1">
                <a:solidFill>
                  <a:schemeClr val="bg1"/>
                </a:solidFill>
              </a:defRPr>
            </a:lvl3pPr>
            <a:lvl4pPr marL="0" indent="0">
              <a:spcBef>
                <a:spcPts val="0"/>
              </a:spcBef>
              <a:buFont typeface="Arial" panose="020B0604020202020204" pitchFamily="34" charset="0"/>
              <a:buNone/>
              <a:defRPr b="0">
                <a:solidFill>
                  <a:schemeClr val="bg1"/>
                </a:solidFill>
              </a:defRPr>
            </a:lvl4pPr>
            <a:lvl5pPr marL="0" indent="0">
              <a:spcBef>
                <a:spcPts val="0"/>
              </a:spcBef>
              <a:buFont typeface="Arial" panose="020B0604020202020204" pitchFamily="34" charset="0"/>
              <a:buNone/>
              <a:defRPr b="0">
                <a:solidFill>
                  <a:schemeClr val="bg1"/>
                </a:solidFill>
              </a:defRPr>
            </a:lvl5pPr>
            <a:lvl6pPr marL="0" indent="0">
              <a:spcBef>
                <a:spcPts val="0"/>
              </a:spcBef>
              <a:buFont typeface="Arial" panose="020B0604020202020204" pitchFamily="34" charset="0"/>
              <a:buNone/>
              <a:defRPr b="0">
                <a:solidFill>
                  <a:schemeClr val="bg1"/>
                </a:solidFill>
              </a:defRPr>
            </a:lvl6pPr>
            <a:lvl7pPr marL="0" indent="0">
              <a:spcBef>
                <a:spcPts val="0"/>
              </a:spcBef>
              <a:buFont typeface="Arial" panose="020B0604020202020204" pitchFamily="34" charset="0"/>
              <a:buNone/>
              <a:defRPr b="0">
                <a:solidFill>
                  <a:schemeClr val="bg1"/>
                </a:solidFill>
              </a:defRPr>
            </a:lvl7pPr>
            <a:lvl8pPr marL="0" indent="0">
              <a:spcBef>
                <a:spcPts val="0"/>
              </a:spcBef>
              <a:buFont typeface="Arial" panose="020B0604020202020204" pitchFamily="34" charset="0"/>
              <a:buNone/>
              <a:defRPr b="0">
                <a:solidFill>
                  <a:schemeClr val="bg1"/>
                </a:solidFill>
              </a:defRPr>
            </a:lvl8pPr>
            <a:lvl9pPr marL="0" indent="0">
              <a:spcBef>
                <a:spcPts val="0"/>
              </a:spcBef>
              <a:buFont typeface="Arial" panose="020B0604020202020204" pitchFamily="34" charset="0"/>
              <a:buNone/>
              <a:defRPr b="0">
                <a:solidFill>
                  <a:schemeClr val="bg1"/>
                </a:solidFill>
              </a:defRPr>
            </a:lvl9pPr>
          </a:lstStyle>
          <a:p>
            <a:pPr marL="0" marR="0" lvl="0" indent="0" algn="l" defTabSz="914400" rtl="0" eaLnBrk="1" fontAlgn="auto" latinLnBrk="0" hangingPunct="1">
              <a:lnSpc>
                <a:spcPct val="117000"/>
              </a:lnSpc>
              <a:spcBef>
                <a:spcPts val="0"/>
              </a:spcBef>
              <a:spcAft>
                <a:spcPts val="0"/>
              </a:spcAft>
              <a:buClr>
                <a:schemeClr val="bg1"/>
              </a:buClr>
              <a:buSzTx/>
              <a:buFont typeface="Arial" panose="020B0604020202020204" pitchFamily="34" charset="0"/>
              <a:buNone/>
              <a:tabLst/>
              <a:defRPr/>
            </a:pPr>
            <a:r>
              <a:rPr lang="nl-NL" dirty="0"/>
              <a:t>[Naam, 1e niveau, functie 2e niveau en mailadres 3e niveau]</a:t>
            </a:r>
          </a:p>
          <a:p>
            <a:pPr lvl="0"/>
            <a:r>
              <a:rPr lang="nl-NL" dirty="0"/>
              <a:t>JU-LEVEL1=Naam</a:t>
            </a:r>
          </a:p>
          <a:p>
            <a:pPr lvl="1"/>
            <a:r>
              <a:rPr lang="nl-NL" dirty="0"/>
              <a:t>JU-LEVEL2=Functie</a:t>
            </a:r>
          </a:p>
          <a:p>
            <a:pPr lvl="2"/>
            <a:r>
              <a:rPr lang="nl-NL" dirty="0"/>
              <a:t>JU-LEVEL3=mailadres</a:t>
            </a:r>
          </a:p>
        </p:txBody>
      </p:sp>
      <p:sp>
        <p:nvSpPr>
          <p:cNvPr id="9" name="Tijdelijke aanduiding voor afbeelding 8"/>
          <p:cNvSpPr>
            <a:spLocks noGrp="1" noSelect="1" noChangeAspect="1"/>
          </p:cNvSpPr>
          <p:nvPr>
            <p:ph type="pic" sz="quarter" idx="16" hasCustomPrompt="1"/>
          </p:nvPr>
        </p:nvSpPr>
        <p:spPr>
          <a:xfrm>
            <a:off x="1301627" y="3417276"/>
            <a:ext cx="1782000" cy="1782000"/>
          </a:xfrm>
          <a:prstGeom prst="ellipse">
            <a:avLst/>
          </a:prstGeom>
          <a:solidFill>
            <a:srgbClr val="F6BFD9"/>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
        <p:nvSpPr>
          <p:cNvPr id="11" name="Tijdelijke aanduiding voor afbeelding 9"/>
          <p:cNvSpPr>
            <a:spLocks noGrp="1" noSelect="1" noChangeAspect="1"/>
          </p:cNvSpPr>
          <p:nvPr>
            <p:ph type="pic" sz="quarter" idx="17" hasCustomPrompt="1"/>
          </p:nvPr>
        </p:nvSpPr>
        <p:spPr>
          <a:xfrm>
            <a:off x="6166706" y="3417276"/>
            <a:ext cx="1782000" cy="1782000"/>
          </a:xfrm>
          <a:prstGeom prst="ellipse">
            <a:avLst/>
          </a:prstGeom>
          <a:solidFill>
            <a:srgbClr val="F6BFD9"/>
          </a:solidFill>
        </p:spPr>
        <p:txBody>
          <a:bodyPr/>
          <a:lstStyle>
            <a:lvl1pPr marL="0" indent="0">
              <a:lnSpc>
                <a:spcPct val="100000"/>
              </a:lnSpc>
              <a:buNone/>
              <a:defRPr sz="1100" baseline="0">
                <a:solidFill>
                  <a:schemeClr val="bg1"/>
                </a:solidFill>
              </a:defRPr>
            </a:lvl1pPr>
          </a:lstStyle>
          <a:p>
            <a:r>
              <a:rPr lang="nl-NL" dirty="0"/>
              <a:t>[Klik op het pictogram om een foto in te voegen]</a:t>
            </a:r>
          </a:p>
        </p:txBody>
      </p:sp>
    </p:spTree>
    <p:extLst>
      <p:ext uri="{BB962C8B-B14F-4D97-AF65-F5344CB8AC3E}">
        <p14:creationId xmlns:p14="http://schemas.microsoft.com/office/powerpoint/2010/main" val="60069636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p:txBody>
          <a:bodyPr/>
          <a:lstStyle/>
          <a:p>
            <a:r>
              <a:rPr lang="nl-NL" dirty="0"/>
              <a:t>[Titel]</a:t>
            </a:r>
          </a:p>
        </p:txBody>
      </p:sp>
      <p:sp>
        <p:nvSpPr>
          <p:cNvPr id="3" name="Tijdelijke aanduiding voor inhoud 2"/>
          <p:cNvSpPr>
            <a:spLocks noGrp="1" noSelect="1"/>
          </p:cNvSpPr>
          <p:nvPr>
            <p:ph idx="1" hasCustomPrompt="1"/>
          </p:nvPr>
        </p:nvSpPr>
        <p:spPr/>
        <p:txBody>
          <a:bodyPr/>
          <a:lstStyle>
            <a:lvl1pPr>
              <a:defRPr baseline="0"/>
            </a:lvl1pPr>
          </a:lstStyle>
          <a:p>
            <a:pPr lvl="0"/>
            <a:r>
              <a:rPr lang="nl-NL" dirty="0"/>
              <a:t>[Typ tekst of klik op een pictogram om een object in te voegen]</a:t>
            </a:r>
          </a:p>
        </p:txBody>
      </p:sp>
      <p:sp>
        <p:nvSpPr>
          <p:cNvPr id="11" name="Tijdelijke aanduiding voor dianummer 10"/>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289371731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Tijdelijke aanduiding voor inhoud L"/>
          <p:cNvSpPr>
            <a:spLocks noGrp="1" noSelect="1"/>
          </p:cNvSpPr>
          <p:nvPr>
            <p:ph sz="half" idx="1" hasCustomPrompt="1"/>
          </p:nvPr>
        </p:nvSpPr>
        <p:spPr>
          <a:xfrm>
            <a:off x="1321200" y="1818000"/>
            <a:ext cx="4377600" cy="4068000"/>
          </a:xfrm>
        </p:spPr>
        <p:txBody>
          <a:bodyPr/>
          <a:lstStyle/>
          <a:p>
            <a:pPr lvl="0"/>
            <a:r>
              <a:rPr lang="nl-NL" dirty="0"/>
              <a:t>[Typ tekst of klik op een pictogram om een object in te voegen]</a:t>
            </a:r>
          </a:p>
        </p:txBody>
      </p:sp>
      <p:sp>
        <p:nvSpPr>
          <p:cNvPr id="4" name="Tijdelijke aanduiding voor inhoud R"/>
          <p:cNvSpPr>
            <a:spLocks noGrp="1" noSelect="1"/>
          </p:cNvSpPr>
          <p:nvPr>
            <p:ph sz="half" idx="2" hasCustomPrompt="1"/>
          </p:nvPr>
        </p:nvSpPr>
        <p:spPr>
          <a:xfrm>
            <a:off x="6592107" y="1818000"/>
            <a:ext cx="4377600" cy="4068000"/>
          </a:xfrm>
        </p:spPr>
        <p:txBody>
          <a:bodyPr/>
          <a:lstStyle>
            <a:lvl1pPr>
              <a:defRPr/>
            </a:lvl1pPr>
          </a:lstStyle>
          <a:p>
            <a:pPr lvl="0"/>
            <a:r>
              <a:rPr lang="nl-NL" dirty="0"/>
              <a:t>[Typ tekst of klik op een pictogram om een object in te voegen]</a:t>
            </a:r>
          </a:p>
        </p:txBody>
      </p:sp>
      <p:sp>
        <p:nvSpPr>
          <p:cNvPr id="12" name="Tijdelijke aanduiding voor dianummer 11"/>
          <p:cNvSpPr>
            <a:spLocks noGrp="1" noSelect="1"/>
          </p:cNvSpPr>
          <p:nvPr>
            <p:ph type="sldNum" sz="quarter" idx="12"/>
          </p:nvPr>
        </p:nvSpPr>
        <p:spPr/>
        <p:txBody>
          <a:bodyPr/>
          <a:lstStyle/>
          <a:p>
            <a:fld id="{8F18802B-E4C7-4B2D-B37A-6B7CC3C134EA}" type="slidenum">
              <a:rPr lang="nl-NL" smtClean="0"/>
              <a:pPr/>
              <a:t>‹nr.›</a:t>
            </a:fld>
            <a:endParaRPr lang="nl-NL" dirty="0"/>
          </a:p>
        </p:txBody>
      </p:sp>
      <p:sp>
        <p:nvSpPr>
          <p:cNvPr id="5" name="Titel 4"/>
          <p:cNvSpPr>
            <a:spLocks noGrp="1" noSelect="1"/>
          </p:cNvSpPr>
          <p:nvPr>
            <p:ph type="title" hasCustomPrompt="1"/>
          </p:nvPr>
        </p:nvSpPr>
        <p:spPr>
          <a:xfrm>
            <a:off x="1321707" y="564614"/>
            <a:ext cx="9648000" cy="1080000"/>
          </a:xfrm>
        </p:spPr>
        <p:txBody>
          <a:bodyPr/>
          <a:lstStyle>
            <a:lvl1pPr>
              <a:defRPr/>
            </a:lvl1pPr>
          </a:lstStyle>
          <a:p>
            <a:r>
              <a:rPr lang="nl-NL" dirty="0"/>
              <a:t>[Titel]</a:t>
            </a:r>
          </a:p>
        </p:txBody>
      </p:sp>
    </p:spTree>
    <p:extLst>
      <p:ext uri="{BB962C8B-B14F-4D97-AF65-F5344CB8AC3E}">
        <p14:creationId xmlns:p14="http://schemas.microsoft.com/office/powerpoint/2010/main" val="20987438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p:txBody>
          <a:bodyPr/>
          <a:lstStyle/>
          <a:p>
            <a:r>
              <a:rPr lang="nl-NL" dirty="0"/>
              <a:t>[Titel]</a:t>
            </a:r>
          </a:p>
        </p:txBody>
      </p:sp>
      <p:sp>
        <p:nvSpPr>
          <p:cNvPr id="10" name="Tijdelijke aanduiding voor dianummer 9"/>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11028346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4" name="Tijdelijke aanduiding voor dianummer 3"/>
          <p:cNvSpPr>
            <a:spLocks noGrp="1" noSelect="1"/>
          </p:cNvSpPr>
          <p:nvPr>
            <p:ph type="sldNum" sz="quarter" idx="12"/>
          </p:nvPr>
        </p:nvSpPr>
        <p:spPr/>
        <p:txBody>
          <a:body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402487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spagina">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C3B99185-749F-476B-9ABD-398E202E15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838200" y="681037"/>
            <a:ext cx="10515600" cy="1009651"/>
          </a:xfrm>
          <a:prstGeom prst="rect">
            <a:avLst/>
          </a:prstGeom>
        </p:spPr>
        <p:txBody>
          <a:bodyPr/>
          <a:lstStyle>
            <a:lvl1pPr>
              <a:defRPr sz="3600"/>
            </a:lvl1pPr>
          </a:lstStyle>
          <a:p>
            <a:r>
              <a:rPr lang="nl-NL"/>
              <a:t>Klik om stijl te bewerken</a:t>
            </a:r>
            <a:endParaRPr lang="nl-NL" dirty="0"/>
          </a:p>
        </p:txBody>
      </p:sp>
      <p:sp>
        <p:nvSpPr>
          <p:cNvPr id="6" name="Tijdelijke aanduiding voor tekst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datum 2">
            <a:extLst>
              <a:ext uri="{FF2B5EF4-FFF2-40B4-BE49-F238E27FC236}">
                <a16:creationId xmlns:a16="http://schemas.microsoft.com/office/drawing/2014/main" id="{D0162436-7F4F-4A77-99F6-D0CF6959220E}"/>
              </a:ext>
            </a:extLst>
          </p:cNvPr>
          <p:cNvSpPr>
            <a:spLocks noGrp="1"/>
          </p:cNvSpPr>
          <p:nvPr>
            <p:ph type="dt" sz="half" idx="10"/>
          </p:nvPr>
        </p:nvSpPr>
        <p:spPr/>
        <p:txBody>
          <a:bodyPr/>
          <a:lstStyle>
            <a:lvl1pPr>
              <a:defRPr/>
            </a:lvl1pPr>
          </a:lstStyle>
          <a:p>
            <a:pPr>
              <a:defRPr/>
            </a:pPr>
            <a:fld id="{C4E71070-F944-4789-979F-A914339E694C}" type="datetimeFigureOut">
              <a:rPr lang="nl-NL"/>
              <a:pPr>
                <a:defRPr/>
              </a:pPr>
              <a:t>28-9-2022</a:t>
            </a:fld>
            <a:endParaRPr lang="nl-NL"/>
          </a:p>
        </p:txBody>
      </p:sp>
      <p:sp>
        <p:nvSpPr>
          <p:cNvPr id="7" name="Tijdelijke aanduiding voor voettekst 3">
            <a:extLst>
              <a:ext uri="{FF2B5EF4-FFF2-40B4-BE49-F238E27FC236}">
                <a16:creationId xmlns:a16="http://schemas.microsoft.com/office/drawing/2014/main" id="{7058F456-D6E3-4293-A50F-50D279AE4427}"/>
              </a:ext>
            </a:extLst>
          </p:cNvPr>
          <p:cNvSpPr>
            <a:spLocks noGrp="1"/>
          </p:cNvSpPr>
          <p:nvPr>
            <p:ph type="ftr" sz="quarter" idx="11"/>
          </p:nvPr>
        </p:nvSpPr>
        <p:spPr/>
        <p:txBody>
          <a:bodyPr/>
          <a:lstStyle>
            <a:lvl1pPr>
              <a:defRPr/>
            </a:lvl1pPr>
          </a:lstStyle>
          <a:p>
            <a:pPr>
              <a:defRPr/>
            </a:pPr>
            <a:endParaRPr lang="nl-NL"/>
          </a:p>
        </p:txBody>
      </p:sp>
      <p:sp>
        <p:nvSpPr>
          <p:cNvPr id="8" name="Tijdelijke aanduiding voor dianummer 4">
            <a:extLst>
              <a:ext uri="{FF2B5EF4-FFF2-40B4-BE49-F238E27FC236}">
                <a16:creationId xmlns:a16="http://schemas.microsoft.com/office/drawing/2014/main" id="{172460E6-7912-43F5-B896-9B8A1C3A3363}"/>
              </a:ext>
            </a:extLst>
          </p:cNvPr>
          <p:cNvSpPr>
            <a:spLocks noGrp="1"/>
          </p:cNvSpPr>
          <p:nvPr>
            <p:ph type="sldNum" sz="quarter" idx="12"/>
          </p:nvPr>
        </p:nvSpPr>
        <p:spPr/>
        <p:txBody>
          <a:bodyPr/>
          <a:lstStyle>
            <a:lvl1pPr>
              <a:defRPr/>
            </a:lvl1pPr>
          </a:lstStyle>
          <a:p>
            <a:pPr>
              <a:defRPr/>
            </a:pPr>
            <a:fld id="{4D69EDC0-FC91-4DAF-A91D-DB0E5EDDBF36}" type="slidenum">
              <a:rPr lang="nl-NL"/>
              <a:pPr>
                <a:defRPr/>
              </a:pPr>
              <a:t>‹nr.›</a:t>
            </a:fld>
            <a:endParaRPr lang="nl-NL"/>
          </a:p>
        </p:txBody>
      </p:sp>
    </p:spTree>
    <p:extLst>
      <p:ext uri="{BB962C8B-B14F-4D97-AF65-F5344CB8AC3E}">
        <p14:creationId xmlns:p14="http://schemas.microsoft.com/office/powerpoint/2010/main" val="2776411175"/>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ranje achtergrond">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7C4275F1-943A-4C8E-AF15-F2C4F22ED7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jdelijke aanduiding voor inhoud 2"/>
          <p:cNvSpPr>
            <a:spLocks noGrp="1"/>
          </p:cNvSpPr>
          <p:nvPr>
            <p:ph idx="1"/>
          </p:nvPr>
        </p:nvSpPr>
        <p:spPr>
          <a:xfrm>
            <a:off x="1730326" y="1055077"/>
            <a:ext cx="8975188" cy="4656406"/>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EB4E6543-9133-40F9-B959-BB9D95DF22FC}"/>
              </a:ext>
            </a:extLst>
          </p:cNvPr>
          <p:cNvSpPr>
            <a:spLocks noGrp="1"/>
          </p:cNvSpPr>
          <p:nvPr>
            <p:ph type="dt" sz="half" idx="10"/>
          </p:nvPr>
        </p:nvSpPr>
        <p:spPr/>
        <p:txBody>
          <a:bodyPr/>
          <a:lstStyle>
            <a:lvl1pPr>
              <a:defRPr smtClean="0">
                <a:solidFill>
                  <a:schemeClr val="bg1"/>
                </a:solidFill>
              </a:defRPr>
            </a:lvl1pPr>
          </a:lstStyle>
          <a:p>
            <a:pPr>
              <a:defRPr/>
            </a:pPr>
            <a:fld id="{4DF2D558-37F4-4FAC-A913-542BA36CE957}" type="datetimeFigureOut">
              <a:rPr lang="nl-NL"/>
              <a:pPr>
                <a:defRPr/>
              </a:pPr>
              <a:t>28-9-2022</a:t>
            </a:fld>
            <a:endParaRPr lang="nl-NL" dirty="0"/>
          </a:p>
        </p:txBody>
      </p:sp>
      <p:sp>
        <p:nvSpPr>
          <p:cNvPr id="5" name="Tijdelijke aanduiding voor voettekst 4">
            <a:extLst>
              <a:ext uri="{FF2B5EF4-FFF2-40B4-BE49-F238E27FC236}">
                <a16:creationId xmlns:a16="http://schemas.microsoft.com/office/drawing/2014/main" id="{F9E6A8BC-3681-4DE6-B0DA-CA05CE4D741E}"/>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5">
            <a:extLst>
              <a:ext uri="{FF2B5EF4-FFF2-40B4-BE49-F238E27FC236}">
                <a16:creationId xmlns:a16="http://schemas.microsoft.com/office/drawing/2014/main" id="{EA4CD0F3-2B6C-4D53-9AE6-296EF36248E3}"/>
              </a:ext>
            </a:extLst>
          </p:cNvPr>
          <p:cNvSpPr>
            <a:spLocks noGrp="1"/>
          </p:cNvSpPr>
          <p:nvPr>
            <p:ph type="sldNum" sz="quarter" idx="12"/>
          </p:nvPr>
        </p:nvSpPr>
        <p:spPr/>
        <p:txBody>
          <a:bodyPr/>
          <a:lstStyle>
            <a:lvl1pPr>
              <a:defRPr smtClean="0">
                <a:solidFill>
                  <a:schemeClr val="bg1"/>
                </a:solidFill>
              </a:defRPr>
            </a:lvl1pPr>
          </a:lstStyle>
          <a:p>
            <a:pPr>
              <a:defRPr/>
            </a:pPr>
            <a:fld id="{0A17B7AA-7B99-4BA1-BD8A-ABA88B195040}" type="slidenum">
              <a:rPr lang="nl-NL"/>
              <a:pPr>
                <a:defRPr/>
              </a:pPr>
              <a:t>‹nr.›</a:t>
            </a:fld>
            <a:endParaRPr lang="nl-NL" dirty="0"/>
          </a:p>
        </p:txBody>
      </p:sp>
    </p:spTree>
    <p:extLst>
      <p:ext uri="{BB962C8B-B14F-4D97-AF65-F5344CB8AC3E}">
        <p14:creationId xmlns:p14="http://schemas.microsoft.com/office/powerpoint/2010/main" val="32250376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ntro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923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3600" b="1" i="0" baseline="0">
              <a:latin typeface="Arial"/>
              <a:ea typeface="+mj-ea"/>
              <a:cs typeface="+mj-cs"/>
              <a:sym typeface="Arial"/>
            </a:endParaRPr>
          </a:p>
        </p:txBody>
      </p:sp>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accent3"/>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pictogram als u een afbeelding wilt toevoegen</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1349574" y="2316401"/>
            <a:ext cx="9482420" cy="2288285"/>
          </a:xfrm>
        </p:spPr>
        <p:txBody>
          <a:bodyPr anchor="ctr" anchorCtr="0"/>
          <a:lstStyle>
            <a:lvl1pPr algn="ctr">
              <a:defRPr sz="3600">
                <a:solidFill>
                  <a:schemeClr val="tx2"/>
                </a:solidFill>
              </a:defRPr>
            </a:lvl1pPr>
          </a:lstStyle>
          <a:p>
            <a:r>
              <a:rPr lang="nl-NL"/>
              <a:t>Plaats hier naam presentatie, max. 2 regels</a:t>
            </a:r>
          </a:p>
        </p:txBody>
      </p:sp>
    </p:spTree>
    <p:extLst>
      <p:ext uri="{BB962C8B-B14F-4D97-AF65-F5344CB8AC3E}">
        <p14:creationId xmlns:p14="http://schemas.microsoft.com/office/powerpoint/2010/main" val="4286369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Inhoudsopgave">
    <p:spTree>
      <p:nvGrpSpPr>
        <p:cNvPr id="1" name=""/>
        <p:cNvGrpSpPr/>
        <p:nvPr/>
      </p:nvGrpSpPr>
      <p:grpSpPr>
        <a:xfrm>
          <a:off x="0" y="0"/>
          <a:ext cx="0" cy="0"/>
          <a:chOff x="0" y="0"/>
          <a:chExt cx="0" cy="0"/>
        </a:xfrm>
      </p:grpSpPr>
      <p:sp>
        <p:nvSpPr>
          <p:cNvPr id="24" name="Vrije vorm: vorm 23">
            <a:extLst>
              <a:ext uri="{FF2B5EF4-FFF2-40B4-BE49-F238E27FC236}">
                <a16:creationId xmlns:a16="http://schemas.microsoft.com/office/drawing/2014/main" id="{1A88944A-4CF2-45B8-9B1B-0645279B74C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3" name="Tijdelijke aanduiding voor verticale tekst 2"/>
          <p:cNvSpPr>
            <a:spLocks noGrp="1"/>
          </p:cNvSpPr>
          <p:nvPr>
            <p:ph type="body" orient="vert" idx="1" hasCustomPrompt="1"/>
          </p:nvPr>
        </p:nvSpPr>
        <p:spPr>
          <a:xfrm>
            <a:off x="515940" y="13507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bij voorkeur titels van de slides in de presentatie en zorg voor herkenbare piramide – zorg dat de blokken samen een logisch oplopende samenvatting van je verhaal zijn</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71" name="Tijdelijke aanduiding voor verticale tekst 2">
            <a:extLst>
              <a:ext uri="{FF2B5EF4-FFF2-40B4-BE49-F238E27FC236}">
                <a16:creationId xmlns:a16="http://schemas.microsoft.com/office/drawing/2014/main" id="{FE290CDF-749E-45F0-844F-4806A956D0AA}"/>
              </a:ext>
            </a:extLst>
          </p:cNvPr>
          <p:cNvSpPr>
            <a:spLocks noGrp="1"/>
          </p:cNvSpPr>
          <p:nvPr>
            <p:ph type="body" orient="vert" idx="13" hasCustomPrompt="1"/>
          </p:nvPr>
        </p:nvSpPr>
        <p:spPr>
          <a:xfrm>
            <a:off x="515940" y="23739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deze slide en accentueer het te bespreken onderwerp (lichtblauw)</a:t>
            </a:r>
          </a:p>
        </p:txBody>
      </p:sp>
      <p:sp>
        <p:nvSpPr>
          <p:cNvPr id="173" name="Tijdelijke aanduiding voor verticale tekst 2">
            <a:extLst>
              <a:ext uri="{FF2B5EF4-FFF2-40B4-BE49-F238E27FC236}">
                <a16:creationId xmlns:a16="http://schemas.microsoft.com/office/drawing/2014/main" id="{8C347347-F4D9-4B0A-B408-EE867EE63246}"/>
              </a:ext>
            </a:extLst>
          </p:cNvPr>
          <p:cNvSpPr>
            <a:spLocks noGrp="1"/>
          </p:cNvSpPr>
          <p:nvPr>
            <p:ph type="body" orient="vert" idx="14" hasCustomPrompt="1"/>
          </p:nvPr>
        </p:nvSpPr>
        <p:spPr>
          <a:xfrm>
            <a:off x="515940" y="33971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ebruik volzinnen van maximaal 15 woorden in de titel, gebruik geen punten</a:t>
            </a:r>
          </a:p>
        </p:txBody>
      </p:sp>
      <p:sp>
        <p:nvSpPr>
          <p:cNvPr id="174" name="Tijdelijke aanduiding voor verticale tekst 2">
            <a:extLst>
              <a:ext uri="{FF2B5EF4-FFF2-40B4-BE49-F238E27FC236}">
                <a16:creationId xmlns:a16="http://schemas.microsoft.com/office/drawing/2014/main" id="{3B6ACEE2-7D5F-4223-B109-7E58AD9898E2}"/>
              </a:ext>
            </a:extLst>
          </p:cNvPr>
          <p:cNvSpPr>
            <a:spLocks noGrp="1"/>
          </p:cNvSpPr>
          <p:nvPr>
            <p:ph type="body" orient="vert" idx="15" hasCustomPrompt="1"/>
          </p:nvPr>
        </p:nvSpPr>
        <p:spPr>
          <a:xfrm>
            <a:off x="515940" y="44203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Lettertype grootte is Arial 14pt</a:t>
            </a:r>
          </a:p>
        </p:txBody>
      </p:sp>
      <p:sp>
        <p:nvSpPr>
          <p:cNvPr id="175" name="Tijdelijke aanduiding voor verticale tekst 2">
            <a:extLst>
              <a:ext uri="{FF2B5EF4-FFF2-40B4-BE49-F238E27FC236}">
                <a16:creationId xmlns:a16="http://schemas.microsoft.com/office/drawing/2014/main" id="{6DC1EEB1-7AFB-4F24-B984-79C4741696C5}"/>
              </a:ext>
            </a:extLst>
          </p:cNvPr>
          <p:cNvSpPr>
            <a:spLocks noGrp="1"/>
          </p:cNvSpPr>
          <p:nvPr>
            <p:ph type="body" orient="vert" idx="16" hasCustomPrompt="1"/>
          </p:nvPr>
        </p:nvSpPr>
        <p:spPr>
          <a:xfrm>
            <a:off x="515940" y="5443510"/>
            <a:ext cx="7498975" cy="890063"/>
          </a:xfrm>
          <a:solidFill>
            <a:schemeClr val="bg1"/>
          </a:solidFill>
          <a:ln>
            <a:solidFill>
              <a:srgbClr val="DCEBF3"/>
            </a:solidFill>
          </a:ln>
        </p:spPr>
        <p:txBody>
          <a:bodyPr vert="horz" lIns="144000" tIns="144000" rIns="144000" bIns="144000" anchor="ctr"/>
          <a:lstStyle>
            <a:lvl1pPr marL="0" indent="0">
              <a:buFontTx/>
              <a:buNone/>
              <a:defRPr sz="1400" baseline="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a voor kleuren en iconen naar </a:t>
            </a:r>
            <a:r>
              <a:rPr lang="nl-NL" err="1"/>
              <a:t>frontify</a:t>
            </a:r>
            <a:r>
              <a:rPr lang="nl-NL"/>
              <a:t>. Nog geen toegang? Vraag het aan via </a:t>
            </a:r>
            <a:r>
              <a:rPr lang="nl-NL">
                <a:effectLst/>
                <a:hlinkClick r:id="rId2"/>
              </a:rPr>
              <a:t>huisstijl@zilverenkruis.nl</a:t>
            </a:r>
            <a:endParaRPr lang="nl-NL"/>
          </a:p>
        </p:txBody>
      </p:sp>
    </p:spTree>
    <p:extLst>
      <p:ext uri="{BB962C8B-B14F-4D97-AF65-F5344CB8AC3E}">
        <p14:creationId xmlns:p14="http://schemas.microsoft.com/office/powerpoint/2010/main" val="2560690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3151484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257622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jdelijke aanduiding voor verticale tekst 2"/>
          <p:cNvSpPr>
            <a:spLocks noGrp="1"/>
          </p:cNvSpPr>
          <p:nvPr>
            <p:ph type="body" orient="vert" idx="1" hasCustomPrompt="1"/>
          </p:nvPr>
        </p:nvSpPr>
        <p:spPr>
          <a:xfrm>
            <a:off x="515940" y="1808162"/>
            <a:ext cx="11155359" cy="4527551"/>
          </a:xfrm>
        </p:spPr>
        <p:txBody>
          <a:bodyPr vert="horz" lIns="0" tIns="0" rIns="0" bIns="0"/>
          <a:lstStyle>
            <a:lvl1pPr marL="263525" indent="-263525">
              <a:lnSpc>
                <a:spcPct val="150000"/>
              </a:lnSpc>
              <a:spcAft>
                <a:spcPts val="0"/>
              </a:spcAft>
              <a:buFont typeface="Arial" panose="020B0604020202020204" pitchFamily="34" charset="0"/>
              <a:buChar char="•"/>
              <a:defRPr sz="1400" b="0" baseline="0">
                <a:solidFill>
                  <a:schemeClr val="tx2"/>
                </a:solidFill>
                <a:latin typeface="+mj-lt"/>
              </a:defRPr>
            </a:lvl1pPr>
            <a:lvl2pPr marL="538163" indent="-274638">
              <a:lnSpc>
                <a:spcPct val="150000"/>
              </a:lnSpc>
              <a:spcAft>
                <a:spcPts val="0"/>
              </a:spcAft>
              <a:buFont typeface="Arial" panose="020B0604020202020204" pitchFamily="34" charset="0"/>
              <a:buChar char="•"/>
              <a:defRPr sz="1400" b="0">
                <a:solidFill>
                  <a:schemeClr val="tx2"/>
                </a:solidFill>
                <a:latin typeface="+mj-lt"/>
              </a:defRPr>
            </a:lvl2pPr>
            <a:lvl3pPr marL="808038" marR="0" indent="-273050" algn="l" defTabSz="719138" rtl="0" eaLnBrk="1" fontAlgn="auto" latinLnBrk="0" hangingPunct="1">
              <a:lnSpc>
                <a:spcPct val="150000"/>
              </a:lnSpc>
              <a:spcBef>
                <a:spcPts val="0"/>
              </a:spcBef>
              <a:spcAft>
                <a:spcPts val="0"/>
              </a:spcAft>
              <a:buClr>
                <a:schemeClr val="tx2"/>
              </a:buClr>
              <a:buSzPct val="100000"/>
              <a:buFont typeface="Arial" panose="020B0604020202020204" pitchFamily="34" charset="0"/>
              <a:buChar char="•"/>
              <a:tabLst/>
              <a:defRPr sz="1400" b="0" baseline="0">
                <a:solidFill>
                  <a:schemeClr val="tx2"/>
                </a:solidFill>
                <a:latin typeface="+mj-lt"/>
              </a:defRPr>
            </a:lvl3pPr>
            <a:lvl4pPr marL="1081088" indent="-273050">
              <a:lnSpc>
                <a:spcPct val="150000"/>
              </a:lnSpc>
              <a:spcAft>
                <a:spcPts val="0"/>
              </a:spcAft>
              <a:buSzPct val="100000"/>
              <a:buFont typeface="Arial" panose="020B0604020202020204" pitchFamily="34" charset="0"/>
              <a:buChar char="•"/>
              <a:defRPr sz="1400" b="0" baseline="0">
                <a:solidFill>
                  <a:schemeClr val="tx2"/>
                </a:solidFill>
                <a:latin typeface="+mj-lt"/>
              </a:defRPr>
            </a:lvl4pPr>
            <a:lvl5pPr marL="1341438" indent="-285750">
              <a:lnSpc>
                <a:spcPct val="150000"/>
              </a:lnSpc>
              <a:buFont typeface="Arial" panose="020B0604020202020204" pitchFamily="34" charset="0"/>
              <a:buChar char="•"/>
              <a:defRPr sz="1400" baseline="0"/>
            </a:lvl5pPr>
            <a:lvl6pPr marL="549275" indent="-285750">
              <a:buFont typeface="Wingdings" panose="05000000000000000000" pitchFamily="2" charset="2"/>
              <a:buChar char="§"/>
              <a:defRPr/>
            </a:lvl6pPr>
            <a:lvl7pPr>
              <a:defRPr/>
            </a:lvl7pPr>
            <a:lvl8pPr>
              <a:defRPr/>
            </a:lvl8pPr>
            <a:lvl9pPr>
              <a:defRPr/>
            </a:lvl9pPr>
          </a:lstStyle>
          <a:p>
            <a:pPr lvl="0"/>
            <a:r>
              <a:rPr lang="nl-NL"/>
              <a:t>Bullet niveau 1</a:t>
            </a:r>
          </a:p>
          <a:p>
            <a:pPr lvl="1"/>
            <a:r>
              <a:rPr lang="nl-NL"/>
              <a:t>Bullet niveau 2</a:t>
            </a:r>
          </a:p>
          <a:p>
            <a:pPr lvl="2"/>
            <a:r>
              <a:rPr lang="nl-NL"/>
              <a:t>Bullet niveau 3</a:t>
            </a:r>
          </a:p>
          <a:p>
            <a:pPr lvl="3"/>
            <a:r>
              <a:rPr lang="nl-NL"/>
              <a:t>Bullet niveau 4</a:t>
            </a:r>
          </a:p>
          <a:p>
            <a:pPr lvl="4"/>
            <a:r>
              <a:rPr lang="nl-NL"/>
              <a:t>Bullet niveau 5</a:t>
            </a:r>
          </a:p>
        </p:txBody>
      </p:sp>
    </p:spTree>
    <p:extLst>
      <p:ext uri="{BB962C8B-B14F-4D97-AF65-F5344CB8AC3E}">
        <p14:creationId xmlns:p14="http://schemas.microsoft.com/office/powerpoint/2010/main" val="1925945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18" name="Rechte verbindingslijn 17"/>
          <p:cNvCxnSpPr/>
          <p:nvPr userDrawn="1"/>
        </p:nvCxnSpPr>
        <p:spPr>
          <a:xfrm>
            <a:off x="524404" y="1801284"/>
            <a:ext cx="111601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520700" y="1585840"/>
            <a:ext cx="11153775" cy="215444"/>
          </a:xfrm>
          <a:ln>
            <a:noFill/>
          </a:ln>
        </p:spPr>
        <p:txBody>
          <a:bodyPr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422047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946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6362396"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24" name="Text Placeholder 3"/>
          <p:cNvSpPr>
            <a:spLocks noGrp="1"/>
          </p:cNvSpPr>
          <p:nvPr>
            <p:ph type="body" sz="quarter" idx="14" hasCustomPrompt="1"/>
          </p:nvPr>
        </p:nvSpPr>
        <p:spPr>
          <a:xfrm>
            <a:off x="63500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2699150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5822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1" name="Rechte verbindingslijn 20"/>
          <p:cNvCxnSpPr/>
          <p:nvPr userDrawn="1"/>
        </p:nvCxnSpPr>
        <p:spPr>
          <a:xfrm>
            <a:off x="525462"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4309269"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8093075"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 Placeholder 3"/>
          <p:cNvSpPr>
            <a:spLocks noGrp="1"/>
          </p:cNvSpPr>
          <p:nvPr>
            <p:ph type="body" sz="quarter" idx="13" hasCustomPrompt="1"/>
          </p:nvPr>
        </p:nvSpPr>
        <p:spPr>
          <a:xfrm>
            <a:off x="520699"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5" name="Text Placeholder 3"/>
          <p:cNvSpPr>
            <a:spLocks noGrp="1"/>
          </p:cNvSpPr>
          <p:nvPr>
            <p:ph type="body" sz="quarter" idx="14" hasCustomPrompt="1"/>
          </p:nvPr>
        </p:nvSpPr>
        <p:spPr>
          <a:xfrm>
            <a:off x="4306887"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6" name="Text Placeholder 3"/>
          <p:cNvSpPr>
            <a:spLocks noGrp="1"/>
          </p:cNvSpPr>
          <p:nvPr>
            <p:ph type="body" sz="quarter" idx="15" hasCustomPrompt="1"/>
          </p:nvPr>
        </p:nvSpPr>
        <p:spPr>
          <a:xfrm>
            <a:off x="8093075"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14903944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9798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3365824"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userDrawn="1"/>
        </p:nvCxnSpPr>
        <p:spPr>
          <a:xfrm>
            <a:off x="6208081"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9050337"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13" hasCustomPrompt="1"/>
          </p:nvPr>
        </p:nvSpPr>
        <p:spPr>
          <a:xfrm>
            <a:off x="520700"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1" name="Text Placeholder 3"/>
          <p:cNvSpPr>
            <a:spLocks noGrp="1"/>
          </p:cNvSpPr>
          <p:nvPr>
            <p:ph type="body" sz="quarter" idx="14" hasCustomPrompt="1"/>
          </p:nvPr>
        </p:nvSpPr>
        <p:spPr>
          <a:xfrm>
            <a:off x="6208081"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2" name="Text Placeholder 3"/>
          <p:cNvSpPr>
            <a:spLocks noGrp="1"/>
          </p:cNvSpPr>
          <p:nvPr>
            <p:ph type="body" sz="quarter" idx="15" hasCustomPrompt="1"/>
          </p:nvPr>
        </p:nvSpPr>
        <p:spPr>
          <a:xfrm>
            <a:off x="3365824"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3" name="Text Placeholder 3"/>
          <p:cNvSpPr>
            <a:spLocks noGrp="1"/>
          </p:cNvSpPr>
          <p:nvPr>
            <p:ph type="body" sz="quarter" idx="16" hasCustomPrompt="1"/>
          </p:nvPr>
        </p:nvSpPr>
        <p:spPr>
          <a:xfrm>
            <a:off x="9050337"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596638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 grafiek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0"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999830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termerk oranje">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E8F721C0-3FBF-4125-AA4A-F04768082A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840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838200" y="681037"/>
            <a:ext cx="10515600" cy="1009651"/>
          </a:xfrm>
          <a:prstGeom prst="rect">
            <a:avLst/>
          </a:prstGeom>
        </p:spPr>
        <p:txBody>
          <a:bodyPr anchor="t"/>
          <a:lstStyle>
            <a:lvl1pPr>
              <a:defRPr sz="3600"/>
            </a:lvl1pPr>
          </a:lstStyle>
          <a:p>
            <a:r>
              <a:rPr lang="nl-NL" dirty="0"/>
              <a:t>Klik om stijl te bewerken</a:t>
            </a:r>
          </a:p>
        </p:txBody>
      </p:sp>
      <p:sp>
        <p:nvSpPr>
          <p:cNvPr id="8" name="Tijdelijke aanduiding voor tekst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2">
            <a:extLst>
              <a:ext uri="{FF2B5EF4-FFF2-40B4-BE49-F238E27FC236}">
                <a16:creationId xmlns:a16="http://schemas.microsoft.com/office/drawing/2014/main" id="{5FA099E4-090F-4D6F-A99E-4F9F2C301C3B}"/>
              </a:ext>
            </a:extLst>
          </p:cNvPr>
          <p:cNvSpPr>
            <a:spLocks noGrp="1"/>
          </p:cNvSpPr>
          <p:nvPr>
            <p:ph type="dt" sz="half" idx="10"/>
          </p:nvPr>
        </p:nvSpPr>
        <p:spPr/>
        <p:txBody>
          <a:bodyPr/>
          <a:lstStyle>
            <a:lvl1pPr>
              <a:defRPr/>
            </a:lvl1pPr>
          </a:lstStyle>
          <a:p>
            <a:pPr>
              <a:defRPr/>
            </a:pPr>
            <a:fld id="{2ABD3D32-C66C-4A5E-ABEA-C1295F380730}" type="datetimeFigureOut">
              <a:rPr lang="nl-NL"/>
              <a:pPr>
                <a:defRPr/>
              </a:pPr>
              <a:t>28-9-2022</a:t>
            </a:fld>
            <a:endParaRPr lang="nl-NL"/>
          </a:p>
        </p:txBody>
      </p:sp>
      <p:sp>
        <p:nvSpPr>
          <p:cNvPr id="6" name="Tijdelijke aanduiding voor voettekst 3">
            <a:extLst>
              <a:ext uri="{FF2B5EF4-FFF2-40B4-BE49-F238E27FC236}">
                <a16:creationId xmlns:a16="http://schemas.microsoft.com/office/drawing/2014/main" id="{67AD9A65-B26E-45A4-9B6F-3361C744A1E2}"/>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4">
            <a:extLst>
              <a:ext uri="{FF2B5EF4-FFF2-40B4-BE49-F238E27FC236}">
                <a16:creationId xmlns:a16="http://schemas.microsoft.com/office/drawing/2014/main" id="{D10E5FEC-1810-4433-9017-88199A084D1B}"/>
              </a:ext>
            </a:extLst>
          </p:cNvPr>
          <p:cNvSpPr>
            <a:spLocks noGrp="1"/>
          </p:cNvSpPr>
          <p:nvPr>
            <p:ph type="sldNum" sz="quarter" idx="12"/>
          </p:nvPr>
        </p:nvSpPr>
        <p:spPr/>
        <p:txBody>
          <a:bodyPr/>
          <a:lstStyle>
            <a:lvl1pPr>
              <a:defRPr/>
            </a:lvl1pPr>
          </a:lstStyle>
          <a:p>
            <a:pPr>
              <a:defRPr/>
            </a:pPr>
            <a:fld id="{64C2118C-0AAE-4D4F-814F-DFF036461DCF}" type="slidenum">
              <a:rPr lang="nl-NL"/>
              <a:pPr>
                <a:defRPr/>
              </a:pPr>
              <a:t>‹nr.›</a:t>
            </a:fld>
            <a:endParaRPr lang="nl-NL"/>
          </a:p>
        </p:txBody>
      </p:sp>
    </p:spTree>
    <p:extLst>
      <p:ext uri="{BB962C8B-B14F-4D97-AF65-F5344CB8AC3E}">
        <p14:creationId xmlns:p14="http://schemas.microsoft.com/office/powerpoint/2010/main" val="554537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Grafiek en tekstblo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39" y="517525"/>
            <a:ext cx="7920000" cy="582850"/>
          </a:xfrm>
        </p:spPr>
        <p:txBody>
          <a:bodyPr lIns="0" tIns="0" rIns="0" bIns="0"/>
          <a:lstStyle>
            <a:lvl1pPr>
              <a:defRPr sz="2200"/>
            </a:lvl1pPr>
          </a:lstStyle>
          <a:p>
            <a:r>
              <a:rPr lang="nl-NL"/>
              <a:t>Titel, gebruik volzinnen, zorg dat de boodschap aansluit op de slide, max. 15 woorden, geen punt – Arial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8" name="Rechthoek 17">
            <a:extLst>
              <a:ext uri="{FF2B5EF4-FFF2-40B4-BE49-F238E27FC236}">
                <a16:creationId xmlns:a16="http://schemas.microsoft.com/office/drawing/2014/main" id="{C525B69E-5D09-42FF-8F54-0BE3F44BAE8B}"/>
              </a:ext>
            </a:extLst>
          </p:cNvPr>
          <p:cNvSpPr/>
          <p:nvPr userDrawn="1"/>
        </p:nvSpPr>
        <p:spPr>
          <a:xfrm>
            <a:off x="8652219" y="517525"/>
            <a:ext cx="3019074" cy="58314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Tijdelijke aanduiding voor tekst 3">
            <a:extLst>
              <a:ext uri="{FF2B5EF4-FFF2-40B4-BE49-F238E27FC236}">
                <a16:creationId xmlns:a16="http://schemas.microsoft.com/office/drawing/2014/main" id="{06E25283-08E7-4282-86E9-576442C89149}"/>
              </a:ext>
            </a:extLst>
          </p:cNvPr>
          <p:cNvSpPr>
            <a:spLocks noGrp="1"/>
          </p:cNvSpPr>
          <p:nvPr>
            <p:ph type="body" sz="quarter" idx="15" hasCustomPrompt="1"/>
          </p:nvPr>
        </p:nvSpPr>
        <p:spPr>
          <a:xfrm>
            <a:off x="8926848" y="807579"/>
            <a:ext cx="2452215" cy="570455"/>
          </a:xfrm>
        </p:spPr>
        <p:txBody>
          <a:bodyPr/>
          <a:lstStyle>
            <a:lvl1pPr marL="0" indent="0">
              <a:spcAft>
                <a:spcPts val="0"/>
              </a:spcAft>
              <a:buNone/>
              <a:defRPr sz="1800" b="1">
                <a:solidFill>
                  <a:schemeClr val="tx2"/>
                </a:solidFill>
              </a:defRPr>
            </a:lvl1pPr>
          </a:lstStyle>
          <a:p>
            <a:pPr lvl="0"/>
            <a:r>
              <a:rPr lang="nl-NL"/>
              <a:t>Subtitel </a:t>
            </a:r>
            <a:br>
              <a:rPr lang="nl-NL"/>
            </a:br>
            <a:r>
              <a:rPr lang="nl-NL"/>
              <a:t>maximaal 2 regels </a:t>
            </a:r>
          </a:p>
        </p:txBody>
      </p:sp>
      <p:sp>
        <p:nvSpPr>
          <p:cNvPr id="29" name="Tijdelijke aanduiding voor verticale tekst 2">
            <a:extLst>
              <a:ext uri="{FF2B5EF4-FFF2-40B4-BE49-F238E27FC236}">
                <a16:creationId xmlns:a16="http://schemas.microsoft.com/office/drawing/2014/main" id="{9F205ACE-098F-4DFA-A6B0-1D838BF5E101}"/>
              </a:ext>
            </a:extLst>
          </p:cNvPr>
          <p:cNvSpPr>
            <a:spLocks noGrp="1"/>
          </p:cNvSpPr>
          <p:nvPr>
            <p:ph type="body" orient="vert" idx="1" hasCustomPrompt="1"/>
          </p:nvPr>
        </p:nvSpPr>
        <p:spPr>
          <a:xfrm>
            <a:off x="8926849" y="1801284"/>
            <a:ext cx="2452214" cy="4293682"/>
          </a:xfrm>
          <a:noFill/>
        </p:spPr>
        <p:txBody>
          <a:bodyPr vert="horz" lIns="0" tIns="0" rIns="0" bIns="0" anchor="t"/>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Plaats hier tekst, Arial 14 pt</a:t>
            </a:r>
          </a:p>
        </p:txBody>
      </p:sp>
      <p:cxnSp>
        <p:nvCxnSpPr>
          <p:cNvPr id="25" name="Rechte verbindingslijn 21"/>
          <p:cNvCxnSpPr/>
          <p:nvPr userDrawn="1"/>
        </p:nvCxnSpPr>
        <p:spPr>
          <a:xfrm>
            <a:off x="525462" y="1801284"/>
            <a:ext cx="794882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3" hasCustomPrompt="1"/>
          </p:nvPr>
        </p:nvSpPr>
        <p:spPr>
          <a:xfrm>
            <a:off x="520700" y="1585840"/>
            <a:ext cx="7948941" cy="215444"/>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4250253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 grote grafiek">
    <p:spTree>
      <p:nvGrpSpPr>
        <p:cNvPr id="1" name=""/>
        <p:cNvGrpSpPr/>
        <p:nvPr/>
      </p:nvGrpSpPr>
      <p:grpSpPr>
        <a:xfrm>
          <a:off x="0" y="0"/>
          <a:ext cx="0" cy="0"/>
          <a:chOff x="0" y="0"/>
          <a:chExt cx="0" cy="0"/>
        </a:xfrm>
      </p:grpSpPr>
      <p:sp>
        <p:nvSpPr>
          <p:cNvPr id="12" name="Tijdelijke aanduiding voor tekst 5"/>
          <p:cNvSpPr>
            <a:spLocks noGrp="1"/>
          </p:cNvSpPr>
          <p:nvPr>
            <p:ph type="body" sz="quarter" idx="23" hasCustomPrompt="1"/>
          </p:nvPr>
        </p:nvSpPr>
        <p:spPr>
          <a:xfrm>
            <a:off x="839788" y="6370737"/>
            <a:ext cx="10512425" cy="153888"/>
          </a:xfrm>
          <a:prstGeom prst="rect">
            <a:avLst/>
          </a:prstGeom>
        </p:spPr>
        <p:txBody>
          <a:bodyPr lIns="0" tIns="0" rIns="0" bIns="0" anchor="b" anchorCtr="0">
            <a:spAutoFit/>
          </a:bodyPr>
          <a:lstStyle>
            <a:lvl1pPr>
              <a:defRPr sz="1000" baseline="0"/>
            </a:lvl1pPr>
          </a:lstStyle>
          <a:p>
            <a:pPr lvl="0"/>
            <a:r>
              <a:rPr lang="nl-NL"/>
              <a:t>Voetnoot en bron – </a:t>
            </a:r>
            <a:r>
              <a:rPr lang="nl-NL" err="1"/>
              <a:t>Arial</a:t>
            </a:r>
            <a:r>
              <a:rPr lang="nl-NL"/>
              <a:t> 10</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32804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0" name="Straight Connector 9"/>
          <p:cNvCxnSpPr/>
          <p:nvPr userDrawn="1"/>
        </p:nvCxnSpPr>
        <p:spPr>
          <a:xfrm>
            <a:off x="839788" y="2204863"/>
            <a:ext cx="1051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ijdelijke aanduiding voor dianummer 5"/>
          <p:cNvSpPr txBox="1">
            <a:spLocks/>
          </p:cNvSpPr>
          <p:nvPr userDrawn="1"/>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rgbClr val="FFFFFF"/>
                </a:solidFill>
                <a:cs typeface="Arial"/>
                <a:sym typeface="Arial"/>
              </a:rPr>
              <a:pPr/>
              <a:t>‹nr.›</a:t>
            </a:fld>
            <a:endParaRPr lang="nl-NL" sz="1201">
              <a:solidFill>
                <a:srgbClr val="FFFFFF"/>
              </a:solidFill>
              <a:cs typeface="Arial"/>
              <a:sym typeface="Arial"/>
            </a:endParaRPr>
          </a:p>
        </p:txBody>
      </p:sp>
      <p:sp>
        <p:nvSpPr>
          <p:cNvPr id="8" name="Tijdelijke aanduiding voor tekst 3"/>
          <p:cNvSpPr>
            <a:spLocks noGrp="1"/>
          </p:cNvSpPr>
          <p:nvPr>
            <p:ph type="body" sz="quarter" idx="22" hasCustomPrompt="1"/>
          </p:nvPr>
        </p:nvSpPr>
        <p:spPr>
          <a:xfrm>
            <a:off x="839788" y="692696"/>
            <a:ext cx="10512425" cy="677108"/>
          </a:xfrm>
          <a:prstGeom prst="rect">
            <a:avLst/>
          </a:prstGeom>
        </p:spPr>
        <p:txBody>
          <a:bodyPr lIns="0" tIns="0" rIns="0" bIns="0">
            <a:spAutoFit/>
          </a:bodyPr>
          <a:lstStyle>
            <a:lvl1pPr>
              <a:defRPr sz="2200" b="1"/>
            </a:lvl1pPr>
            <a:lvl5pPr marL="363536" indent="0">
              <a:buNone/>
              <a:defRPr sz="2200" b="1" baseline="0"/>
            </a:lvl5pPr>
          </a:lstStyle>
          <a:p>
            <a:pPr lvl="0"/>
            <a:r>
              <a:rPr lang="nl-NL"/>
              <a:t>Titel – gebruik volzinnen, zorg dat de boodschap aansluit op de slide, max 15 woorden, geen punt – </a:t>
            </a:r>
            <a:r>
              <a:rPr lang="nl-NL" err="1"/>
              <a:t>Arial</a:t>
            </a:r>
            <a:r>
              <a:rPr lang="nl-NL"/>
              <a:t> 22 </a:t>
            </a:r>
            <a:r>
              <a:rPr lang="nl-NL" err="1"/>
              <a:t>Bold</a:t>
            </a:r>
            <a:endParaRPr lang="nl-NL"/>
          </a:p>
        </p:txBody>
      </p:sp>
      <p:sp>
        <p:nvSpPr>
          <p:cNvPr id="5" name="Tijdelijke aanduiding voor tekst 4"/>
          <p:cNvSpPr>
            <a:spLocks noGrp="1"/>
          </p:cNvSpPr>
          <p:nvPr>
            <p:ph type="body" sz="quarter" idx="24" hasCustomPrompt="1"/>
          </p:nvPr>
        </p:nvSpPr>
        <p:spPr>
          <a:xfrm>
            <a:off x="839788" y="1681644"/>
            <a:ext cx="10510837" cy="523220"/>
          </a:xfrm>
          <a:prstGeom prst="rect">
            <a:avLst/>
          </a:prstGeom>
        </p:spPr>
        <p:txBody>
          <a:bodyPr wrap="square" lIns="0" tIns="46800" rIns="0" bIns="46800" anchor="b">
            <a:spAutoFit/>
          </a:bodyPr>
          <a:lstStyle>
            <a:lvl1pPr>
              <a:defRPr lang="nl-NL" sz="1400" b="1" baseline="0" dirty="0" smtClean="0"/>
            </a:lvl1pPr>
          </a:lstStyle>
          <a:p>
            <a:pPr lvl="0">
              <a:spcBef>
                <a:spcPts val="0"/>
              </a:spcBef>
            </a:pPr>
            <a:r>
              <a:rPr lang="nl-NL"/>
              <a:t>Titel grafiek – alleen zakelijk weergeven wat er in de grafiek staat </a:t>
            </a:r>
          </a:p>
          <a:p>
            <a:pPr lvl="0">
              <a:spcBef>
                <a:spcPts val="0"/>
              </a:spcBef>
            </a:pPr>
            <a:r>
              <a:rPr lang="en-US"/>
              <a:t>[</a:t>
            </a:r>
            <a:r>
              <a:rPr lang="en-US" err="1"/>
              <a:t>eenheid</a:t>
            </a:r>
            <a:r>
              <a:rPr lang="en-US"/>
              <a:t>, </a:t>
            </a:r>
            <a:r>
              <a:rPr lang="en-US" err="1"/>
              <a:t>jaar</a:t>
            </a:r>
            <a:r>
              <a:rPr lang="en-US"/>
              <a:t>] – </a:t>
            </a:r>
            <a:r>
              <a:rPr lang="nl-NL" err="1"/>
              <a:t>Arial</a:t>
            </a:r>
            <a:r>
              <a:rPr lang="nl-NL"/>
              <a:t> 14</a:t>
            </a:r>
          </a:p>
        </p:txBody>
      </p:sp>
    </p:spTree>
    <p:extLst>
      <p:ext uri="{BB962C8B-B14F-4D97-AF65-F5344CB8AC3E}">
        <p14:creationId xmlns:p14="http://schemas.microsoft.com/office/powerpoint/2010/main" val="2328614415"/>
      </p:ext>
    </p:extLst>
  </p:cSld>
  <p:clrMapOvr>
    <a:masterClrMapping/>
  </p:clrMapOvr>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Intro slide #1">
    <p:spTree>
      <p:nvGrpSpPr>
        <p:cNvPr id="1" name=""/>
        <p:cNvGrpSpPr/>
        <p:nvPr/>
      </p:nvGrpSpPr>
      <p:grpSpPr>
        <a:xfrm>
          <a:off x="0" y="0"/>
          <a:ext cx="0" cy="0"/>
          <a:chOff x="0" y="0"/>
          <a:chExt cx="0" cy="0"/>
        </a:xfrm>
      </p:grpSpPr>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17488" y="217488"/>
            <a:ext cx="11755437" cy="5345835"/>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514800" y="512385"/>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5713"/>
            <a:ext cx="8528773" cy="180000"/>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3" cstate="email">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514800" y="2296801"/>
            <a:ext cx="9628263" cy="1916454"/>
          </a:xfrm>
        </p:spPr>
        <p:txBody>
          <a:bodyPr bIns="216000" anchor="b" anchorCtr="0"/>
          <a:lstStyle>
            <a:lvl1pPr algn="l">
              <a:defRPr sz="6000">
                <a:solidFill>
                  <a:schemeClr val="tx2"/>
                </a:solidFill>
              </a:defRPr>
            </a:lvl1pPr>
          </a:lstStyle>
          <a:p>
            <a:r>
              <a:rPr lang="nl-NL"/>
              <a:t>Plaats hier naam presentatie, max. 2 regels</a:t>
            </a:r>
          </a:p>
        </p:txBody>
      </p:sp>
      <p:sp>
        <p:nvSpPr>
          <p:cNvPr id="89" name="Tijdelijke aanduiding voor afbeelding 76">
            <a:extLst>
              <a:ext uri="{FF2B5EF4-FFF2-40B4-BE49-F238E27FC236}">
                <a16:creationId xmlns:a16="http://schemas.microsoft.com/office/drawing/2014/main" id="{6436AB13-C9EF-4DCD-ABA6-C52F31D09B2F}"/>
              </a:ext>
            </a:extLst>
          </p:cNvPr>
          <p:cNvSpPr>
            <a:spLocks noGrp="1"/>
          </p:cNvSpPr>
          <p:nvPr>
            <p:ph type="pic" sz="quarter" idx="16" hasCustomPrompt="1"/>
          </p:nvPr>
        </p:nvSpPr>
        <p:spPr>
          <a:xfrm>
            <a:off x="3045563" y="512386"/>
            <a:ext cx="2217600" cy="711558"/>
          </a:xfrm>
          <a:prstGeom prst="rect">
            <a:avLst/>
          </a:prstGeom>
          <a:noFill/>
        </p:spPr>
        <p:txBody>
          <a:bodyPr wrap="square" bIns="252000" anchor="ctr">
            <a:noAutofit/>
          </a:bodyPr>
          <a:lstStyle>
            <a:lvl1pPr marL="0" indent="0" algn="ctr">
              <a:lnSpc>
                <a:spcPct val="300000"/>
              </a:lnSpc>
              <a:spcBef>
                <a:spcPts val="0"/>
              </a:spcBef>
              <a:spcAft>
                <a:spcPts val="0"/>
              </a:spcAft>
              <a:buNone/>
              <a:defRPr sz="1050" i="1">
                <a:solidFill>
                  <a:schemeClr val="bg2">
                    <a:lumMod val="75000"/>
                  </a:schemeClr>
                </a:solidFill>
              </a:defRPr>
            </a:lvl1pPr>
          </a:lstStyle>
          <a:p>
            <a:r>
              <a:rPr lang="nl-NL"/>
              <a:t>Voeg hier </a:t>
            </a:r>
            <a:br>
              <a:rPr lang="nl-NL"/>
            </a:br>
            <a:r>
              <a:rPr lang="nl-NL"/>
              <a:t>een logo in</a:t>
            </a:r>
          </a:p>
        </p:txBody>
      </p:sp>
      <p:sp>
        <p:nvSpPr>
          <p:cNvPr id="133" name="Tijdelijke aanduiding voor tekst 2">
            <a:extLst>
              <a:ext uri="{FF2B5EF4-FFF2-40B4-BE49-F238E27FC236}">
                <a16:creationId xmlns:a16="http://schemas.microsoft.com/office/drawing/2014/main" id="{07E5C559-974D-4D03-B65C-EF4D9D8511BE}"/>
              </a:ext>
            </a:extLst>
          </p:cNvPr>
          <p:cNvSpPr>
            <a:spLocks noGrp="1"/>
          </p:cNvSpPr>
          <p:nvPr>
            <p:ph type="body" sz="quarter" idx="17" hasCustomPrompt="1"/>
          </p:nvPr>
        </p:nvSpPr>
        <p:spPr>
          <a:xfrm>
            <a:off x="547689" y="4220308"/>
            <a:ext cx="9586368" cy="351693"/>
          </a:xfrm>
        </p:spPr>
        <p:txBody>
          <a:bodyPr/>
          <a:lstStyle>
            <a:lvl1pPr marL="0" indent="0">
              <a:buNone/>
              <a:defRPr sz="2000" b="1">
                <a:solidFill>
                  <a:schemeClr val="tx2"/>
                </a:solidFill>
              </a:defRPr>
            </a:lvl1pPr>
          </a:lstStyle>
          <a:p>
            <a:pPr lvl="0"/>
            <a:r>
              <a:rPr lang="nl-NL"/>
              <a:t>Plaats hier je subtitel</a:t>
            </a:r>
          </a:p>
        </p:txBody>
      </p:sp>
      <p:grpSp>
        <p:nvGrpSpPr>
          <p:cNvPr id="2" name="Groep 1">
            <a:extLst>
              <a:ext uri="{FF2B5EF4-FFF2-40B4-BE49-F238E27FC236}">
                <a16:creationId xmlns:a16="http://schemas.microsoft.com/office/drawing/2014/main" id="{D3EEA51C-E48B-40B3-B4E6-A082C2DB3F1A}"/>
              </a:ext>
            </a:extLst>
          </p:cNvPr>
          <p:cNvGrpSpPr/>
          <p:nvPr userDrawn="1"/>
        </p:nvGrpSpPr>
        <p:grpSpPr>
          <a:xfrm>
            <a:off x="-3786437" y="6112906"/>
            <a:ext cx="3593091" cy="1535545"/>
            <a:chOff x="-3812167" y="5105400"/>
            <a:chExt cx="3593091" cy="1535545"/>
          </a:xfrm>
        </p:grpSpPr>
        <p:sp>
          <p:nvSpPr>
            <p:cNvPr id="210" name="Rechthoek 209">
              <a:extLst>
                <a:ext uri="{FF2B5EF4-FFF2-40B4-BE49-F238E27FC236}">
                  <a16:creationId xmlns:a16="http://schemas.microsoft.com/office/drawing/2014/main" id="{0E12D28F-0500-4DE6-BC26-0B398A8AC806}"/>
                </a:ext>
              </a:extLst>
            </p:cNvPr>
            <p:cNvSpPr/>
            <p:nvPr userDrawn="1"/>
          </p:nvSpPr>
          <p:spPr>
            <a:xfrm>
              <a:off x="-3812167" y="5105400"/>
              <a:ext cx="3593091" cy="1535545"/>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eesbaarheid titel en subtitel</a:t>
              </a:r>
            </a:p>
          </p:txBody>
        </p:sp>
        <p:sp>
          <p:nvSpPr>
            <p:cNvPr id="211" name="Ovaal 210">
              <a:extLst>
                <a:ext uri="{FF2B5EF4-FFF2-40B4-BE49-F238E27FC236}">
                  <a16:creationId xmlns:a16="http://schemas.microsoft.com/office/drawing/2014/main" id="{32C84309-1028-41F9-BF1F-66848DDB1094}"/>
                </a:ext>
              </a:extLst>
            </p:cNvPr>
            <p:cNvSpPr/>
            <p:nvPr userDrawn="1"/>
          </p:nvSpPr>
          <p:spPr>
            <a:xfrm>
              <a:off x="-3629589" y="55707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2" name="Rechthoek 211">
              <a:extLst>
                <a:ext uri="{FF2B5EF4-FFF2-40B4-BE49-F238E27FC236}">
                  <a16:creationId xmlns:a16="http://schemas.microsoft.com/office/drawing/2014/main" id="{6751367E-B4E9-4F46-BA23-A999456F93A5}"/>
                </a:ext>
              </a:extLst>
            </p:cNvPr>
            <p:cNvSpPr/>
            <p:nvPr userDrawn="1"/>
          </p:nvSpPr>
          <p:spPr>
            <a:xfrm>
              <a:off x="-3345417" y="5570724"/>
              <a:ext cx="2944682" cy="18237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licht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1”.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donker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3”.</a:t>
              </a:r>
            </a:p>
          </p:txBody>
        </p:sp>
      </p:grpSp>
      <p:grpSp>
        <p:nvGrpSpPr>
          <p:cNvPr id="130" name="INSTRUCTIES">
            <a:extLst>
              <a:ext uri="{FF2B5EF4-FFF2-40B4-BE49-F238E27FC236}">
                <a16:creationId xmlns:a16="http://schemas.microsoft.com/office/drawing/2014/main" id="{7DFBC95D-30ED-4043-9189-C1472BD7FA37}"/>
              </a:ext>
            </a:extLst>
          </p:cNvPr>
          <p:cNvGrpSpPr/>
          <p:nvPr userDrawn="1"/>
        </p:nvGrpSpPr>
        <p:grpSpPr>
          <a:xfrm>
            <a:off x="-3786437" y="0"/>
            <a:ext cx="3593091" cy="5936662"/>
            <a:chOff x="-3786437" y="0"/>
            <a:chExt cx="3593091" cy="5936662"/>
          </a:xfrm>
        </p:grpSpPr>
        <p:sp>
          <p:nvSpPr>
            <p:cNvPr id="131" name="Rechthoek 130">
              <a:extLst>
                <a:ext uri="{FF2B5EF4-FFF2-40B4-BE49-F238E27FC236}">
                  <a16:creationId xmlns:a16="http://schemas.microsoft.com/office/drawing/2014/main" id="{6492616E-2171-4169-86B2-AB49E6BAE27B}"/>
                </a:ext>
              </a:extLst>
            </p:cNvPr>
            <p:cNvSpPr/>
            <p:nvPr userDrawn="1"/>
          </p:nvSpPr>
          <p:spPr>
            <a:xfrm>
              <a:off x="-3786437" y="0"/>
              <a:ext cx="3593091" cy="5936662"/>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lvl="0">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ogo invoegen/opmaken</a:t>
              </a:r>
            </a:p>
          </p:txBody>
        </p:sp>
        <p:sp>
          <p:nvSpPr>
            <p:cNvPr id="132" name="Ovaal 131">
              <a:extLst>
                <a:ext uri="{FF2B5EF4-FFF2-40B4-BE49-F238E27FC236}">
                  <a16:creationId xmlns:a16="http://schemas.microsoft.com/office/drawing/2014/main" id="{BAB18270-7EF6-4DC5-96C2-16510C52D69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249E174-E5C8-426E-BE49-2635BB1AD2A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het bestaande logo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 logo in te voegen</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5" name="Groep 134">
              <a:extLst>
                <a:ext uri="{FF2B5EF4-FFF2-40B4-BE49-F238E27FC236}">
                  <a16:creationId xmlns:a16="http://schemas.microsoft.com/office/drawing/2014/main" id="{9D76FE58-2201-4B67-B4EA-8674799D105D}"/>
                </a:ext>
              </a:extLst>
            </p:cNvPr>
            <p:cNvGrpSpPr/>
            <p:nvPr userDrawn="1"/>
          </p:nvGrpSpPr>
          <p:grpSpPr>
            <a:xfrm>
              <a:off x="-3316179" y="1231351"/>
              <a:ext cx="294789" cy="318834"/>
              <a:chOff x="14466489" y="1001522"/>
              <a:chExt cx="290627" cy="314333"/>
            </a:xfrm>
          </p:grpSpPr>
          <p:sp>
            <p:nvSpPr>
              <p:cNvPr id="182" name="Rechthoek 181">
                <a:extLst>
                  <a:ext uri="{FF2B5EF4-FFF2-40B4-BE49-F238E27FC236}">
                    <a16:creationId xmlns:a16="http://schemas.microsoft.com/office/drawing/2014/main" id="{F8472ED0-81A8-4FB9-81E4-346E02156E3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83" name="Ovaal 182">
                <a:extLst>
                  <a:ext uri="{FF2B5EF4-FFF2-40B4-BE49-F238E27FC236}">
                    <a16:creationId xmlns:a16="http://schemas.microsoft.com/office/drawing/2014/main" id="{5404847C-C8DD-4B73-AD41-2FDC6378170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4" name="Vrije vorm: vorm 183">
                <a:extLst>
                  <a:ext uri="{FF2B5EF4-FFF2-40B4-BE49-F238E27FC236}">
                    <a16:creationId xmlns:a16="http://schemas.microsoft.com/office/drawing/2014/main" id="{9C53E5E5-33D7-42D3-9CB2-12CB8B7C158B}"/>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5" name="Rechthoek: afgeronde hoeken 184">
                <a:extLst>
                  <a:ext uri="{FF2B5EF4-FFF2-40B4-BE49-F238E27FC236}">
                    <a16:creationId xmlns:a16="http://schemas.microsoft.com/office/drawing/2014/main" id="{BBA4FD1E-F0F7-47C0-B581-BE08359E7B5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5" name="Rechte verbindingslijn 204">
                <a:extLst>
                  <a:ext uri="{FF2B5EF4-FFF2-40B4-BE49-F238E27FC236}">
                    <a16:creationId xmlns:a16="http://schemas.microsoft.com/office/drawing/2014/main" id="{439C8ED8-6851-4411-8BAB-00CD936B05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Rechte verbindingslijn 212">
                <a:extLst>
                  <a:ext uri="{FF2B5EF4-FFF2-40B4-BE49-F238E27FC236}">
                    <a16:creationId xmlns:a16="http://schemas.microsoft.com/office/drawing/2014/main" id="{498694BE-4616-4A06-B84A-9A504BC8EA14}"/>
                  </a:ext>
                </a:extLst>
              </p:cNvPr>
              <p:cNvCxnSpPr>
                <a:cxnSpLocks/>
                <a:stCxn id="18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36" name="Ovaal 135">
              <a:extLst>
                <a:ext uri="{FF2B5EF4-FFF2-40B4-BE49-F238E27FC236}">
                  <a16:creationId xmlns:a16="http://schemas.microsoft.com/office/drawing/2014/main" id="{9B77C942-C54B-413A-BCE6-C5B0733589C9}"/>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7" name="Rechthoek 136">
              <a:extLst>
                <a:ext uri="{FF2B5EF4-FFF2-40B4-BE49-F238E27FC236}">
                  <a16:creationId xmlns:a16="http://schemas.microsoft.com/office/drawing/2014/main" id="{2E15BB79-CFA6-4655-87B1-E0AC76394DB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het gewenste logo</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8" name="Groep 137">
              <a:extLst>
                <a:ext uri="{FF2B5EF4-FFF2-40B4-BE49-F238E27FC236}">
                  <a16:creationId xmlns:a16="http://schemas.microsoft.com/office/drawing/2014/main" id="{94D1E749-E580-4930-A00A-63BFB090E66E}"/>
                </a:ext>
              </a:extLst>
            </p:cNvPr>
            <p:cNvGrpSpPr/>
            <p:nvPr userDrawn="1"/>
          </p:nvGrpSpPr>
          <p:grpSpPr>
            <a:xfrm>
              <a:off x="-3311319" y="2164285"/>
              <a:ext cx="825500" cy="209550"/>
              <a:chOff x="13504624" y="2482850"/>
              <a:chExt cx="825500" cy="209550"/>
            </a:xfrm>
          </p:grpSpPr>
          <p:sp>
            <p:nvSpPr>
              <p:cNvPr id="179" name="Rechthoek 178">
                <a:extLst>
                  <a:ext uri="{FF2B5EF4-FFF2-40B4-BE49-F238E27FC236}">
                    <a16:creationId xmlns:a16="http://schemas.microsoft.com/office/drawing/2014/main" id="{B2EFEE35-AE29-4701-B137-A856B98926E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80" name="Rechte verbindingslijn 179">
                <a:extLst>
                  <a:ext uri="{FF2B5EF4-FFF2-40B4-BE49-F238E27FC236}">
                    <a16:creationId xmlns:a16="http://schemas.microsoft.com/office/drawing/2014/main" id="{749DC65F-E64C-4B42-89A6-BE8AB1DFBA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81" name="Gelijkbenige driehoek 180">
                <a:extLst>
                  <a:ext uri="{FF2B5EF4-FFF2-40B4-BE49-F238E27FC236}">
                    <a16:creationId xmlns:a16="http://schemas.microsoft.com/office/drawing/2014/main" id="{4255F441-D15E-4E1D-AE45-A63F211B63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139" name="Ovaal 138">
              <a:extLst>
                <a:ext uri="{FF2B5EF4-FFF2-40B4-BE49-F238E27FC236}">
                  <a16:creationId xmlns:a16="http://schemas.microsoft.com/office/drawing/2014/main" id="{54CD15D7-7CC8-4C6D-8A0D-391FE2CEFCBD}"/>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0" name="Rechthoek 139">
              <a:extLst>
                <a:ext uri="{FF2B5EF4-FFF2-40B4-BE49-F238E27FC236}">
                  <a16:creationId xmlns:a16="http://schemas.microsoft.com/office/drawing/2014/main" id="{1E77056D-92DA-4BEF-BEE5-D226A16FBDFC}"/>
                </a:ext>
              </a:extLst>
            </p:cNvPr>
            <p:cNvSpPr/>
            <p:nvPr userDrawn="1"/>
          </p:nvSpPr>
          <p:spPr>
            <a:xfrm>
              <a:off x="-3319415" y="2553360"/>
              <a:ext cx="2944682" cy="8089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het logo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het logo en met de hoekjes het logokader.</a:t>
              </a:r>
            </a:p>
          </p:txBody>
        </p:sp>
        <p:grpSp>
          <p:nvGrpSpPr>
            <p:cNvPr id="141" name="Groep 140">
              <a:extLst>
                <a:ext uri="{FF2B5EF4-FFF2-40B4-BE49-F238E27FC236}">
                  <a16:creationId xmlns:a16="http://schemas.microsoft.com/office/drawing/2014/main" id="{810AB701-F758-4CD5-B317-61A544EBBC50}"/>
                </a:ext>
              </a:extLst>
            </p:cNvPr>
            <p:cNvGrpSpPr/>
            <p:nvPr userDrawn="1"/>
          </p:nvGrpSpPr>
          <p:grpSpPr>
            <a:xfrm>
              <a:off x="-3408294" y="3470504"/>
              <a:ext cx="622283" cy="612920"/>
              <a:chOff x="12617641" y="3403239"/>
              <a:chExt cx="752963" cy="741634"/>
            </a:xfrm>
          </p:grpSpPr>
          <p:grpSp>
            <p:nvGrpSpPr>
              <p:cNvPr id="163" name="Groep 162">
                <a:extLst>
                  <a:ext uri="{FF2B5EF4-FFF2-40B4-BE49-F238E27FC236}">
                    <a16:creationId xmlns:a16="http://schemas.microsoft.com/office/drawing/2014/main" id="{E7C6351F-5C03-4EE4-A255-7CA379B85952}"/>
                  </a:ext>
                </a:extLst>
              </p:cNvPr>
              <p:cNvGrpSpPr/>
              <p:nvPr userDrawn="1"/>
            </p:nvGrpSpPr>
            <p:grpSpPr>
              <a:xfrm>
                <a:off x="12771530" y="3403239"/>
                <a:ext cx="467176" cy="448491"/>
                <a:chOff x="12782157" y="3403239"/>
                <a:chExt cx="467176" cy="448491"/>
              </a:xfrm>
            </p:grpSpPr>
            <p:grpSp>
              <p:nvGrpSpPr>
                <p:cNvPr id="166" name="Groep 165">
                  <a:extLst>
                    <a:ext uri="{FF2B5EF4-FFF2-40B4-BE49-F238E27FC236}">
                      <a16:creationId xmlns:a16="http://schemas.microsoft.com/office/drawing/2014/main" id="{197D61CF-E9B6-4249-A3BA-F3BD06BDC9BD}"/>
                    </a:ext>
                  </a:extLst>
                </p:cNvPr>
                <p:cNvGrpSpPr/>
                <p:nvPr userDrawn="1"/>
              </p:nvGrpSpPr>
              <p:grpSpPr>
                <a:xfrm>
                  <a:off x="12782157" y="3403239"/>
                  <a:ext cx="412976" cy="396132"/>
                  <a:chOff x="13554906" y="3320109"/>
                  <a:chExt cx="443917" cy="425811"/>
                </a:xfrm>
              </p:grpSpPr>
              <p:grpSp>
                <p:nvGrpSpPr>
                  <p:cNvPr id="173" name="Groep 172">
                    <a:extLst>
                      <a:ext uri="{FF2B5EF4-FFF2-40B4-BE49-F238E27FC236}">
                        <a16:creationId xmlns:a16="http://schemas.microsoft.com/office/drawing/2014/main" id="{956B64A8-15A0-4C7F-A3E7-083F778D9617}"/>
                      </a:ext>
                    </a:extLst>
                  </p:cNvPr>
                  <p:cNvGrpSpPr/>
                  <p:nvPr userDrawn="1"/>
                </p:nvGrpSpPr>
                <p:grpSpPr>
                  <a:xfrm>
                    <a:off x="13554906" y="3320109"/>
                    <a:ext cx="443917" cy="425811"/>
                    <a:chOff x="12909684" y="1276143"/>
                    <a:chExt cx="443917" cy="425811"/>
                  </a:xfrm>
                </p:grpSpPr>
                <p:sp>
                  <p:nvSpPr>
                    <p:cNvPr id="176" name="Rechthoek 175">
                      <a:extLst>
                        <a:ext uri="{FF2B5EF4-FFF2-40B4-BE49-F238E27FC236}">
                          <a16:creationId xmlns:a16="http://schemas.microsoft.com/office/drawing/2014/main" id="{881EC470-7E9B-4BA7-89E0-B0332D4CBA8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FC734AB1-87CA-48D3-B057-9021AFCFDFD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8" name="Ovaal 177">
                      <a:extLst>
                        <a:ext uri="{FF2B5EF4-FFF2-40B4-BE49-F238E27FC236}">
                          <a16:creationId xmlns:a16="http://schemas.microsoft.com/office/drawing/2014/main" id="{641ED05B-2B9F-4FC7-9DBB-DBA516AB714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74" name="Afbeelding 173">
                    <a:extLst>
                      <a:ext uri="{FF2B5EF4-FFF2-40B4-BE49-F238E27FC236}">
                        <a16:creationId xmlns:a16="http://schemas.microsoft.com/office/drawing/2014/main" id="{404D7CFA-2A85-4133-8255-FD776E1FAB2E}"/>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75" name="Afbeelding 174">
                    <a:extLst>
                      <a:ext uri="{FF2B5EF4-FFF2-40B4-BE49-F238E27FC236}">
                        <a16:creationId xmlns:a16="http://schemas.microsoft.com/office/drawing/2014/main" id="{2F50EEE3-80B5-4A9F-8032-81B314FA278A}"/>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67" name="Groep 166">
                  <a:extLst>
                    <a:ext uri="{FF2B5EF4-FFF2-40B4-BE49-F238E27FC236}">
                      <a16:creationId xmlns:a16="http://schemas.microsoft.com/office/drawing/2014/main" id="{DA3D8926-52E1-4040-BA45-9B025796EFB9}"/>
                    </a:ext>
                  </a:extLst>
                </p:cNvPr>
                <p:cNvGrpSpPr/>
                <p:nvPr userDrawn="1"/>
              </p:nvGrpSpPr>
              <p:grpSpPr>
                <a:xfrm>
                  <a:off x="13103513" y="3705268"/>
                  <a:ext cx="145820" cy="146462"/>
                  <a:chOff x="13096169" y="3602278"/>
                  <a:chExt cx="145820" cy="146462"/>
                </a:xfrm>
              </p:grpSpPr>
              <p:sp>
                <p:nvSpPr>
                  <p:cNvPr id="171" name="Rechthoek 170">
                    <a:extLst>
                      <a:ext uri="{FF2B5EF4-FFF2-40B4-BE49-F238E27FC236}">
                        <a16:creationId xmlns:a16="http://schemas.microsoft.com/office/drawing/2014/main" id="{AD5ABFEE-5E59-4BC1-8228-289D6BC7B2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BF182378-08D3-4F73-9ECD-FF76CE1B5CC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5805B01-E174-4CA9-8589-5B43E019713A}"/>
                    </a:ext>
                  </a:extLst>
                </p:cNvPr>
                <p:cNvGrpSpPr/>
                <p:nvPr userDrawn="1"/>
              </p:nvGrpSpPr>
              <p:grpSpPr>
                <a:xfrm rot="10800000">
                  <a:off x="13061402" y="3665637"/>
                  <a:ext cx="145820" cy="146462"/>
                  <a:chOff x="13096169" y="3602278"/>
                  <a:chExt cx="145820" cy="146462"/>
                </a:xfrm>
              </p:grpSpPr>
              <p:sp>
                <p:nvSpPr>
                  <p:cNvPr id="169" name="Rechthoek 168">
                    <a:extLst>
                      <a:ext uri="{FF2B5EF4-FFF2-40B4-BE49-F238E27FC236}">
                        <a16:creationId xmlns:a16="http://schemas.microsoft.com/office/drawing/2014/main" id="{8D8A793C-B49B-4BB3-9368-852CAEB7EF8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4BD79D8E-0198-4F0F-9AFB-DDE7F286F57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64" name="Rechthoek 163">
                <a:extLst>
                  <a:ext uri="{FF2B5EF4-FFF2-40B4-BE49-F238E27FC236}">
                    <a16:creationId xmlns:a16="http://schemas.microsoft.com/office/drawing/2014/main" id="{B5E1C03E-2E75-4AAB-837C-89288EA934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65" name="Gelijkbenige driehoek 164">
                <a:extLst>
                  <a:ext uri="{FF2B5EF4-FFF2-40B4-BE49-F238E27FC236}">
                    <a16:creationId xmlns:a16="http://schemas.microsoft.com/office/drawing/2014/main" id="{4CEF352F-7777-44EE-824A-C4380144C74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43" name="Ovaal 142">
              <a:extLst>
                <a:ext uri="{FF2B5EF4-FFF2-40B4-BE49-F238E27FC236}">
                  <a16:creationId xmlns:a16="http://schemas.microsoft.com/office/drawing/2014/main" id="{CDFE5063-2738-4FAF-A81C-7C959CA0D013}"/>
                </a:ext>
              </a:extLst>
            </p:cNvPr>
            <p:cNvSpPr/>
            <p:nvPr userDrawn="1"/>
          </p:nvSpPr>
          <p:spPr>
            <a:xfrm>
              <a:off x="-3603587" y="4267791"/>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4" name="Rechthoek 143">
              <a:extLst>
                <a:ext uri="{FF2B5EF4-FFF2-40B4-BE49-F238E27FC236}">
                  <a16:creationId xmlns:a16="http://schemas.microsoft.com/office/drawing/2014/main" id="{5FB46063-EF1D-4FAB-9321-BCFDF34D3D05}"/>
                </a:ext>
              </a:extLst>
            </p:cNvPr>
            <p:cNvSpPr/>
            <p:nvPr userDrawn="1"/>
          </p:nvSpPr>
          <p:spPr>
            <a:xfrm>
              <a:off x="-3319415" y="4267792"/>
              <a:ext cx="2944682" cy="8127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er voor te zorgen dat het logo in zijn originele verhouding staat,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het pijltje onder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an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5" name="Groep 144">
              <a:extLst>
                <a:ext uri="{FF2B5EF4-FFF2-40B4-BE49-F238E27FC236}">
                  <a16:creationId xmlns:a16="http://schemas.microsoft.com/office/drawing/2014/main" id="{2AE74C18-9D4B-46B5-9042-EF92A6E52533}"/>
                </a:ext>
              </a:extLst>
            </p:cNvPr>
            <p:cNvGrpSpPr/>
            <p:nvPr userDrawn="1"/>
          </p:nvGrpSpPr>
          <p:grpSpPr>
            <a:xfrm>
              <a:off x="-3314821" y="5192208"/>
              <a:ext cx="1108877" cy="563933"/>
              <a:chOff x="-3314821" y="3885197"/>
              <a:chExt cx="1108877" cy="563933"/>
            </a:xfrm>
          </p:grpSpPr>
          <p:sp>
            <p:nvSpPr>
              <p:cNvPr id="146" name="Rechthoek 145">
                <a:extLst>
                  <a:ext uri="{FF2B5EF4-FFF2-40B4-BE49-F238E27FC236}">
                    <a16:creationId xmlns:a16="http://schemas.microsoft.com/office/drawing/2014/main" id="{78F7646B-1CA5-40E1-B094-4DE79EBF2A08}"/>
                  </a:ext>
                </a:extLst>
              </p:cNvPr>
              <p:cNvSpPr/>
              <p:nvPr userDrawn="1"/>
            </p:nvSpPr>
            <p:spPr>
              <a:xfrm>
                <a:off x="-3314821" y="3885197"/>
                <a:ext cx="105560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2DB7306-0A91-4C6D-91D0-4898D35A278C}"/>
                  </a:ext>
                </a:extLst>
              </p:cNvPr>
              <p:cNvSpPr/>
              <p:nvPr userDrawn="1"/>
            </p:nvSpPr>
            <p:spPr>
              <a:xfrm>
                <a:off x="-3304718" y="4138922"/>
                <a:ext cx="1043588"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48" name="Tekstvak 147">
                <a:extLst>
                  <a:ext uri="{FF2B5EF4-FFF2-40B4-BE49-F238E27FC236}">
                    <a16:creationId xmlns:a16="http://schemas.microsoft.com/office/drawing/2014/main" id="{336D641F-F765-4D47-A174-70C9E8D0D404}"/>
                  </a:ext>
                </a:extLst>
              </p:cNvPr>
              <p:cNvSpPr txBox="1"/>
              <p:nvPr userDrawn="1"/>
            </p:nvSpPr>
            <p:spPr>
              <a:xfrm>
                <a:off x="-3069820" y="3949098"/>
                <a:ext cx="794156"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Opvullen</a:t>
                </a:r>
              </a:p>
            </p:txBody>
          </p:sp>
          <p:sp>
            <p:nvSpPr>
              <p:cNvPr id="149" name="Tekstvak 148">
                <a:extLst>
                  <a:ext uri="{FF2B5EF4-FFF2-40B4-BE49-F238E27FC236}">
                    <a16:creationId xmlns:a16="http://schemas.microsoft.com/office/drawing/2014/main" id="{AF81C77F-99F7-4CB0-B58D-09842372DBC3}"/>
                  </a:ext>
                </a:extLst>
              </p:cNvPr>
              <p:cNvSpPr txBox="1"/>
              <p:nvPr userDrawn="1"/>
            </p:nvSpPr>
            <p:spPr>
              <a:xfrm>
                <a:off x="-3069819" y="4199018"/>
                <a:ext cx="800912"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Aanpassen</a:t>
                </a:r>
              </a:p>
            </p:txBody>
          </p:sp>
          <p:sp>
            <p:nvSpPr>
              <p:cNvPr id="150" name="Vrije vorm: vorm 149">
                <a:extLst>
                  <a:ext uri="{FF2B5EF4-FFF2-40B4-BE49-F238E27FC236}">
                    <a16:creationId xmlns:a16="http://schemas.microsoft.com/office/drawing/2014/main" id="{AA1126A4-701F-4B91-B9FB-8084EDEC32CF}"/>
                  </a:ext>
                </a:extLst>
              </p:cNvPr>
              <p:cNvSpPr/>
              <p:nvPr userDrawn="1"/>
            </p:nvSpPr>
            <p:spPr>
              <a:xfrm>
                <a:off x="-2303506" y="426913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483D8FDE-714E-4126-A5C4-4DBBB3EADBCD}"/>
                  </a:ext>
                </a:extLst>
              </p:cNvPr>
              <p:cNvGrpSpPr/>
              <p:nvPr userDrawn="1"/>
            </p:nvGrpSpPr>
            <p:grpSpPr>
              <a:xfrm>
                <a:off x="-3254609" y="3946178"/>
                <a:ext cx="184194" cy="143334"/>
                <a:chOff x="6218544" y="2402421"/>
                <a:chExt cx="144156" cy="112178"/>
              </a:xfrm>
            </p:grpSpPr>
            <p:sp>
              <p:nvSpPr>
                <p:cNvPr id="157" name="Rechthoek 156">
                  <a:extLst>
                    <a:ext uri="{FF2B5EF4-FFF2-40B4-BE49-F238E27FC236}">
                      <a16:creationId xmlns:a16="http://schemas.microsoft.com/office/drawing/2014/main" id="{FED4A7B5-7450-4F69-9F8E-BFBCBC1759AF}"/>
                    </a:ext>
                  </a:extLst>
                </p:cNvPr>
                <p:cNvSpPr/>
                <p:nvPr userDrawn="1"/>
              </p:nvSpPr>
              <p:spPr>
                <a:xfrm>
                  <a:off x="6218544" y="2414588"/>
                  <a:ext cx="144156" cy="100011"/>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8" name="Rechthoek 47">
                  <a:extLst>
                    <a:ext uri="{FF2B5EF4-FFF2-40B4-BE49-F238E27FC236}">
                      <a16:creationId xmlns:a16="http://schemas.microsoft.com/office/drawing/2014/main" id="{0A02F641-6EFC-4E91-A16B-5F9DBE19806E}"/>
                    </a:ext>
                  </a:extLst>
                </p:cNvPr>
                <p:cNvSpPr/>
                <p:nvPr userDrawn="1"/>
              </p:nvSpPr>
              <p:spPr>
                <a:xfrm>
                  <a:off x="6224587" y="2445544"/>
                  <a:ext cx="95251" cy="6480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9" name="Rechthoek 47">
                  <a:extLst>
                    <a:ext uri="{FF2B5EF4-FFF2-40B4-BE49-F238E27FC236}">
                      <a16:creationId xmlns:a16="http://schemas.microsoft.com/office/drawing/2014/main" id="{43686462-68D7-479E-BE26-ADC9A7A3DFF0}"/>
                    </a:ext>
                  </a:extLst>
                </p:cNvPr>
                <p:cNvSpPr/>
                <p:nvPr userDrawn="1"/>
              </p:nvSpPr>
              <p:spPr>
                <a:xfrm>
                  <a:off x="6296025" y="2457450"/>
                  <a:ext cx="64294" cy="52388"/>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60" name="Koorde 159">
                  <a:extLst>
                    <a:ext uri="{FF2B5EF4-FFF2-40B4-BE49-F238E27FC236}">
                      <a16:creationId xmlns:a16="http://schemas.microsoft.com/office/drawing/2014/main" id="{1F887993-4D80-4B1B-9F89-11022EB0A533}"/>
                    </a:ext>
                  </a:extLst>
                </p:cNvPr>
                <p:cNvSpPr/>
                <p:nvPr userDrawn="1"/>
              </p:nvSpPr>
              <p:spPr>
                <a:xfrm>
                  <a:off x="6290536" y="2402421"/>
                  <a:ext cx="37785" cy="37785"/>
                </a:xfrm>
                <a:prstGeom prst="chord">
                  <a:avLst>
                    <a:gd name="adj1" fmla="val 21457318"/>
                    <a:gd name="adj2" fmla="val 11002272"/>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52" name="Groep 151">
                <a:extLst>
                  <a:ext uri="{FF2B5EF4-FFF2-40B4-BE49-F238E27FC236}">
                    <a16:creationId xmlns:a16="http://schemas.microsoft.com/office/drawing/2014/main" id="{AEB2A720-D8E7-462A-A3D9-5A2B1C458B20}"/>
                  </a:ext>
                </a:extLst>
              </p:cNvPr>
              <p:cNvGrpSpPr/>
              <p:nvPr userDrawn="1"/>
            </p:nvGrpSpPr>
            <p:grpSpPr>
              <a:xfrm>
                <a:off x="-3254609" y="4199853"/>
                <a:ext cx="184194" cy="124747"/>
                <a:chOff x="6218544" y="2636044"/>
                <a:chExt cx="144156" cy="97631"/>
              </a:xfrm>
            </p:grpSpPr>
            <p:sp>
              <p:nvSpPr>
                <p:cNvPr id="153" name="Rechthoek 152">
                  <a:extLst>
                    <a:ext uri="{FF2B5EF4-FFF2-40B4-BE49-F238E27FC236}">
                      <a16:creationId xmlns:a16="http://schemas.microsoft.com/office/drawing/2014/main" id="{4A8BAF38-66EE-49CF-9E08-53870CD41C8A}"/>
                    </a:ext>
                  </a:extLst>
                </p:cNvPr>
                <p:cNvSpPr/>
                <p:nvPr userDrawn="1"/>
              </p:nvSpPr>
              <p:spPr>
                <a:xfrm>
                  <a:off x="6218544" y="2636044"/>
                  <a:ext cx="144156" cy="92869"/>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4" name="Rechthoek 153">
                  <a:extLst>
                    <a:ext uri="{FF2B5EF4-FFF2-40B4-BE49-F238E27FC236}">
                      <a16:creationId xmlns:a16="http://schemas.microsoft.com/office/drawing/2014/main" id="{5B37CAA4-55E9-4C6C-A407-24DC8B935EE9}"/>
                    </a:ext>
                  </a:extLst>
                </p:cNvPr>
                <p:cNvSpPr/>
                <p:nvPr userDrawn="1"/>
              </p:nvSpPr>
              <p:spPr>
                <a:xfrm>
                  <a:off x="6249409" y="2636045"/>
                  <a:ext cx="85725" cy="97630"/>
                </a:xfrm>
                <a:prstGeom prst="rect">
                  <a:avLst/>
                </a:prstGeom>
                <a:solidFill>
                  <a:srgbClr val="F0F0F0"/>
                </a:solidFill>
                <a:ln w="9525">
                  <a:solidFill>
                    <a:srgbClr val="B7B4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5" name="Ovaal 154">
                  <a:extLst>
                    <a:ext uri="{FF2B5EF4-FFF2-40B4-BE49-F238E27FC236}">
                      <a16:creationId xmlns:a16="http://schemas.microsoft.com/office/drawing/2014/main" id="{06619973-BFF6-44F8-B734-9D033EFA4A99}"/>
                    </a:ext>
                  </a:extLst>
                </p:cNvPr>
                <p:cNvSpPr/>
                <p:nvPr userDrawn="1"/>
              </p:nvSpPr>
              <p:spPr>
                <a:xfrm>
                  <a:off x="6297938" y="2655636"/>
                  <a:ext cx="21328" cy="21328"/>
                </a:xfrm>
                <a:prstGeom prst="ellipse">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6" name="Rechthoek 47">
                  <a:extLst>
                    <a:ext uri="{FF2B5EF4-FFF2-40B4-BE49-F238E27FC236}">
                      <a16:creationId xmlns:a16="http://schemas.microsoft.com/office/drawing/2014/main" id="{A8C70D0A-5D59-4D31-B60F-60DE6944507A}"/>
                    </a:ext>
                  </a:extLst>
                </p:cNvPr>
                <p:cNvSpPr/>
                <p:nvPr userDrawn="1"/>
              </p:nvSpPr>
              <p:spPr>
                <a:xfrm>
                  <a:off x="6261434" y="2675670"/>
                  <a:ext cx="45896" cy="3778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47246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43">
          <p15:clr>
            <a:srgbClr val="FBAE40"/>
          </p15:clr>
        </p15:guide>
        <p15:guide id="2" pos="7537">
          <p15:clr>
            <a:srgbClr val="FBAE40"/>
          </p15:clr>
        </p15:guide>
        <p15:guide id="3" orient="horz" pos="142">
          <p15:clr>
            <a:srgbClr val="FBAE40"/>
          </p15:clr>
        </p15:guide>
        <p15:guide id="5" orient="horz" pos="417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ekst en Quote">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515941" y="1347275"/>
            <a:ext cx="5209830"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736307D8-D2AE-444C-A09E-0A3B69F7CA75}"/>
              </a:ext>
            </a:extLst>
          </p:cNvPr>
          <p:cNvSpPr>
            <a:spLocks noGrp="1"/>
          </p:cNvSpPr>
          <p:nvPr>
            <p:ph type="title" hasCustomPrompt="1"/>
          </p:nvPr>
        </p:nvSpPr>
        <p:spPr>
          <a:xfrm>
            <a:off x="515941" y="517525"/>
            <a:ext cx="5209830" cy="488950"/>
          </a:xfrm>
        </p:spPr>
        <p:txBody>
          <a:bodyPr/>
          <a:lstStyle>
            <a:lvl1pPr>
              <a:defRPr/>
            </a:lvl1pPr>
          </a:lstStyle>
          <a:p>
            <a:r>
              <a:rPr lang="nl-NL"/>
              <a:t>Plaats hier je titel</a:t>
            </a:r>
          </a:p>
        </p:txBody>
      </p:sp>
      <p:grpSp>
        <p:nvGrpSpPr>
          <p:cNvPr id="131" name="INSTRUCTIE">
            <a:extLst>
              <a:ext uri="{FF2B5EF4-FFF2-40B4-BE49-F238E27FC236}">
                <a16:creationId xmlns:a16="http://schemas.microsoft.com/office/drawing/2014/main" id="{F421BD38-9792-4934-87E2-85F96AF2697D}"/>
              </a:ext>
            </a:extLst>
          </p:cNvPr>
          <p:cNvGrpSpPr/>
          <p:nvPr userDrawn="1"/>
        </p:nvGrpSpPr>
        <p:grpSpPr>
          <a:xfrm>
            <a:off x="8469641" y="7033211"/>
            <a:ext cx="3727954" cy="1728407"/>
            <a:chOff x="5846" y="7033211"/>
            <a:chExt cx="3727954" cy="1728407"/>
          </a:xfrm>
        </p:grpSpPr>
        <p:sp>
          <p:nvSpPr>
            <p:cNvPr id="132" name="Rechthoek 131">
              <a:extLst>
                <a:ext uri="{FF2B5EF4-FFF2-40B4-BE49-F238E27FC236}">
                  <a16:creationId xmlns:a16="http://schemas.microsoft.com/office/drawing/2014/main" id="{81D2C78C-67AB-44F4-AFF3-D741D5D66637}"/>
                </a:ext>
              </a:extLst>
            </p:cNvPr>
            <p:cNvSpPr/>
            <p:nvPr userDrawn="1"/>
          </p:nvSpPr>
          <p:spPr>
            <a:xfrm>
              <a:off x="5846" y="7033211"/>
              <a:ext cx="3727954" cy="1577390"/>
            </a:xfrm>
            <a:prstGeom prst="rect">
              <a:avLst/>
            </a:prstGeom>
            <a:solidFill>
              <a:schemeClr val="bg1">
                <a:lumMod val="95000"/>
              </a:schemeClr>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133" name="Ovaal 132">
              <a:extLst>
                <a:ext uri="{FF2B5EF4-FFF2-40B4-BE49-F238E27FC236}">
                  <a16:creationId xmlns:a16="http://schemas.microsoft.com/office/drawing/2014/main" id="{3D642D81-F6C2-4648-964B-176D872C059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E2CD0F1-01E9-481D-8948-1DF390737DCF}"/>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292ABC75-1527-45F0-BFD6-3B7D4F06566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7EDA069B-C8D1-4EA9-9AD7-ED2A4E01F5B7}"/>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7" name="Groep 136">
              <a:extLst>
                <a:ext uri="{FF2B5EF4-FFF2-40B4-BE49-F238E27FC236}">
                  <a16:creationId xmlns:a16="http://schemas.microsoft.com/office/drawing/2014/main" id="{650FA157-CA69-472D-8BB1-900177C2A7AE}"/>
                </a:ext>
              </a:extLst>
            </p:cNvPr>
            <p:cNvGrpSpPr/>
            <p:nvPr userDrawn="1"/>
          </p:nvGrpSpPr>
          <p:grpSpPr>
            <a:xfrm>
              <a:off x="2939884" y="7739834"/>
              <a:ext cx="681133" cy="750023"/>
              <a:chOff x="-910573" y="4987990"/>
              <a:chExt cx="681133" cy="750023"/>
            </a:xfrm>
          </p:grpSpPr>
          <p:grpSp>
            <p:nvGrpSpPr>
              <p:cNvPr id="138" name="Groep 137">
                <a:extLst>
                  <a:ext uri="{FF2B5EF4-FFF2-40B4-BE49-F238E27FC236}">
                    <a16:creationId xmlns:a16="http://schemas.microsoft.com/office/drawing/2014/main" id="{F4C5F142-85C6-4013-83B2-1598511B9CAF}"/>
                  </a:ext>
                </a:extLst>
              </p:cNvPr>
              <p:cNvGrpSpPr/>
              <p:nvPr userDrawn="1"/>
            </p:nvGrpSpPr>
            <p:grpSpPr>
              <a:xfrm>
                <a:off x="-713542" y="4987990"/>
                <a:ext cx="287071" cy="379107"/>
                <a:chOff x="-4050578" y="288410"/>
                <a:chExt cx="322125" cy="379107"/>
              </a:xfrm>
            </p:grpSpPr>
            <p:sp>
              <p:nvSpPr>
                <p:cNvPr id="140" name="Rechthoek met één afgeknipte en afgeronde hoek 47">
                  <a:extLst>
                    <a:ext uri="{FF2B5EF4-FFF2-40B4-BE49-F238E27FC236}">
                      <a16:creationId xmlns:a16="http://schemas.microsoft.com/office/drawing/2014/main" id="{FC06D66E-2F57-41D0-ABF3-1CFC74F725D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1" name="Rechthoekige driehoek 140">
                  <a:extLst>
                    <a:ext uri="{FF2B5EF4-FFF2-40B4-BE49-F238E27FC236}">
                      <a16:creationId xmlns:a16="http://schemas.microsoft.com/office/drawing/2014/main" id="{E373E805-189A-46D7-ADE6-B85EEF57D2D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 141">
                  <a:extLst>
                    <a:ext uri="{FF2B5EF4-FFF2-40B4-BE49-F238E27FC236}">
                      <a16:creationId xmlns:a16="http://schemas.microsoft.com/office/drawing/2014/main" id="{2DDB0414-F651-4EDB-8C55-BB17EF48E933}"/>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3" name="Rechthoek 142">
                  <a:extLst>
                    <a:ext uri="{FF2B5EF4-FFF2-40B4-BE49-F238E27FC236}">
                      <a16:creationId xmlns:a16="http://schemas.microsoft.com/office/drawing/2014/main" id="{C8D7938E-ECD1-4276-87EC-13493913328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9" name="Rechthoek 138">
                <a:extLst>
                  <a:ext uri="{FF2B5EF4-FFF2-40B4-BE49-F238E27FC236}">
                    <a16:creationId xmlns:a16="http://schemas.microsoft.com/office/drawing/2014/main" id="{649C6A0C-5C92-429D-AE5F-47950BBAF5CD}"/>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144" name="INSTRUCTIE">
            <a:extLst>
              <a:ext uri="{FF2B5EF4-FFF2-40B4-BE49-F238E27FC236}">
                <a16:creationId xmlns:a16="http://schemas.microsoft.com/office/drawing/2014/main" id="{7FA60A01-ED5C-4E20-936A-584A697D5077}"/>
              </a:ext>
            </a:extLst>
          </p:cNvPr>
          <p:cNvGrpSpPr/>
          <p:nvPr userDrawn="1"/>
        </p:nvGrpSpPr>
        <p:grpSpPr>
          <a:xfrm>
            <a:off x="-3786165" y="0"/>
            <a:ext cx="3593091" cy="4641338"/>
            <a:chOff x="-3786165" y="0"/>
            <a:chExt cx="3593091" cy="4641338"/>
          </a:xfrm>
        </p:grpSpPr>
        <p:sp>
          <p:nvSpPr>
            <p:cNvPr id="145" name="Rechthoek 144">
              <a:extLst>
                <a:ext uri="{FF2B5EF4-FFF2-40B4-BE49-F238E27FC236}">
                  <a16:creationId xmlns:a16="http://schemas.microsoft.com/office/drawing/2014/main" id="{6CF09FBC-84B9-4558-A5D7-B8AFB7712808}"/>
                </a:ext>
              </a:extLst>
            </p:cNvPr>
            <p:cNvSpPr/>
            <p:nvPr userDrawn="1"/>
          </p:nvSpPr>
          <p:spPr>
            <a:xfrm>
              <a:off x="-3786165" y="0"/>
              <a:ext cx="3593091" cy="4641338"/>
            </a:xfrm>
            <a:prstGeom prst="rect">
              <a:avLst/>
            </a:prstGeom>
            <a:solidFill>
              <a:schemeClr val="bg1">
                <a:lumMod val="95000"/>
              </a:schemeClr>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Tekstniveaus kiezen</a:t>
              </a:r>
            </a:p>
          </p:txBody>
        </p:sp>
        <p:sp>
          <p:nvSpPr>
            <p:cNvPr id="146" name="Ovaal 145">
              <a:extLst>
                <a:ext uri="{FF2B5EF4-FFF2-40B4-BE49-F238E27FC236}">
                  <a16:creationId xmlns:a16="http://schemas.microsoft.com/office/drawing/2014/main" id="{0E7301EA-1308-4506-9B83-0F23B80A855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7" name="Rechthoek 146">
              <a:extLst>
                <a:ext uri="{FF2B5EF4-FFF2-40B4-BE49-F238E27FC236}">
                  <a16:creationId xmlns:a16="http://schemas.microsoft.com/office/drawing/2014/main" id="{C15092DD-2DD1-460D-B728-55EFC97F7EB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a:ln>
                    <a:noFill/>
                  </a:ln>
                  <a:solidFill>
                    <a:schemeClr val="tx2"/>
                  </a:solidFill>
                  <a:effectLst/>
                  <a:uLnTx/>
                  <a:uFillTx/>
                  <a:latin typeface="+mn-lt"/>
                  <a:cs typeface="Segoe UI Light" panose="020B0502040204020203" pitchFamily="34" charset="0"/>
                </a:rPr>
                <a:t> (16pt)</a:t>
              </a:r>
            </a:p>
          </p:txBody>
        </p:sp>
        <p:sp>
          <p:nvSpPr>
            <p:cNvPr id="148" name="Ovaal 147">
              <a:extLst>
                <a:ext uri="{FF2B5EF4-FFF2-40B4-BE49-F238E27FC236}">
                  <a16:creationId xmlns:a16="http://schemas.microsoft.com/office/drawing/2014/main" id="{186C7225-A88A-4004-BACE-AE8DB0EE9D8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9" name="Rechthoek 148">
              <a:extLst>
                <a:ext uri="{FF2B5EF4-FFF2-40B4-BE49-F238E27FC236}">
                  <a16:creationId xmlns:a16="http://schemas.microsoft.com/office/drawing/2014/main" id="{6500BAD3-9AE7-4D9E-A68C-AA535EDDDC2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50" name="Rechthoek 149">
              <a:extLst>
                <a:ext uri="{FF2B5EF4-FFF2-40B4-BE49-F238E27FC236}">
                  <a16:creationId xmlns:a16="http://schemas.microsoft.com/office/drawing/2014/main" id="{01A3C85B-936C-45AD-8B9A-16C6E67464E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a:ln>
                    <a:noFill/>
                  </a:ln>
                  <a:solidFill>
                    <a:schemeClr val="tx2"/>
                  </a:solidFill>
                  <a:effectLst/>
                  <a:uLnTx/>
                  <a:uFillTx/>
                  <a:latin typeface="+mn-lt"/>
                  <a:cs typeface="Segoe UI Light" panose="020B0502040204020203" pitchFamily="34" charset="0"/>
                </a:rPr>
                <a:t> (16pt) </a:t>
              </a:r>
            </a:p>
          </p:txBody>
        </p:sp>
        <p:sp>
          <p:nvSpPr>
            <p:cNvPr id="151" name="Ovaal 150">
              <a:extLst>
                <a:ext uri="{FF2B5EF4-FFF2-40B4-BE49-F238E27FC236}">
                  <a16:creationId xmlns:a16="http://schemas.microsoft.com/office/drawing/2014/main" id="{55A4E35C-2ED0-4457-A7FC-73B5B370B38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2" name="Rechthoek 151">
              <a:extLst>
                <a:ext uri="{FF2B5EF4-FFF2-40B4-BE49-F238E27FC236}">
                  <a16:creationId xmlns:a16="http://schemas.microsoft.com/office/drawing/2014/main" id="{114F0D09-C90E-48D9-A83A-9B7F94DEF8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a:ln>
                  <a:noFill/>
                </a:ln>
                <a:solidFill>
                  <a:srgbClr val="002857"/>
                </a:solidFill>
                <a:effectLst/>
                <a:uLnTx/>
                <a:uFillTx/>
                <a:latin typeface="+mn-lt"/>
                <a:ea typeface="+mn-ea"/>
                <a:cs typeface="Segoe UI Light" panose="020B0502040204020203" pitchFamily="34" charset="0"/>
              </a:endParaRPr>
            </a:p>
          </p:txBody>
        </p:sp>
        <p:sp>
          <p:nvSpPr>
            <p:cNvPr id="153" name="Ovaal 152">
              <a:extLst>
                <a:ext uri="{FF2B5EF4-FFF2-40B4-BE49-F238E27FC236}">
                  <a16:creationId xmlns:a16="http://schemas.microsoft.com/office/drawing/2014/main" id="{2EEE98CA-76BF-4384-A49C-A2051A35B346}"/>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4" name="Rechthoek 153">
              <a:extLst>
                <a:ext uri="{FF2B5EF4-FFF2-40B4-BE49-F238E27FC236}">
                  <a16:creationId xmlns:a16="http://schemas.microsoft.com/office/drawing/2014/main" id="{FD06563F-5BCB-4D31-8598-1AF432A71569}"/>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a:ln>
                    <a:noFill/>
                  </a:ln>
                  <a:solidFill>
                    <a:srgbClr val="0068BD"/>
                  </a:solidFill>
                  <a:effectLst/>
                  <a:uLnTx/>
                  <a:uFillTx/>
                  <a:latin typeface="+mn-lt"/>
                  <a:ea typeface="+mn-ea"/>
                  <a:cs typeface="Calibri" panose="020F0502020204030204" pitchFamily="34" charset="0"/>
                </a:rPr>
                <a:t>Subtitel (20pt)</a:t>
              </a:r>
            </a:p>
          </p:txBody>
        </p:sp>
        <p:sp>
          <p:nvSpPr>
            <p:cNvPr id="155" name="Ovaal 154">
              <a:extLst>
                <a:ext uri="{FF2B5EF4-FFF2-40B4-BE49-F238E27FC236}">
                  <a16:creationId xmlns:a16="http://schemas.microsoft.com/office/drawing/2014/main" id="{795B097D-E19F-4225-86F4-60FF178B7AA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56" name="Rechthoek 155">
              <a:extLst>
                <a:ext uri="{FF2B5EF4-FFF2-40B4-BE49-F238E27FC236}">
                  <a16:creationId xmlns:a16="http://schemas.microsoft.com/office/drawing/2014/main" id="{3312EFED-DD62-4F67-BA39-670853660FA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a:ln>
                    <a:noFill/>
                  </a:ln>
                  <a:solidFill>
                    <a:srgbClr val="002857"/>
                  </a:solidFill>
                  <a:effectLst/>
                  <a:uLnTx/>
                  <a:uFillTx/>
                  <a:latin typeface="+mn-lt"/>
                  <a:ea typeface="+mn-ea"/>
                  <a:cs typeface="+mn-cs"/>
                </a:rPr>
                <a:t>Numerieke </a:t>
              </a:r>
              <a:r>
                <a:rPr kumimoji="0" lang="nl-NL" sz="1050" b="0" i="0" u="none" strike="noStrike" kern="1200" cap="none" spc="0" normalizeH="0" baseline="0" noProof="0" err="1">
                  <a:ln>
                    <a:noFill/>
                  </a:ln>
                  <a:solidFill>
                    <a:srgbClr val="002857"/>
                  </a:solidFill>
                  <a:effectLst/>
                  <a:uLnTx/>
                  <a:uFillTx/>
                  <a:latin typeface="+mn-lt"/>
                  <a:ea typeface="+mn-ea"/>
                  <a:cs typeface="+mn-cs"/>
                </a:rPr>
                <a:t>bullets</a:t>
              </a:r>
              <a:r>
                <a:rPr kumimoji="0" lang="nl-NL" sz="1050" b="0" i="0" u="none" strike="noStrike" kern="1200" cap="none" spc="0" normalizeH="0" baseline="0" noProof="0">
                  <a:ln>
                    <a:noFill/>
                  </a:ln>
                  <a:solidFill>
                    <a:srgbClr val="002857"/>
                  </a:solidFill>
                  <a:effectLst/>
                  <a:uLnTx/>
                  <a:uFillTx/>
                  <a:latin typeface="+mn-lt"/>
                  <a:ea typeface="+mn-ea"/>
                  <a:cs typeface="+mn-cs"/>
                </a:rPr>
                <a:t> / opsomming (16pt)</a:t>
              </a:r>
            </a:p>
          </p:txBody>
        </p:sp>
        <p:sp>
          <p:nvSpPr>
            <p:cNvPr id="157" name="Ovaal 156">
              <a:extLst>
                <a:ext uri="{FF2B5EF4-FFF2-40B4-BE49-F238E27FC236}">
                  <a16:creationId xmlns:a16="http://schemas.microsoft.com/office/drawing/2014/main" id="{4CE4ED6B-ADD0-42FC-8006-26C8524FAB1E}"/>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58" name="Rechthoek 157">
              <a:extLst>
                <a:ext uri="{FF2B5EF4-FFF2-40B4-BE49-F238E27FC236}">
                  <a16:creationId xmlns:a16="http://schemas.microsoft.com/office/drawing/2014/main" id="{6112E3C5-BA08-4BDD-8CAF-BC89397F8DB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a:ln>
                    <a:noFill/>
                  </a:ln>
                  <a:solidFill>
                    <a:srgbClr val="002857"/>
                  </a:solidFill>
                  <a:effectLst/>
                  <a:uLnTx/>
                  <a:uFillTx/>
                  <a:latin typeface="+mn-lt"/>
                  <a:ea typeface="+mn-ea"/>
                  <a:cs typeface="Segoe UI Light" panose="020B0502040204020203" pitchFamily="34" charset="0"/>
                </a:rPr>
                <a:t> onder opsomming (16pt)</a:t>
              </a:r>
            </a:p>
          </p:txBody>
        </p:sp>
        <p:sp>
          <p:nvSpPr>
            <p:cNvPr id="159" name="Ovaal 158">
              <a:extLst>
                <a:ext uri="{FF2B5EF4-FFF2-40B4-BE49-F238E27FC236}">
                  <a16:creationId xmlns:a16="http://schemas.microsoft.com/office/drawing/2014/main" id="{03744B09-DDBB-40F4-BCBD-130BFD3CE9C7}"/>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60" name="Rechthoek 159">
              <a:extLst>
                <a:ext uri="{FF2B5EF4-FFF2-40B4-BE49-F238E27FC236}">
                  <a16:creationId xmlns:a16="http://schemas.microsoft.com/office/drawing/2014/main" id="{530BE350-CC04-43A2-AF0F-C2ADE489EE2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a:ln>
                    <a:noFill/>
                  </a:ln>
                  <a:solidFill>
                    <a:srgbClr val="002857"/>
                  </a:solidFill>
                  <a:effectLst/>
                  <a:uLnTx/>
                  <a:uFillTx/>
                  <a:latin typeface="+mn-lt"/>
                  <a:ea typeface="+mn-ea"/>
                  <a:cs typeface="Segoe UI Light" panose="020B0502040204020203" pitchFamily="34" charset="0"/>
                </a:rPr>
                <a:t>Leestekst (16pt)</a:t>
              </a:r>
            </a:p>
          </p:txBody>
        </p:sp>
        <p:sp>
          <p:nvSpPr>
            <p:cNvPr id="161" name="Ovaal 160">
              <a:extLst>
                <a:ext uri="{FF2B5EF4-FFF2-40B4-BE49-F238E27FC236}">
                  <a16:creationId xmlns:a16="http://schemas.microsoft.com/office/drawing/2014/main" id="{A980CE57-1791-4988-A3EC-96B2CABEF6A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62" name="Rechthoek 161">
              <a:extLst>
                <a:ext uri="{FF2B5EF4-FFF2-40B4-BE49-F238E27FC236}">
                  <a16:creationId xmlns:a16="http://schemas.microsoft.com/office/drawing/2014/main" id="{E0A0AC1C-2EC1-4B46-AACC-47E38F439E4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a:ln>
                    <a:noFill/>
                  </a:ln>
                  <a:solidFill>
                    <a:srgbClr val="0068BD"/>
                  </a:solidFill>
                  <a:effectLst/>
                  <a:uLnTx/>
                  <a:uFillTx/>
                  <a:latin typeface="+mn-lt"/>
                  <a:ea typeface="+mn-ea"/>
                  <a:cs typeface="Calibri" panose="020F0502020204030204" pitchFamily="34" charset="0"/>
                </a:rPr>
                <a:t>Subtitel (24pt)</a:t>
              </a:r>
            </a:p>
          </p:txBody>
        </p:sp>
        <p:sp>
          <p:nvSpPr>
            <p:cNvPr id="163" name="Ovaal 162">
              <a:extLst>
                <a:ext uri="{FF2B5EF4-FFF2-40B4-BE49-F238E27FC236}">
                  <a16:creationId xmlns:a16="http://schemas.microsoft.com/office/drawing/2014/main" id="{C8D297F9-D9DF-48CE-A973-3AAD1204602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64" name="Rechthoek 163">
              <a:extLst>
                <a:ext uri="{FF2B5EF4-FFF2-40B4-BE49-F238E27FC236}">
                  <a16:creationId xmlns:a16="http://schemas.microsoft.com/office/drawing/2014/main" id="{EF4AB177-E4D9-44FE-869B-0B443828C8F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65" name="VOORBEELD">
              <a:extLst>
                <a:ext uri="{FF2B5EF4-FFF2-40B4-BE49-F238E27FC236}">
                  <a16:creationId xmlns:a16="http://schemas.microsoft.com/office/drawing/2014/main" id="{DBCF3C91-5882-4DEC-AE3F-519011276F42}"/>
                </a:ext>
              </a:extLst>
            </p:cNvPr>
            <p:cNvGrpSpPr/>
            <p:nvPr userDrawn="1"/>
          </p:nvGrpSpPr>
          <p:grpSpPr>
            <a:xfrm>
              <a:off x="-3605171" y="458674"/>
              <a:ext cx="3234311" cy="558875"/>
              <a:chOff x="-3605171" y="458674"/>
              <a:chExt cx="3234311" cy="558875"/>
            </a:xfrm>
          </p:grpSpPr>
          <p:sp>
            <p:nvSpPr>
              <p:cNvPr id="166" name="Rechthoek 165">
                <a:extLst>
                  <a:ext uri="{FF2B5EF4-FFF2-40B4-BE49-F238E27FC236}">
                    <a16:creationId xmlns:a16="http://schemas.microsoft.com/office/drawing/2014/main" id="{9EBA55AD-5D95-44BE-AE87-CEAA164FEAAB}"/>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67" name="Rechthoek 166">
                <a:extLst>
                  <a:ext uri="{FF2B5EF4-FFF2-40B4-BE49-F238E27FC236}">
                    <a16:creationId xmlns:a16="http://schemas.microsoft.com/office/drawing/2014/main" id="{35A92396-A543-4006-9221-61CB74410D9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68" name="Groep 167">
                <a:extLst>
                  <a:ext uri="{FF2B5EF4-FFF2-40B4-BE49-F238E27FC236}">
                    <a16:creationId xmlns:a16="http://schemas.microsoft.com/office/drawing/2014/main" id="{7F560E3D-45B5-440E-AB92-A0CFB665E9D9}"/>
                  </a:ext>
                </a:extLst>
              </p:cNvPr>
              <p:cNvGrpSpPr/>
              <p:nvPr userDrawn="1"/>
            </p:nvGrpSpPr>
            <p:grpSpPr>
              <a:xfrm>
                <a:off x="-3386247" y="830871"/>
                <a:ext cx="139423" cy="109566"/>
                <a:chOff x="-2866744" y="827071"/>
                <a:chExt cx="168701" cy="132575"/>
              </a:xfrm>
            </p:grpSpPr>
            <p:grpSp>
              <p:nvGrpSpPr>
                <p:cNvPr id="199" name="Groep 198">
                  <a:extLst>
                    <a:ext uri="{FF2B5EF4-FFF2-40B4-BE49-F238E27FC236}">
                      <a16:creationId xmlns:a16="http://schemas.microsoft.com/office/drawing/2014/main" id="{CB97CDE2-B250-4E04-95E9-840121B304DE}"/>
                    </a:ext>
                  </a:extLst>
                </p:cNvPr>
                <p:cNvGrpSpPr/>
                <p:nvPr userDrawn="1"/>
              </p:nvGrpSpPr>
              <p:grpSpPr>
                <a:xfrm>
                  <a:off x="-2866744" y="827071"/>
                  <a:ext cx="168701" cy="132575"/>
                  <a:chOff x="-2866744" y="827071"/>
                  <a:chExt cx="168701" cy="132575"/>
                </a:xfrm>
              </p:grpSpPr>
              <p:cxnSp>
                <p:nvCxnSpPr>
                  <p:cNvPr id="201" name="Rechte verbindingslijn 200">
                    <a:extLst>
                      <a:ext uri="{FF2B5EF4-FFF2-40B4-BE49-F238E27FC236}">
                        <a16:creationId xmlns:a16="http://schemas.microsoft.com/office/drawing/2014/main" id="{BD49A608-7B52-40BB-A923-DA35A576F52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02" name="Rechte verbindingslijn 201">
                    <a:extLst>
                      <a:ext uri="{FF2B5EF4-FFF2-40B4-BE49-F238E27FC236}">
                        <a16:creationId xmlns:a16="http://schemas.microsoft.com/office/drawing/2014/main" id="{851A05F6-7726-49B8-B1CB-69A74FC654F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03" name="Rechte verbindingslijn 202">
                    <a:extLst>
                      <a:ext uri="{FF2B5EF4-FFF2-40B4-BE49-F238E27FC236}">
                        <a16:creationId xmlns:a16="http://schemas.microsoft.com/office/drawing/2014/main" id="{7FD2CEDF-18EB-44C4-A194-E243811162D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04" name="Rechte verbindingslijn 203">
                    <a:extLst>
                      <a:ext uri="{FF2B5EF4-FFF2-40B4-BE49-F238E27FC236}">
                        <a16:creationId xmlns:a16="http://schemas.microsoft.com/office/drawing/2014/main" id="{8EF66587-89B7-41D4-A269-6A0C916E3B8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05" name="Rechte verbindingslijn 204">
                    <a:extLst>
                      <a:ext uri="{FF2B5EF4-FFF2-40B4-BE49-F238E27FC236}">
                        <a16:creationId xmlns:a16="http://schemas.microsoft.com/office/drawing/2014/main" id="{75F7ABD8-9C45-400D-869F-C8201C71E4A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00" name="Pijl: rechts 199">
                  <a:extLst>
                    <a:ext uri="{FF2B5EF4-FFF2-40B4-BE49-F238E27FC236}">
                      <a16:creationId xmlns:a16="http://schemas.microsoft.com/office/drawing/2014/main" id="{3304D304-789C-4E65-8D11-9BB75617E22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9" name="Groep 168">
                <a:extLst>
                  <a:ext uri="{FF2B5EF4-FFF2-40B4-BE49-F238E27FC236}">
                    <a16:creationId xmlns:a16="http://schemas.microsoft.com/office/drawing/2014/main" id="{EF6917BB-07C5-406C-A490-359645492FC7}"/>
                  </a:ext>
                </a:extLst>
              </p:cNvPr>
              <p:cNvGrpSpPr/>
              <p:nvPr userDrawn="1"/>
            </p:nvGrpSpPr>
            <p:grpSpPr>
              <a:xfrm>
                <a:off x="-3605171" y="830871"/>
                <a:ext cx="139423" cy="109566"/>
                <a:chOff x="-2866744" y="518074"/>
                <a:chExt cx="168701" cy="132575"/>
              </a:xfrm>
            </p:grpSpPr>
            <p:grpSp>
              <p:nvGrpSpPr>
                <p:cNvPr id="192" name="Groep 191">
                  <a:extLst>
                    <a:ext uri="{FF2B5EF4-FFF2-40B4-BE49-F238E27FC236}">
                      <a16:creationId xmlns:a16="http://schemas.microsoft.com/office/drawing/2014/main" id="{99362496-C961-4B2A-908C-C345EF968E2B}"/>
                    </a:ext>
                  </a:extLst>
                </p:cNvPr>
                <p:cNvGrpSpPr/>
                <p:nvPr userDrawn="1"/>
              </p:nvGrpSpPr>
              <p:grpSpPr>
                <a:xfrm>
                  <a:off x="-2866744" y="518074"/>
                  <a:ext cx="168701" cy="132575"/>
                  <a:chOff x="-2866744" y="518074"/>
                  <a:chExt cx="168701" cy="132575"/>
                </a:xfrm>
              </p:grpSpPr>
              <p:cxnSp>
                <p:nvCxnSpPr>
                  <p:cNvPr id="194" name="Rechte verbindingslijn 193">
                    <a:extLst>
                      <a:ext uri="{FF2B5EF4-FFF2-40B4-BE49-F238E27FC236}">
                        <a16:creationId xmlns:a16="http://schemas.microsoft.com/office/drawing/2014/main" id="{CA672714-66F8-4568-A131-C391FE044D4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0AF7D98A-AFA5-4328-9915-030405250AC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338117C1-9121-4311-AADE-868BAB5CEDA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5A4B21F8-18FB-4EC0-909F-F238ACF2CDA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A52403C1-62E4-4A38-AF27-0D2557191CE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0461D108-AC7A-420C-9645-FD71EA02A0F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70" name="Rechte verbindingslijn 169">
                <a:extLst>
                  <a:ext uri="{FF2B5EF4-FFF2-40B4-BE49-F238E27FC236}">
                    <a16:creationId xmlns:a16="http://schemas.microsoft.com/office/drawing/2014/main" id="{9DC2FC9F-106F-419F-B041-CD2D73B4531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id="{D96880C9-FCC7-4AB4-AD6B-BE624AA5199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72" name="Rechthoek 171">
                <a:extLst>
                  <a:ext uri="{FF2B5EF4-FFF2-40B4-BE49-F238E27FC236}">
                    <a16:creationId xmlns:a16="http://schemas.microsoft.com/office/drawing/2014/main" id="{5CA04235-789C-40CD-9364-37D71017FE7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73" name="Rechthoek 172">
                <a:extLst>
                  <a:ext uri="{FF2B5EF4-FFF2-40B4-BE49-F238E27FC236}">
                    <a16:creationId xmlns:a16="http://schemas.microsoft.com/office/drawing/2014/main" id="{493154A4-8768-446B-8832-BD303F7848FD}"/>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74" name="Groep 173">
                <a:extLst>
                  <a:ext uri="{FF2B5EF4-FFF2-40B4-BE49-F238E27FC236}">
                    <a16:creationId xmlns:a16="http://schemas.microsoft.com/office/drawing/2014/main" id="{8890D7C6-162B-450B-806A-4754D860A655}"/>
                  </a:ext>
                </a:extLst>
              </p:cNvPr>
              <p:cNvGrpSpPr/>
              <p:nvPr userDrawn="1"/>
            </p:nvGrpSpPr>
            <p:grpSpPr>
              <a:xfrm>
                <a:off x="-2916763" y="769168"/>
                <a:ext cx="268738" cy="248381"/>
                <a:chOff x="-2916763" y="769168"/>
                <a:chExt cx="268738" cy="248381"/>
              </a:xfrm>
            </p:grpSpPr>
            <p:sp>
              <p:nvSpPr>
                <p:cNvPr id="184" name="Rechthoek 183">
                  <a:extLst>
                    <a:ext uri="{FF2B5EF4-FFF2-40B4-BE49-F238E27FC236}">
                      <a16:creationId xmlns:a16="http://schemas.microsoft.com/office/drawing/2014/main" id="{BF33F242-3E98-4841-A687-9396828D81D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85" name="Groep 184">
                  <a:extLst>
                    <a:ext uri="{FF2B5EF4-FFF2-40B4-BE49-F238E27FC236}">
                      <a16:creationId xmlns:a16="http://schemas.microsoft.com/office/drawing/2014/main" id="{04B9E5A5-4B5C-4705-B4BF-E32FEDF210BF}"/>
                    </a:ext>
                  </a:extLst>
                </p:cNvPr>
                <p:cNvGrpSpPr/>
                <p:nvPr userDrawn="1"/>
              </p:nvGrpSpPr>
              <p:grpSpPr>
                <a:xfrm>
                  <a:off x="-2866744" y="827071"/>
                  <a:ext cx="168701" cy="132575"/>
                  <a:chOff x="-2866744" y="827071"/>
                  <a:chExt cx="168701" cy="132575"/>
                </a:xfrm>
              </p:grpSpPr>
              <p:cxnSp>
                <p:nvCxnSpPr>
                  <p:cNvPr id="187" name="Rechte verbindingslijn 186">
                    <a:extLst>
                      <a:ext uri="{FF2B5EF4-FFF2-40B4-BE49-F238E27FC236}">
                        <a16:creationId xmlns:a16="http://schemas.microsoft.com/office/drawing/2014/main" id="{B0AC3C05-B5B3-4757-9DB9-ED4F3C39BB6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15D3822E-C8ED-4A14-92C0-6C2181E22E1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C848156D-FC4F-4FA1-8D2E-008BBF75EAD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EF57422D-EC03-4566-B434-520D7ABB9F2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B67EE0F5-1926-406E-92E5-DD047554E4E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45CB9364-D400-4A3F-A4B0-DB23456B2AC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75" name="Groep 174">
                <a:extLst>
                  <a:ext uri="{FF2B5EF4-FFF2-40B4-BE49-F238E27FC236}">
                    <a16:creationId xmlns:a16="http://schemas.microsoft.com/office/drawing/2014/main" id="{A8D2ED88-DD40-4A22-B12B-11802FFDE901}"/>
                  </a:ext>
                </a:extLst>
              </p:cNvPr>
              <p:cNvGrpSpPr/>
              <p:nvPr userDrawn="1"/>
            </p:nvGrpSpPr>
            <p:grpSpPr>
              <a:xfrm>
                <a:off x="-2916763" y="460171"/>
                <a:ext cx="268738" cy="248381"/>
                <a:chOff x="-2916763" y="460171"/>
                <a:chExt cx="268738" cy="248381"/>
              </a:xfrm>
            </p:grpSpPr>
            <p:sp>
              <p:nvSpPr>
                <p:cNvPr id="176" name="Rechthoek 175">
                  <a:extLst>
                    <a:ext uri="{FF2B5EF4-FFF2-40B4-BE49-F238E27FC236}">
                      <a16:creationId xmlns:a16="http://schemas.microsoft.com/office/drawing/2014/main" id="{65522396-F81E-469E-BEC4-6DC47D1C4CA5}"/>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77" name="Groep 176">
                  <a:extLst>
                    <a:ext uri="{FF2B5EF4-FFF2-40B4-BE49-F238E27FC236}">
                      <a16:creationId xmlns:a16="http://schemas.microsoft.com/office/drawing/2014/main" id="{BF850456-14D3-4035-9516-C844B2CF354A}"/>
                    </a:ext>
                  </a:extLst>
                </p:cNvPr>
                <p:cNvGrpSpPr/>
                <p:nvPr userDrawn="1"/>
              </p:nvGrpSpPr>
              <p:grpSpPr>
                <a:xfrm>
                  <a:off x="-2866744" y="518074"/>
                  <a:ext cx="168701" cy="132575"/>
                  <a:chOff x="-2866744" y="518074"/>
                  <a:chExt cx="168701" cy="132575"/>
                </a:xfrm>
              </p:grpSpPr>
              <p:cxnSp>
                <p:nvCxnSpPr>
                  <p:cNvPr id="179" name="Rechte verbindingslijn 178">
                    <a:extLst>
                      <a:ext uri="{FF2B5EF4-FFF2-40B4-BE49-F238E27FC236}">
                        <a16:creationId xmlns:a16="http://schemas.microsoft.com/office/drawing/2014/main" id="{2659434B-8D7A-4C23-814D-973DA62DA8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0" name="Rechte verbindingslijn 179">
                    <a:extLst>
                      <a:ext uri="{FF2B5EF4-FFF2-40B4-BE49-F238E27FC236}">
                        <a16:creationId xmlns:a16="http://schemas.microsoft.com/office/drawing/2014/main" id="{A40D435C-AB3C-44DD-A43D-6CB990516A5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2D7F87E5-9FA9-4E6C-A648-CB253B819F6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8BFF38B5-7985-4288-830F-5C446C28E55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F273CB2F-8619-4F62-BC46-B2A1E3C041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8" name="Pijl: rechts 177">
                  <a:extLst>
                    <a:ext uri="{FF2B5EF4-FFF2-40B4-BE49-F238E27FC236}">
                      <a16:creationId xmlns:a16="http://schemas.microsoft.com/office/drawing/2014/main" id="{8C7D936D-FDF5-4ED7-B439-34A3A90106F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267" name="Groep 266">
            <a:extLst>
              <a:ext uri="{FF2B5EF4-FFF2-40B4-BE49-F238E27FC236}">
                <a16:creationId xmlns:a16="http://schemas.microsoft.com/office/drawing/2014/main" id="{A33D2389-D229-480C-8D1A-F99F55804CCB}"/>
              </a:ext>
            </a:extLst>
          </p:cNvPr>
          <p:cNvGrpSpPr/>
          <p:nvPr userDrawn="1"/>
        </p:nvGrpSpPr>
        <p:grpSpPr>
          <a:xfrm>
            <a:off x="12377867" y="0"/>
            <a:ext cx="3593091" cy="6025208"/>
            <a:chOff x="12377867" y="0"/>
            <a:chExt cx="3593091" cy="6025208"/>
          </a:xfrm>
        </p:grpSpPr>
        <p:sp>
          <p:nvSpPr>
            <p:cNvPr id="268" name="Rechthoek 267">
              <a:extLst>
                <a:ext uri="{FF2B5EF4-FFF2-40B4-BE49-F238E27FC236}">
                  <a16:creationId xmlns:a16="http://schemas.microsoft.com/office/drawing/2014/main" id="{220D2098-1F7F-4DB8-A8F4-D7C0F4BF7D29}"/>
                </a:ext>
              </a:extLst>
            </p:cNvPr>
            <p:cNvSpPr/>
            <p:nvPr userDrawn="1"/>
          </p:nvSpPr>
          <p:spPr>
            <a:xfrm>
              <a:off x="12377867" y="0"/>
              <a:ext cx="3593091" cy="6025208"/>
            </a:xfrm>
            <a:prstGeom prst="rect">
              <a:avLst/>
            </a:prstGeom>
            <a:solidFill>
              <a:schemeClr val="bg1">
                <a:lumMod val="95000"/>
              </a:schemeClr>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69" name="Ovaal 268">
              <a:extLst>
                <a:ext uri="{FF2B5EF4-FFF2-40B4-BE49-F238E27FC236}">
                  <a16:creationId xmlns:a16="http://schemas.microsoft.com/office/drawing/2014/main" id="{59C0222E-EDB4-425F-B7E1-8B11603C1389}"/>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70" name="Rechthoek 269">
              <a:extLst>
                <a:ext uri="{FF2B5EF4-FFF2-40B4-BE49-F238E27FC236}">
                  <a16:creationId xmlns:a16="http://schemas.microsoft.com/office/drawing/2014/main" id="{4D5253EA-CE81-400E-8B57-2F3FEC363168}"/>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1" name="Groep 270">
              <a:extLst>
                <a:ext uri="{FF2B5EF4-FFF2-40B4-BE49-F238E27FC236}">
                  <a16:creationId xmlns:a16="http://schemas.microsoft.com/office/drawing/2014/main" id="{87EA949D-E59F-4388-90D3-3A83632838E2}"/>
                </a:ext>
              </a:extLst>
            </p:cNvPr>
            <p:cNvGrpSpPr/>
            <p:nvPr userDrawn="1"/>
          </p:nvGrpSpPr>
          <p:grpSpPr>
            <a:xfrm>
              <a:off x="12847853" y="1231351"/>
              <a:ext cx="294789" cy="318834"/>
              <a:chOff x="14466489" y="1001522"/>
              <a:chExt cx="290627" cy="314333"/>
            </a:xfrm>
          </p:grpSpPr>
          <p:sp>
            <p:nvSpPr>
              <p:cNvPr id="322" name="Rechthoek 321">
                <a:extLst>
                  <a:ext uri="{FF2B5EF4-FFF2-40B4-BE49-F238E27FC236}">
                    <a16:creationId xmlns:a16="http://schemas.microsoft.com/office/drawing/2014/main" id="{3DB64F1D-38AE-4C4E-935A-7798877C4AB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23" name="Ovaal 322">
                <a:extLst>
                  <a:ext uri="{FF2B5EF4-FFF2-40B4-BE49-F238E27FC236}">
                    <a16:creationId xmlns:a16="http://schemas.microsoft.com/office/drawing/2014/main" id="{D067C6DA-EA95-46EF-BF7A-6BFDE7BD033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324" name="Vrije vorm: vorm 323">
                <a:extLst>
                  <a:ext uri="{FF2B5EF4-FFF2-40B4-BE49-F238E27FC236}">
                    <a16:creationId xmlns:a16="http://schemas.microsoft.com/office/drawing/2014/main" id="{8CA0DABC-BD2E-4A88-9A10-D4580CBE448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325" name="Rechthoek: afgeronde hoeken 324">
                <a:extLst>
                  <a:ext uri="{FF2B5EF4-FFF2-40B4-BE49-F238E27FC236}">
                    <a16:creationId xmlns:a16="http://schemas.microsoft.com/office/drawing/2014/main" id="{3244A56D-EA86-4ACB-B0EC-7678F45EB24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326" name="Rechte verbindingslijn 325">
                <a:extLst>
                  <a:ext uri="{FF2B5EF4-FFF2-40B4-BE49-F238E27FC236}">
                    <a16:creationId xmlns:a16="http://schemas.microsoft.com/office/drawing/2014/main" id="{B1A5B10B-D48A-42B1-9314-B8F6393560A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27" name="Rechte verbindingslijn 326">
                <a:extLst>
                  <a:ext uri="{FF2B5EF4-FFF2-40B4-BE49-F238E27FC236}">
                    <a16:creationId xmlns:a16="http://schemas.microsoft.com/office/drawing/2014/main" id="{ABD87853-61AE-43B8-9087-CB7A6EDE8790}"/>
                  </a:ext>
                </a:extLst>
              </p:cNvPr>
              <p:cNvCxnSpPr>
                <a:cxnSpLocks/>
                <a:stCxn id="32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2" name="Ovaal 271">
              <a:extLst>
                <a:ext uri="{FF2B5EF4-FFF2-40B4-BE49-F238E27FC236}">
                  <a16:creationId xmlns:a16="http://schemas.microsoft.com/office/drawing/2014/main" id="{5615763D-C855-4A2D-A774-7411F66F7B12}"/>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73" name="Rechthoek 272">
              <a:extLst>
                <a:ext uri="{FF2B5EF4-FFF2-40B4-BE49-F238E27FC236}">
                  <a16:creationId xmlns:a16="http://schemas.microsoft.com/office/drawing/2014/main" id="{C8041A60-A9E2-4DEE-AFB1-7F446F2CFB1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4" name="Groep 273">
              <a:extLst>
                <a:ext uri="{FF2B5EF4-FFF2-40B4-BE49-F238E27FC236}">
                  <a16:creationId xmlns:a16="http://schemas.microsoft.com/office/drawing/2014/main" id="{2AA37494-5C03-49EA-9EA6-963EBE4A5A50}"/>
                </a:ext>
              </a:extLst>
            </p:cNvPr>
            <p:cNvGrpSpPr/>
            <p:nvPr userDrawn="1"/>
          </p:nvGrpSpPr>
          <p:grpSpPr>
            <a:xfrm>
              <a:off x="12852713" y="2164285"/>
              <a:ext cx="825500" cy="209550"/>
              <a:chOff x="13504624" y="2482850"/>
              <a:chExt cx="825500" cy="209550"/>
            </a:xfrm>
          </p:grpSpPr>
          <p:sp>
            <p:nvSpPr>
              <p:cNvPr id="319" name="Rechthoek 318">
                <a:extLst>
                  <a:ext uri="{FF2B5EF4-FFF2-40B4-BE49-F238E27FC236}">
                    <a16:creationId xmlns:a16="http://schemas.microsoft.com/office/drawing/2014/main" id="{6263351F-E91B-4776-A9E6-4BB20C671B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320" name="Rechte verbindingslijn 319">
                <a:extLst>
                  <a:ext uri="{FF2B5EF4-FFF2-40B4-BE49-F238E27FC236}">
                    <a16:creationId xmlns:a16="http://schemas.microsoft.com/office/drawing/2014/main" id="{7C7EDE7A-E740-4D42-94C2-C6B6F9BE770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1" name="Gelijkbenige driehoek 320">
                <a:extLst>
                  <a:ext uri="{FF2B5EF4-FFF2-40B4-BE49-F238E27FC236}">
                    <a16:creationId xmlns:a16="http://schemas.microsoft.com/office/drawing/2014/main" id="{693C987F-2776-4035-BA28-DFF5F1690B8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275" name="Ovaal 274">
              <a:extLst>
                <a:ext uri="{FF2B5EF4-FFF2-40B4-BE49-F238E27FC236}">
                  <a16:creationId xmlns:a16="http://schemas.microsoft.com/office/drawing/2014/main" id="{BF1D9E5D-F2F4-4ECF-88A3-C60DD862565B}"/>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76" name="Rechthoek 275">
              <a:extLst>
                <a:ext uri="{FF2B5EF4-FFF2-40B4-BE49-F238E27FC236}">
                  <a16:creationId xmlns:a16="http://schemas.microsoft.com/office/drawing/2014/main" id="{E67513BA-6BE9-42C9-9637-00BE54F0D7DE}"/>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77" name="Ovaal 276">
              <a:extLst>
                <a:ext uri="{FF2B5EF4-FFF2-40B4-BE49-F238E27FC236}">
                  <a16:creationId xmlns:a16="http://schemas.microsoft.com/office/drawing/2014/main" id="{533321C2-E250-4C1F-AE3D-C34A5D785E76}"/>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78" name="Rechthoek 277">
              <a:extLst>
                <a:ext uri="{FF2B5EF4-FFF2-40B4-BE49-F238E27FC236}">
                  <a16:creationId xmlns:a16="http://schemas.microsoft.com/office/drawing/2014/main" id="{829CC722-72C9-4AA8-824A-BDCB1E12AFD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279" name="Groep 278">
              <a:extLst>
                <a:ext uri="{FF2B5EF4-FFF2-40B4-BE49-F238E27FC236}">
                  <a16:creationId xmlns:a16="http://schemas.microsoft.com/office/drawing/2014/main" id="{0A616F00-F50A-4DB2-A41E-D77B76327431}"/>
                </a:ext>
              </a:extLst>
            </p:cNvPr>
            <p:cNvGrpSpPr/>
            <p:nvPr userDrawn="1"/>
          </p:nvGrpSpPr>
          <p:grpSpPr>
            <a:xfrm>
              <a:off x="12755738" y="5236167"/>
              <a:ext cx="622283" cy="612919"/>
              <a:chOff x="12617641" y="3403239"/>
              <a:chExt cx="752963" cy="741634"/>
            </a:xfrm>
          </p:grpSpPr>
          <p:grpSp>
            <p:nvGrpSpPr>
              <p:cNvPr id="303" name="Groep 302">
                <a:extLst>
                  <a:ext uri="{FF2B5EF4-FFF2-40B4-BE49-F238E27FC236}">
                    <a16:creationId xmlns:a16="http://schemas.microsoft.com/office/drawing/2014/main" id="{0147B837-71EC-4717-AA68-41217D115BB9}"/>
                  </a:ext>
                </a:extLst>
              </p:cNvPr>
              <p:cNvGrpSpPr/>
              <p:nvPr userDrawn="1"/>
            </p:nvGrpSpPr>
            <p:grpSpPr>
              <a:xfrm>
                <a:off x="12771550" y="3403239"/>
                <a:ext cx="467156" cy="448491"/>
                <a:chOff x="12782177" y="3403239"/>
                <a:chExt cx="467156" cy="448491"/>
              </a:xfrm>
            </p:grpSpPr>
            <p:grpSp>
              <p:nvGrpSpPr>
                <p:cNvPr id="306" name="Groep 305">
                  <a:extLst>
                    <a:ext uri="{FF2B5EF4-FFF2-40B4-BE49-F238E27FC236}">
                      <a16:creationId xmlns:a16="http://schemas.microsoft.com/office/drawing/2014/main" id="{B81D7DA3-4A3E-4D5F-BB5D-6332A3D9EEDA}"/>
                    </a:ext>
                  </a:extLst>
                </p:cNvPr>
                <p:cNvGrpSpPr/>
                <p:nvPr userDrawn="1"/>
              </p:nvGrpSpPr>
              <p:grpSpPr>
                <a:xfrm>
                  <a:off x="12782177" y="3403239"/>
                  <a:ext cx="412972" cy="396132"/>
                  <a:chOff x="13554906" y="3320109"/>
                  <a:chExt cx="443912" cy="425811"/>
                </a:xfrm>
              </p:grpSpPr>
              <p:grpSp>
                <p:nvGrpSpPr>
                  <p:cNvPr id="313" name="Groep 312">
                    <a:extLst>
                      <a:ext uri="{FF2B5EF4-FFF2-40B4-BE49-F238E27FC236}">
                        <a16:creationId xmlns:a16="http://schemas.microsoft.com/office/drawing/2014/main" id="{5D61A1BD-3F89-47F4-91F3-DF18DA207DF5}"/>
                      </a:ext>
                    </a:extLst>
                  </p:cNvPr>
                  <p:cNvGrpSpPr/>
                  <p:nvPr userDrawn="1"/>
                </p:nvGrpSpPr>
                <p:grpSpPr>
                  <a:xfrm>
                    <a:off x="13554906" y="3320109"/>
                    <a:ext cx="443912" cy="425811"/>
                    <a:chOff x="12909684" y="1276143"/>
                    <a:chExt cx="443912" cy="425811"/>
                  </a:xfrm>
                </p:grpSpPr>
                <p:sp>
                  <p:nvSpPr>
                    <p:cNvPr id="316" name="Rechthoek 315">
                      <a:extLst>
                        <a:ext uri="{FF2B5EF4-FFF2-40B4-BE49-F238E27FC236}">
                          <a16:creationId xmlns:a16="http://schemas.microsoft.com/office/drawing/2014/main" id="{0573EF95-F9BC-4141-A716-D82C0DD18F4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17" name="Rechthoek 316">
                      <a:extLst>
                        <a:ext uri="{FF2B5EF4-FFF2-40B4-BE49-F238E27FC236}">
                          <a16:creationId xmlns:a16="http://schemas.microsoft.com/office/drawing/2014/main" id="{7BE96F61-E49B-4598-8E2D-4819D547BF1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18" name="Ovaal 317">
                      <a:extLst>
                        <a:ext uri="{FF2B5EF4-FFF2-40B4-BE49-F238E27FC236}">
                          <a16:creationId xmlns:a16="http://schemas.microsoft.com/office/drawing/2014/main" id="{D065EEDA-2197-41C5-A8D7-AB41362CC7F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314" name="Afbeelding 313">
                    <a:extLst>
                      <a:ext uri="{FF2B5EF4-FFF2-40B4-BE49-F238E27FC236}">
                        <a16:creationId xmlns:a16="http://schemas.microsoft.com/office/drawing/2014/main" id="{5BF571C6-AEA6-4BFE-916B-00407AFF703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315" name="Afbeelding 314">
                    <a:extLst>
                      <a:ext uri="{FF2B5EF4-FFF2-40B4-BE49-F238E27FC236}">
                        <a16:creationId xmlns:a16="http://schemas.microsoft.com/office/drawing/2014/main" id="{B72A5FDA-FEDD-4A1B-88D3-4993A77298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307" name="Groep 306">
                  <a:extLst>
                    <a:ext uri="{FF2B5EF4-FFF2-40B4-BE49-F238E27FC236}">
                      <a16:creationId xmlns:a16="http://schemas.microsoft.com/office/drawing/2014/main" id="{BE5E0931-05BF-4CD5-A164-6FE25ABB375B}"/>
                    </a:ext>
                  </a:extLst>
                </p:cNvPr>
                <p:cNvGrpSpPr/>
                <p:nvPr userDrawn="1"/>
              </p:nvGrpSpPr>
              <p:grpSpPr>
                <a:xfrm>
                  <a:off x="13103513" y="3705268"/>
                  <a:ext cx="145820" cy="146462"/>
                  <a:chOff x="13096169" y="3602278"/>
                  <a:chExt cx="145820" cy="146462"/>
                </a:xfrm>
              </p:grpSpPr>
              <p:sp>
                <p:nvSpPr>
                  <p:cNvPr id="311" name="Rechthoek 310">
                    <a:extLst>
                      <a:ext uri="{FF2B5EF4-FFF2-40B4-BE49-F238E27FC236}">
                        <a16:creationId xmlns:a16="http://schemas.microsoft.com/office/drawing/2014/main" id="{CFB237BF-B0AC-4077-96EC-3FF64595914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12" name="Rechthoek 311">
                    <a:extLst>
                      <a:ext uri="{FF2B5EF4-FFF2-40B4-BE49-F238E27FC236}">
                        <a16:creationId xmlns:a16="http://schemas.microsoft.com/office/drawing/2014/main" id="{D078669B-2F27-45AD-B89B-D435D46034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08" name="Groep 307">
                  <a:extLst>
                    <a:ext uri="{FF2B5EF4-FFF2-40B4-BE49-F238E27FC236}">
                      <a16:creationId xmlns:a16="http://schemas.microsoft.com/office/drawing/2014/main" id="{8DE2E413-D420-4D52-BFD8-82C988257295}"/>
                    </a:ext>
                  </a:extLst>
                </p:cNvPr>
                <p:cNvGrpSpPr/>
                <p:nvPr userDrawn="1"/>
              </p:nvGrpSpPr>
              <p:grpSpPr>
                <a:xfrm rot="10800000">
                  <a:off x="13061402" y="3665637"/>
                  <a:ext cx="145820" cy="146462"/>
                  <a:chOff x="13096169" y="3602278"/>
                  <a:chExt cx="145820" cy="146462"/>
                </a:xfrm>
              </p:grpSpPr>
              <p:sp>
                <p:nvSpPr>
                  <p:cNvPr id="309" name="Rechthoek 308">
                    <a:extLst>
                      <a:ext uri="{FF2B5EF4-FFF2-40B4-BE49-F238E27FC236}">
                        <a16:creationId xmlns:a16="http://schemas.microsoft.com/office/drawing/2014/main" id="{B352DFA1-840C-4463-A4B1-C49CD154DA1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10" name="Rechthoek 309">
                    <a:extLst>
                      <a:ext uri="{FF2B5EF4-FFF2-40B4-BE49-F238E27FC236}">
                        <a16:creationId xmlns:a16="http://schemas.microsoft.com/office/drawing/2014/main" id="{3BCDC9B7-B1C8-4773-BEBE-7E3F47A9A80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304" name="Rechthoek 303">
                <a:extLst>
                  <a:ext uri="{FF2B5EF4-FFF2-40B4-BE49-F238E27FC236}">
                    <a16:creationId xmlns:a16="http://schemas.microsoft.com/office/drawing/2014/main" id="{3A6BB184-50F3-4134-93D4-66F58DCD55F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305" name="Gelijkbenige driehoek 304">
                <a:extLst>
                  <a:ext uri="{FF2B5EF4-FFF2-40B4-BE49-F238E27FC236}">
                    <a16:creationId xmlns:a16="http://schemas.microsoft.com/office/drawing/2014/main" id="{E8FFE4C1-01DA-4D23-A79F-05051941143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80" name="Rechthoek 279">
              <a:extLst>
                <a:ext uri="{FF2B5EF4-FFF2-40B4-BE49-F238E27FC236}">
                  <a16:creationId xmlns:a16="http://schemas.microsoft.com/office/drawing/2014/main" id="{EE700D66-6647-4C09-B385-2C393BA53C41}"/>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281" name="Groep 280">
              <a:extLst>
                <a:ext uri="{FF2B5EF4-FFF2-40B4-BE49-F238E27FC236}">
                  <a16:creationId xmlns:a16="http://schemas.microsoft.com/office/drawing/2014/main" id="{2283EB88-1598-4E4D-A6FF-28E1477220BE}"/>
                </a:ext>
              </a:extLst>
            </p:cNvPr>
            <p:cNvGrpSpPr/>
            <p:nvPr userDrawn="1"/>
          </p:nvGrpSpPr>
          <p:grpSpPr>
            <a:xfrm>
              <a:off x="13678213" y="3399207"/>
              <a:ext cx="1222990" cy="563933"/>
              <a:chOff x="-2485819" y="3399207"/>
              <a:chExt cx="1222990" cy="563933"/>
            </a:xfrm>
          </p:grpSpPr>
          <p:sp>
            <p:nvSpPr>
              <p:cNvPr id="282" name="Rechthoek 281">
                <a:extLst>
                  <a:ext uri="{FF2B5EF4-FFF2-40B4-BE49-F238E27FC236}">
                    <a16:creationId xmlns:a16="http://schemas.microsoft.com/office/drawing/2014/main" id="{13E15A65-A5A7-494D-8062-0E1218734B4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83" name="Rechthoek 282">
                <a:extLst>
                  <a:ext uri="{FF2B5EF4-FFF2-40B4-BE49-F238E27FC236}">
                    <a16:creationId xmlns:a16="http://schemas.microsoft.com/office/drawing/2014/main" id="{4E8FDCCB-990F-4ADE-9E6F-F341893143A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F628F25A-F47B-4233-884D-0A5FE603E6F8}"/>
                  </a:ext>
                </a:extLst>
              </p:cNvPr>
              <p:cNvGrpSpPr/>
              <p:nvPr userDrawn="1"/>
            </p:nvGrpSpPr>
            <p:grpSpPr>
              <a:xfrm>
                <a:off x="-2403869" y="3460544"/>
                <a:ext cx="155951" cy="131922"/>
                <a:chOff x="12968836" y="3354170"/>
                <a:chExt cx="404806" cy="342433"/>
              </a:xfrm>
            </p:grpSpPr>
            <p:sp>
              <p:nvSpPr>
                <p:cNvPr id="297" name="Rechthoek: afgeronde hoeken 296">
                  <a:extLst>
                    <a:ext uri="{FF2B5EF4-FFF2-40B4-BE49-F238E27FC236}">
                      <a16:creationId xmlns:a16="http://schemas.microsoft.com/office/drawing/2014/main" id="{C6207971-E8D5-4B75-9211-B2047512497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98" name="Rechthoek 297">
                  <a:extLst>
                    <a:ext uri="{FF2B5EF4-FFF2-40B4-BE49-F238E27FC236}">
                      <a16:creationId xmlns:a16="http://schemas.microsoft.com/office/drawing/2014/main" id="{E288AD94-453A-4753-89CF-4DAEDA5B1D77}"/>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9" name="Rechthoek 298">
                  <a:extLst>
                    <a:ext uri="{FF2B5EF4-FFF2-40B4-BE49-F238E27FC236}">
                      <a16:creationId xmlns:a16="http://schemas.microsoft.com/office/drawing/2014/main" id="{C7538146-C83D-4CF5-B7CB-65D5699F7E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0" name="Rechthoek 299">
                  <a:extLst>
                    <a:ext uri="{FF2B5EF4-FFF2-40B4-BE49-F238E27FC236}">
                      <a16:creationId xmlns:a16="http://schemas.microsoft.com/office/drawing/2014/main" id="{72A21FD2-C98E-431E-9EA6-1CA0B07FD77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1" name="Rechthoek 300">
                  <a:extLst>
                    <a:ext uri="{FF2B5EF4-FFF2-40B4-BE49-F238E27FC236}">
                      <a16:creationId xmlns:a16="http://schemas.microsoft.com/office/drawing/2014/main" id="{E65687C7-E5B0-4605-8B33-546B9449DF4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2" name="Rechthoek 301">
                  <a:extLst>
                    <a:ext uri="{FF2B5EF4-FFF2-40B4-BE49-F238E27FC236}">
                      <a16:creationId xmlns:a16="http://schemas.microsoft.com/office/drawing/2014/main" id="{9CD8054A-0300-454D-AB22-B92F67A1209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92FC7118-EF45-4B7B-A527-69A141EBED49}"/>
                  </a:ext>
                </a:extLst>
              </p:cNvPr>
              <p:cNvGrpSpPr/>
              <p:nvPr userDrawn="1"/>
            </p:nvGrpSpPr>
            <p:grpSpPr>
              <a:xfrm>
                <a:off x="-2423424" y="3690208"/>
                <a:ext cx="166739" cy="218963"/>
                <a:chOff x="12940828" y="3950597"/>
                <a:chExt cx="432813" cy="568367"/>
              </a:xfrm>
            </p:grpSpPr>
            <p:grpSp>
              <p:nvGrpSpPr>
                <p:cNvPr id="289" name="Groep 288">
                  <a:extLst>
                    <a:ext uri="{FF2B5EF4-FFF2-40B4-BE49-F238E27FC236}">
                      <a16:creationId xmlns:a16="http://schemas.microsoft.com/office/drawing/2014/main" id="{A9A790F4-DE7E-45B9-9D2D-E93F639BABB8}"/>
                    </a:ext>
                  </a:extLst>
                </p:cNvPr>
                <p:cNvGrpSpPr/>
                <p:nvPr userDrawn="1"/>
              </p:nvGrpSpPr>
              <p:grpSpPr>
                <a:xfrm>
                  <a:off x="13000382" y="4006891"/>
                  <a:ext cx="373259" cy="315747"/>
                  <a:chOff x="12968836" y="3354170"/>
                  <a:chExt cx="404806" cy="342433"/>
                </a:xfrm>
              </p:grpSpPr>
              <p:sp>
                <p:nvSpPr>
                  <p:cNvPr id="291" name="Rechthoek: afgeronde hoeken 290">
                    <a:extLst>
                      <a:ext uri="{FF2B5EF4-FFF2-40B4-BE49-F238E27FC236}">
                        <a16:creationId xmlns:a16="http://schemas.microsoft.com/office/drawing/2014/main" id="{F9C3B55F-7BAA-4E62-8298-60333438302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92" name="Rechthoek 291">
                    <a:extLst>
                      <a:ext uri="{FF2B5EF4-FFF2-40B4-BE49-F238E27FC236}">
                        <a16:creationId xmlns:a16="http://schemas.microsoft.com/office/drawing/2014/main" id="{D5423D85-12CD-40F3-818C-8A18FAC3148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3" name="Rechthoek 292">
                    <a:extLst>
                      <a:ext uri="{FF2B5EF4-FFF2-40B4-BE49-F238E27FC236}">
                        <a16:creationId xmlns:a16="http://schemas.microsoft.com/office/drawing/2014/main" id="{45848C47-C7BE-465E-BB7C-AE7AA6D5652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4" name="Rechthoek 293">
                    <a:extLst>
                      <a:ext uri="{FF2B5EF4-FFF2-40B4-BE49-F238E27FC236}">
                        <a16:creationId xmlns:a16="http://schemas.microsoft.com/office/drawing/2014/main" id="{551E2356-DB2C-4146-8C36-73AF688DC86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5" name="Rechthoek 294">
                    <a:extLst>
                      <a:ext uri="{FF2B5EF4-FFF2-40B4-BE49-F238E27FC236}">
                        <a16:creationId xmlns:a16="http://schemas.microsoft.com/office/drawing/2014/main" id="{6B2B6BDC-BFEE-4767-81AE-49C1C8CE9EC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6" name="Rechthoek 295">
                    <a:extLst>
                      <a:ext uri="{FF2B5EF4-FFF2-40B4-BE49-F238E27FC236}">
                        <a16:creationId xmlns:a16="http://schemas.microsoft.com/office/drawing/2014/main" id="{5889D9B1-C858-45B3-B674-405A08CE588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90" name="Boog 289">
                  <a:extLst>
                    <a:ext uri="{FF2B5EF4-FFF2-40B4-BE49-F238E27FC236}">
                      <a16:creationId xmlns:a16="http://schemas.microsoft.com/office/drawing/2014/main" id="{16FF3F75-7734-4BD9-97E1-47BD58306F2A}"/>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286" name="Tekstvak 285">
                <a:extLst>
                  <a:ext uri="{FF2B5EF4-FFF2-40B4-BE49-F238E27FC236}">
                    <a16:creationId xmlns:a16="http://schemas.microsoft.com/office/drawing/2014/main" id="{08B59015-32DB-4DB4-95DF-BAFA4CDB2D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287" name="Tekstvak 286">
                <a:extLst>
                  <a:ext uri="{FF2B5EF4-FFF2-40B4-BE49-F238E27FC236}">
                    <a16:creationId xmlns:a16="http://schemas.microsoft.com/office/drawing/2014/main" id="{9294383D-54C7-4BE6-B66F-3BB857E6590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288" name="Vrije vorm: vorm 287">
                <a:extLst>
                  <a:ext uri="{FF2B5EF4-FFF2-40B4-BE49-F238E27FC236}">
                    <a16:creationId xmlns:a16="http://schemas.microsoft.com/office/drawing/2014/main" id="{C0E0663F-3F58-4E7D-A82B-037EEDBCCD3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 name="Tijdelijke aanduiding voor tekst 7">
            <a:extLst>
              <a:ext uri="{FF2B5EF4-FFF2-40B4-BE49-F238E27FC236}">
                <a16:creationId xmlns:a16="http://schemas.microsoft.com/office/drawing/2014/main" id="{ECA8D6F7-F80C-472B-84E7-C3DB75A8B4FE}"/>
              </a:ext>
            </a:extLst>
          </p:cNvPr>
          <p:cNvSpPr>
            <a:spLocks noGrp="1"/>
          </p:cNvSpPr>
          <p:nvPr>
            <p:ph type="body" sz="quarter" idx="13" hasCustomPrompt="1"/>
          </p:nvPr>
        </p:nvSpPr>
        <p:spPr>
          <a:xfrm>
            <a:off x="7176899" y="1676401"/>
            <a:ext cx="4226780" cy="3523954"/>
          </a:xfrm>
        </p:spPr>
        <p:txBody>
          <a:bodyPr anchor="ctr" anchorCtr="0"/>
          <a:lstStyle>
            <a:lvl1pPr marL="0" indent="0" algn="l" defTabSz="914400" rtl="0" eaLnBrk="1" latinLnBrk="0" hangingPunct="1">
              <a:lnSpc>
                <a:spcPct val="90000"/>
              </a:lnSpc>
              <a:spcBef>
                <a:spcPct val="0"/>
              </a:spcBef>
              <a:buNone/>
              <a:tabLst>
                <a:tab pos="1255713" algn="l"/>
              </a:tabLst>
              <a:defRPr lang="nl-NL" sz="4800" b="1" kern="1200" dirty="0" smtClean="0">
                <a:solidFill>
                  <a:schemeClr val="tx2"/>
                </a:solidFill>
                <a:latin typeface="+mj-lt"/>
                <a:ea typeface="+mj-ea"/>
                <a:cs typeface="+mj-cs"/>
              </a:defRPr>
            </a:lvl1pPr>
            <a:lvl2pPr marL="263525" indent="0">
              <a:buNone/>
              <a:defRPr/>
            </a:lvl2pPr>
          </a:lstStyle>
          <a:p>
            <a:pPr lvl="0"/>
            <a:r>
              <a:rPr lang="nl-NL"/>
              <a:t>“Plaats hier </a:t>
            </a:r>
            <a:br>
              <a:rPr lang="nl-NL"/>
            </a:br>
            <a:r>
              <a:rPr lang="nl-NL"/>
              <a:t>  je Quote”</a:t>
            </a:r>
          </a:p>
        </p:txBody>
      </p:sp>
    </p:spTree>
    <p:extLst>
      <p:ext uri="{BB962C8B-B14F-4D97-AF65-F5344CB8AC3E}">
        <p14:creationId xmlns:p14="http://schemas.microsoft.com/office/powerpoint/2010/main" val="271529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tro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38041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3600" b="1" i="0" baseline="0">
              <a:latin typeface="Arial"/>
              <a:ea typeface="+mj-ea"/>
              <a:cs typeface="+mj-cs"/>
              <a:sym typeface="Arial"/>
            </a:endParaRPr>
          </a:p>
        </p:txBody>
      </p:sp>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accent3"/>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pictogram als u een afbeelding wilt toevoegen</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1349574" y="2316401"/>
            <a:ext cx="9482420" cy="2288285"/>
          </a:xfrm>
        </p:spPr>
        <p:txBody>
          <a:bodyPr anchor="ctr" anchorCtr="0"/>
          <a:lstStyle>
            <a:lvl1pPr algn="ctr">
              <a:defRPr sz="3600">
                <a:solidFill>
                  <a:schemeClr val="tx2"/>
                </a:solidFill>
              </a:defRPr>
            </a:lvl1pPr>
          </a:lstStyle>
          <a:p>
            <a:r>
              <a:rPr lang="nl-NL"/>
              <a:t>Plaats hier naam presentatie, max. 2 regels</a:t>
            </a:r>
          </a:p>
        </p:txBody>
      </p:sp>
    </p:spTree>
    <p:extLst>
      <p:ext uri="{BB962C8B-B14F-4D97-AF65-F5344CB8AC3E}">
        <p14:creationId xmlns:p14="http://schemas.microsoft.com/office/powerpoint/2010/main" val="2761697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Inhoudsopgave">
    <p:spTree>
      <p:nvGrpSpPr>
        <p:cNvPr id="1" name=""/>
        <p:cNvGrpSpPr/>
        <p:nvPr/>
      </p:nvGrpSpPr>
      <p:grpSpPr>
        <a:xfrm>
          <a:off x="0" y="0"/>
          <a:ext cx="0" cy="0"/>
          <a:chOff x="0" y="0"/>
          <a:chExt cx="0" cy="0"/>
        </a:xfrm>
      </p:grpSpPr>
      <p:sp>
        <p:nvSpPr>
          <p:cNvPr id="24" name="Vrije vorm: vorm 23">
            <a:extLst>
              <a:ext uri="{FF2B5EF4-FFF2-40B4-BE49-F238E27FC236}">
                <a16:creationId xmlns:a16="http://schemas.microsoft.com/office/drawing/2014/main" id="{1A88944A-4CF2-45B8-9B1B-0645279B74C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3" name="Tijdelijke aanduiding voor verticale tekst 2"/>
          <p:cNvSpPr>
            <a:spLocks noGrp="1"/>
          </p:cNvSpPr>
          <p:nvPr>
            <p:ph type="body" orient="vert" idx="1" hasCustomPrompt="1"/>
          </p:nvPr>
        </p:nvSpPr>
        <p:spPr>
          <a:xfrm>
            <a:off x="515940" y="13507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bij voorkeur titels van de slides in de presentatie en zorg voor herkenbare piramide – zorg dat de blokken samen een logisch oplopende samenvatting van je verhaal zijn</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71" name="Tijdelijke aanduiding voor verticale tekst 2">
            <a:extLst>
              <a:ext uri="{FF2B5EF4-FFF2-40B4-BE49-F238E27FC236}">
                <a16:creationId xmlns:a16="http://schemas.microsoft.com/office/drawing/2014/main" id="{FE290CDF-749E-45F0-844F-4806A956D0AA}"/>
              </a:ext>
            </a:extLst>
          </p:cNvPr>
          <p:cNvSpPr>
            <a:spLocks noGrp="1"/>
          </p:cNvSpPr>
          <p:nvPr>
            <p:ph type="body" orient="vert" idx="13" hasCustomPrompt="1"/>
          </p:nvPr>
        </p:nvSpPr>
        <p:spPr>
          <a:xfrm>
            <a:off x="515940" y="23739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deze slide en accentueer het te bespreken onderwerp (lichtblauw)</a:t>
            </a:r>
          </a:p>
        </p:txBody>
      </p:sp>
      <p:sp>
        <p:nvSpPr>
          <p:cNvPr id="173" name="Tijdelijke aanduiding voor verticale tekst 2">
            <a:extLst>
              <a:ext uri="{FF2B5EF4-FFF2-40B4-BE49-F238E27FC236}">
                <a16:creationId xmlns:a16="http://schemas.microsoft.com/office/drawing/2014/main" id="{8C347347-F4D9-4B0A-B408-EE867EE63246}"/>
              </a:ext>
            </a:extLst>
          </p:cNvPr>
          <p:cNvSpPr>
            <a:spLocks noGrp="1"/>
          </p:cNvSpPr>
          <p:nvPr>
            <p:ph type="body" orient="vert" idx="14" hasCustomPrompt="1"/>
          </p:nvPr>
        </p:nvSpPr>
        <p:spPr>
          <a:xfrm>
            <a:off x="515940" y="33971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ebruik volzinnen van maximaal 15 woorden in de titel, gebruik geen punten</a:t>
            </a:r>
          </a:p>
        </p:txBody>
      </p:sp>
      <p:sp>
        <p:nvSpPr>
          <p:cNvPr id="174" name="Tijdelijke aanduiding voor verticale tekst 2">
            <a:extLst>
              <a:ext uri="{FF2B5EF4-FFF2-40B4-BE49-F238E27FC236}">
                <a16:creationId xmlns:a16="http://schemas.microsoft.com/office/drawing/2014/main" id="{3B6ACEE2-7D5F-4223-B109-7E58AD9898E2}"/>
              </a:ext>
            </a:extLst>
          </p:cNvPr>
          <p:cNvSpPr>
            <a:spLocks noGrp="1"/>
          </p:cNvSpPr>
          <p:nvPr>
            <p:ph type="body" orient="vert" idx="15" hasCustomPrompt="1"/>
          </p:nvPr>
        </p:nvSpPr>
        <p:spPr>
          <a:xfrm>
            <a:off x="515940" y="44203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Lettertype grootte is Arial 14pt</a:t>
            </a:r>
          </a:p>
        </p:txBody>
      </p:sp>
      <p:sp>
        <p:nvSpPr>
          <p:cNvPr id="175" name="Tijdelijke aanduiding voor verticale tekst 2">
            <a:extLst>
              <a:ext uri="{FF2B5EF4-FFF2-40B4-BE49-F238E27FC236}">
                <a16:creationId xmlns:a16="http://schemas.microsoft.com/office/drawing/2014/main" id="{6DC1EEB1-7AFB-4F24-B984-79C4741696C5}"/>
              </a:ext>
            </a:extLst>
          </p:cNvPr>
          <p:cNvSpPr>
            <a:spLocks noGrp="1"/>
          </p:cNvSpPr>
          <p:nvPr>
            <p:ph type="body" orient="vert" idx="16" hasCustomPrompt="1"/>
          </p:nvPr>
        </p:nvSpPr>
        <p:spPr>
          <a:xfrm>
            <a:off x="515940" y="5443510"/>
            <a:ext cx="7498975" cy="890063"/>
          </a:xfrm>
          <a:solidFill>
            <a:schemeClr val="bg1"/>
          </a:solidFill>
          <a:ln>
            <a:solidFill>
              <a:srgbClr val="DCEBF3"/>
            </a:solidFill>
          </a:ln>
        </p:spPr>
        <p:txBody>
          <a:bodyPr vert="horz" lIns="144000" tIns="144000" rIns="144000" bIns="144000" anchor="ctr"/>
          <a:lstStyle>
            <a:lvl1pPr marL="0" indent="0">
              <a:buFontTx/>
              <a:buNone/>
              <a:defRPr sz="1400" baseline="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a voor kleuren en iconen naar </a:t>
            </a:r>
            <a:r>
              <a:rPr lang="nl-NL" err="1"/>
              <a:t>frontify</a:t>
            </a:r>
            <a:r>
              <a:rPr lang="nl-NL"/>
              <a:t>. Nog geen toegang? Vraag het aan via </a:t>
            </a:r>
            <a:r>
              <a:rPr lang="nl-NL">
                <a:effectLst/>
                <a:hlinkClick r:id="rId2"/>
              </a:rPr>
              <a:t>huisstijl@zilverenkruis.nl</a:t>
            </a:r>
            <a:endParaRPr lang="nl-NL"/>
          </a:p>
        </p:txBody>
      </p:sp>
    </p:spTree>
    <p:extLst>
      <p:ext uri="{BB962C8B-B14F-4D97-AF65-F5344CB8AC3E}">
        <p14:creationId xmlns:p14="http://schemas.microsoft.com/office/powerpoint/2010/main" val="1640721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304248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3921713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jdelijke aanduiding voor verticale tekst 2"/>
          <p:cNvSpPr>
            <a:spLocks noGrp="1"/>
          </p:cNvSpPr>
          <p:nvPr>
            <p:ph type="body" orient="vert" idx="1" hasCustomPrompt="1"/>
          </p:nvPr>
        </p:nvSpPr>
        <p:spPr>
          <a:xfrm>
            <a:off x="515940" y="1808162"/>
            <a:ext cx="11155359" cy="4527551"/>
          </a:xfrm>
        </p:spPr>
        <p:txBody>
          <a:bodyPr vert="horz" lIns="0" tIns="0" rIns="0" bIns="0"/>
          <a:lstStyle>
            <a:lvl1pPr marL="263525" indent="-263525">
              <a:lnSpc>
                <a:spcPct val="150000"/>
              </a:lnSpc>
              <a:spcAft>
                <a:spcPts val="0"/>
              </a:spcAft>
              <a:buFont typeface="Arial" panose="020B0604020202020204" pitchFamily="34" charset="0"/>
              <a:buChar char="•"/>
              <a:defRPr sz="1400" b="0" baseline="0">
                <a:solidFill>
                  <a:schemeClr val="tx2"/>
                </a:solidFill>
                <a:latin typeface="+mj-lt"/>
              </a:defRPr>
            </a:lvl1pPr>
            <a:lvl2pPr marL="538163" indent="-274638">
              <a:lnSpc>
                <a:spcPct val="150000"/>
              </a:lnSpc>
              <a:spcAft>
                <a:spcPts val="0"/>
              </a:spcAft>
              <a:buFont typeface="Arial" panose="020B0604020202020204" pitchFamily="34" charset="0"/>
              <a:buChar char="•"/>
              <a:defRPr sz="1400" b="0">
                <a:solidFill>
                  <a:schemeClr val="tx2"/>
                </a:solidFill>
                <a:latin typeface="+mj-lt"/>
              </a:defRPr>
            </a:lvl2pPr>
            <a:lvl3pPr marL="808038" marR="0" indent="-273050" algn="l" defTabSz="719138" rtl="0" eaLnBrk="1" fontAlgn="auto" latinLnBrk="0" hangingPunct="1">
              <a:lnSpc>
                <a:spcPct val="150000"/>
              </a:lnSpc>
              <a:spcBef>
                <a:spcPts val="0"/>
              </a:spcBef>
              <a:spcAft>
                <a:spcPts val="0"/>
              </a:spcAft>
              <a:buClr>
                <a:schemeClr val="tx2"/>
              </a:buClr>
              <a:buSzPct val="100000"/>
              <a:buFont typeface="Arial" panose="020B0604020202020204" pitchFamily="34" charset="0"/>
              <a:buChar char="•"/>
              <a:tabLst/>
              <a:defRPr sz="1400" b="0" baseline="0">
                <a:solidFill>
                  <a:schemeClr val="tx2"/>
                </a:solidFill>
                <a:latin typeface="+mj-lt"/>
              </a:defRPr>
            </a:lvl3pPr>
            <a:lvl4pPr marL="1081088" indent="-273050">
              <a:lnSpc>
                <a:spcPct val="150000"/>
              </a:lnSpc>
              <a:spcAft>
                <a:spcPts val="0"/>
              </a:spcAft>
              <a:buSzPct val="100000"/>
              <a:buFont typeface="Arial" panose="020B0604020202020204" pitchFamily="34" charset="0"/>
              <a:buChar char="•"/>
              <a:defRPr sz="1400" b="0" baseline="0">
                <a:solidFill>
                  <a:schemeClr val="tx2"/>
                </a:solidFill>
                <a:latin typeface="+mj-lt"/>
              </a:defRPr>
            </a:lvl4pPr>
            <a:lvl5pPr marL="1341438" indent="-285750">
              <a:lnSpc>
                <a:spcPct val="150000"/>
              </a:lnSpc>
              <a:buFont typeface="Arial" panose="020B0604020202020204" pitchFamily="34" charset="0"/>
              <a:buChar char="•"/>
              <a:defRPr sz="1400" baseline="0"/>
            </a:lvl5pPr>
            <a:lvl6pPr marL="549275" indent="-285750">
              <a:buFont typeface="Wingdings" panose="05000000000000000000" pitchFamily="2" charset="2"/>
              <a:buChar char="§"/>
              <a:defRPr/>
            </a:lvl6pPr>
            <a:lvl7pPr>
              <a:defRPr/>
            </a:lvl7pPr>
            <a:lvl8pPr>
              <a:defRPr/>
            </a:lvl8pPr>
            <a:lvl9pPr>
              <a:defRPr/>
            </a:lvl9pPr>
          </a:lstStyle>
          <a:p>
            <a:pPr lvl="0"/>
            <a:r>
              <a:rPr lang="nl-NL"/>
              <a:t>Bullet niveau 1</a:t>
            </a:r>
          </a:p>
          <a:p>
            <a:pPr lvl="1"/>
            <a:r>
              <a:rPr lang="nl-NL"/>
              <a:t>Bullet niveau 2</a:t>
            </a:r>
          </a:p>
          <a:p>
            <a:pPr lvl="2"/>
            <a:r>
              <a:rPr lang="nl-NL"/>
              <a:t>Bullet niveau 3</a:t>
            </a:r>
          </a:p>
          <a:p>
            <a:pPr lvl="3"/>
            <a:r>
              <a:rPr lang="nl-NL"/>
              <a:t>Bullet niveau 4</a:t>
            </a:r>
          </a:p>
          <a:p>
            <a:pPr lvl="4"/>
            <a:r>
              <a:rPr lang="nl-NL"/>
              <a:t>Bullet niveau 5</a:t>
            </a:r>
          </a:p>
        </p:txBody>
      </p:sp>
    </p:spTree>
    <p:extLst>
      <p:ext uri="{BB962C8B-B14F-4D97-AF65-F5344CB8AC3E}">
        <p14:creationId xmlns:p14="http://schemas.microsoft.com/office/powerpoint/2010/main" val="384889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18" name="Rechte verbindingslijn 17"/>
          <p:cNvCxnSpPr/>
          <p:nvPr userDrawn="1"/>
        </p:nvCxnSpPr>
        <p:spPr>
          <a:xfrm>
            <a:off x="524404" y="1801284"/>
            <a:ext cx="111601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520700" y="1585840"/>
            <a:ext cx="11153775" cy="215444"/>
          </a:xfrm>
          <a:ln>
            <a:noFill/>
          </a:ln>
        </p:spPr>
        <p:txBody>
          <a:bodyPr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1999045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5841B011-48F0-4CB1-9688-5F4BEC7DE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tekst 2"/>
          <p:cNvSpPr>
            <a:spLocks noGrp="1"/>
          </p:cNvSpPr>
          <p:nvPr>
            <p:ph idx="1"/>
          </p:nvPr>
        </p:nvSpPr>
        <p:spPr>
          <a:xfrm>
            <a:off x="1730326" y="1702191"/>
            <a:ext cx="9623474" cy="4474772"/>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2">
            <a:extLst>
              <a:ext uri="{FF2B5EF4-FFF2-40B4-BE49-F238E27FC236}">
                <a16:creationId xmlns:a16="http://schemas.microsoft.com/office/drawing/2014/main" id="{A8A2F9E3-434A-4B5C-BB25-0457CE1DE7B3}"/>
              </a:ext>
            </a:extLst>
          </p:cNvPr>
          <p:cNvSpPr>
            <a:spLocks noGrp="1"/>
          </p:cNvSpPr>
          <p:nvPr>
            <p:ph type="dt" sz="half" idx="10"/>
          </p:nvPr>
        </p:nvSpPr>
        <p:spPr/>
        <p:txBody>
          <a:bodyPr/>
          <a:lstStyle>
            <a:lvl1pPr>
              <a:defRPr smtClean="0">
                <a:solidFill>
                  <a:schemeClr val="bg1"/>
                </a:solidFill>
              </a:defRPr>
            </a:lvl1pPr>
          </a:lstStyle>
          <a:p>
            <a:pPr>
              <a:defRPr/>
            </a:pPr>
            <a:fld id="{25BBEDA8-D7FF-425F-8480-816AD2C4DAFF}" type="datetimeFigureOut">
              <a:rPr lang="nl-NL"/>
              <a:pPr>
                <a:defRPr/>
              </a:pPr>
              <a:t>28-9-2022</a:t>
            </a:fld>
            <a:endParaRPr lang="nl-NL" dirty="0"/>
          </a:p>
        </p:txBody>
      </p:sp>
      <p:sp>
        <p:nvSpPr>
          <p:cNvPr id="5" name="Tijdelijke aanduiding voor voettekst 3">
            <a:extLst>
              <a:ext uri="{FF2B5EF4-FFF2-40B4-BE49-F238E27FC236}">
                <a16:creationId xmlns:a16="http://schemas.microsoft.com/office/drawing/2014/main" id="{4DE51EB4-DBA7-4398-BFDE-646CE2CCEE66}"/>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4">
            <a:extLst>
              <a:ext uri="{FF2B5EF4-FFF2-40B4-BE49-F238E27FC236}">
                <a16:creationId xmlns:a16="http://schemas.microsoft.com/office/drawing/2014/main" id="{3BE7436C-E958-47D1-9F62-CDB11822BE67}"/>
              </a:ext>
            </a:extLst>
          </p:cNvPr>
          <p:cNvSpPr>
            <a:spLocks noGrp="1"/>
          </p:cNvSpPr>
          <p:nvPr>
            <p:ph type="sldNum" sz="quarter" idx="12"/>
          </p:nvPr>
        </p:nvSpPr>
        <p:spPr/>
        <p:txBody>
          <a:bodyPr/>
          <a:lstStyle>
            <a:lvl1pPr>
              <a:defRPr smtClean="0">
                <a:solidFill>
                  <a:schemeClr val="bg1"/>
                </a:solidFill>
              </a:defRPr>
            </a:lvl1pPr>
          </a:lstStyle>
          <a:p>
            <a:pPr>
              <a:defRPr/>
            </a:pPr>
            <a:fld id="{BDA22C28-B12B-4781-A426-1BB04CB46E99}" type="slidenum">
              <a:rPr lang="nl-NL"/>
              <a:pPr>
                <a:defRPr/>
              </a:pPr>
              <a:t>‹nr.›</a:t>
            </a:fld>
            <a:endParaRPr lang="nl-NL" dirty="0"/>
          </a:p>
        </p:txBody>
      </p:sp>
    </p:spTree>
    <p:extLst>
      <p:ext uri="{BB962C8B-B14F-4D97-AF65-F5344CB8AC3E}">
        <p14:creationId xmlns:p14="http://schemas.microsoft.com/office/powerpoint/2010/main" val="139851731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1569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6362396"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24" name="Text Placeholder 3"/>
          <p:cNvSpPr>
            <a:spLocks noGrp="1"/>
          </p:cNvSpPr>
          <p:nvPr>
            <p:ph type="body" sz="quarter" idx="14" hasCustomPrompt="1"/>
          </p:nvPr>
        </p:nvSpPr>
        <p:spPr>
          <a:xfrm>
            <a:off x="63500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1283083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2021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1" name="Rechte verbindingslijn 20"/>
          <p:cNvCxnSpPr/>
          <p:nvPr userDrawn="1"/>
        </p:nvCxnSpPr>
        <p:spPr>
          <a:xfrm>
            <a:off x="525462"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4309269"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8093075"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 Placeholder 3"/>
          <p:cNvSpPr>
            <a:spLocks noGrp="1"/>
          </p:cNvSpPr>
          <p:nvPr>
            <p:ph type="body" sz="quarter" idx="13" hasCustomPrompt="1"/>
          </p:nvPr>
        </p:nvSpPr>
        <p:spPr>
          <a:xfrm>
            <a:off x="520699"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5" name="Text Placeholder 3"/>
          <p:cNvSpPr>
            <a:spLocks noGrp="1"/>
          </p:cNvSpPr>
          <p:nvPr>
            <p:ph type="body" sz="quarter" idx="14" hasCustomPrompt="1"/>
          </p:nvPr>
        </p:nvSpPr>
        <p:spPr>
          <a:xfrm>
            <a:off x="4306887"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6" name="Text Placeholder 3"/>
          <p:cNvSpPr>
            <a:spLocks noGrp="1"/>
          </p:cNvSpPr>
          <p:nvPr>
            <p:ph type="body" sz="quarter" idx="15" hasCustomPrompt="1"/>
          </p:nvPr>
        </p:nvSpPr>
        <p:spPr>
          <a:xfrm>
            <a:off x="8093075"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2943630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55248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3365824"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userDrawn="1"/>
        </p:nvCxnSpPr>
        <p:spPr>
          <a:xfrm>
            <a:off x="6208081"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9050337"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13" hasCustomPrompt="1"/>
          </p:nvPr>
        </p:nvSpPr>
        <p:spPr>
          <a:xfrm>
            <a:off x="520700"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1" name="Text Placeholder 3"/>
          <p:cNvSpPr>
            <a:spLocks noGrp="1"/>
          </p:cNvSpPr>
          <p:nvPr>
            <p:ph type="body" sz="quarter" idx="14" hasCustomPrompt="1"/>
          </p:nvPr>
        </p:nvSpPr>
        <p:spPr>
          <a:xfrm>
            <a:off x="6208081"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2" name="Text Placeholder 3"/>
          <p:cNvSpPr>
            <a:spLocks noGrp="1"/>
          </p:cNvSpPr>
          <p:nvPr>
            <p:ph type="body" sz="quarter" idx="15" hasCustomPrompt="1"/>
          </p:nvPr>
        </p:nvSpPr>
        <p:spPr>
          <a:xfrm>
            <a:off x="3365824"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3" name="Text Placeholder 3"/>
          <p:cNvSpPr>
            <a:spLocks noGrp="1"/>
          </p:cNvSpPr>
          <p:nvPr>
            <p:ph type="body" sz="quarter" idx="16" hasCustomPrompt="1"/>
          </p:nvPr>
        </p:nvSpPr>
        <p:spPr>
          <a:xfrm>
            <a:off x="9050337"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2353801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 grafiek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0"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7228389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Grafiek en tekstblo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39" y="517525"/>
            <a:ext cx="7920000" cy="582850"/>
          </a:xfrm>
        </p:spPr>
        <p:txBody>
          <a:bodyPr lIns="0" tIns="0" rIns="0" bIns="0"/>
          <a:lstStyle>
            <a:lvl1pPr>
              <a:defRPr sz="2200"/>
            </a:lvl1pPr>
          </a:lstStyle>
          <a:p>
            <a:r>
              <a:rPr lang="nl-NL"/>
              <a:t>Titel, gebruik volzinnen, zorg dat de boodschap aansluit op de slide, max. 15 woorden, geen punt – Arial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8" name="Rechthoek 17">
            <a:extLst>
              <a:ext uri="{FF2B5EF4-FFF2-40B4-BE49-F238E27FC236}">
                <a16:creationId xmlns:a16="http://schemas.microsoft.com/office/drawing/2014/main" id="{C525B69E-5D09-42FF-8F54-0BE3F44BAE8B}"/>
              </a:ext>
            </a:extLst>
          </p:cNvPr>
          <p:cNvSpPr/>
          <p:nvPr userDrawn="1"/>
        </p:nvSpPr>
        <p:spPr>
          <a:xfrm>
            <a:off x="8652219" y="517525"/>
            <a:ext cx="3019074" cy="58314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Tijdelijke aanduiding voor tekst 3">
            <a:extLst>
              <a:ext uri="{FF2B5EF4-FFF2-40B4-BE49-F238E27FC236}">
                <a16:creationId xmlns:a16="http://schemas.microsoft.com/office/drawing/2014/main" id="{06E25283-08E7-4282-86E9-576442C89149}"/>
              </a:ext>
            </a:extLst>
          </p:cNvPr>
          <p:cNvSpPr>
            <a:spLocks noGrp="1"/>
          </p:cNvSpPr>
          <p:nvPr>
            <p:ph type="body" sz="quarter" idx="15" hasCustomPrompt="1"/>
          </p:nvPr>
        </p:nvSpPr>
        <p:spPr>
          <a:xfrm>
            <a:off x="8926848" y="807579"/>
            <a:ext cx="2452215" cy="570455"/>
          </a:xfrm>
        </p:spPr>
        <p:txBody>
          <a:bodyPr/>
          <a:lstStyle>
            <a:lvl1pPr marL="0" indent="0">
              <a:spcAft>
                <a:spcPts val="0"/>
              </a:spcAft>
              <a:buNone/>
              <a:defRPr sz="1800" b="1">
                <a:solidFill>
                  <a:schemeClr val="tx2"/>
                </a:solidFill>
              </a:defRPr>
            </a:lvl1pPr>
          </a:lstStyle>
          <a:p>
            <a:pPr lvl="0"/>
            <a:r>
              <a:rPr lang="nl-NL"/>
              <a:t>Subtitel </a:t>
            </a:r>
            <a:br>
              <a:rPr lang="nl-NL"/>
            </a:br>
            <a:r>
              <a:rPr lang="nl-NL"/>
              <a:t>maximaal 2 regels </a:t>
            </a:r>
          </a:p>
        </p:txBody>
      </p:sp>
      <p:sp>
        <p:nvSpPr>
          <p:cNvPr id="29" name="Tijdelijke aanduiding voor verticale tekst 2">
            <a:extLst>
              <a:ext uri="{FF2B5EF4-FFF2-40B4-BE49-F238E27FC236}">
                <a16:creationId xmlns:a16="http://schemas.microsoft.com/office/drawing/2014/main" id="{9F205ACE-098F-4DFA-A6B0-1D838BF5E101}"/>
              </a:ext>
            </a:extLst>
          </p:cNvPr>
          <p:cNvSpPr>
            <a:spLocks noGrp="1"/>
          </p:cNvSpPr>
          <p:nvPr>
            <p:ph type="body" orient="vert" idx="1" hasCustomPrompt="1"/>
          </p:nvPr>
        </p:nvSpPr>
        <p:spPr>
          <a:xfrm>
            <a:off x="8926849" y="1801284"/>
            <a:ext cx="2452214" cy="4293682"/>
          </a:xfrm>
          <a:noFill/>
        </p:spPr>
        <p:txBody>
          <a:bodyPr vert="horz" lIns="0" tIns="0" rIns="0" bIns="0" anchor="t"/>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Plaats hier tekst, Arial 14 pt</a:t>
            </a:r>
          </a:p>
        </p:txBody>
      </p:sp>
      <p:cxnSp>
        <p:nvCxnSpPr>
          <p:cNvPr id="25" name="Rechte verbindingslijn 21"/>
          <p:cNvCxnSpPr/>
          <p:nvPr userDrawn="1"/>
        </p:nvCxnSpPr>
        <p:spPr>
          <a:xfrm>
            <a:off x="525462" y="1801284"/>
            <a:ext cx="794882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3" hasCustomPrompt="1"/>
          </p:nvPr>
        </p:nvSpPr>
        <p:spPr>
          <a:xfrm>
            <a:off x="520700" y="1585840"/>
            <a:ext cx="7948941" cy="215444"/>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1615764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Tekst en Illustratie">
    <p:bg>
      <p:bgPr>
        <a:solidFill>
          <a:schemeClr val="bg1"/>
        </a:solidFill>
        <a:effectLst/>
      </p:bgPr>
    </p:bg>
    <p:spTree>
      <p:nvGrpSpPr>
        <p:cNvPr id="1" name=""/>
        <p:cNvGrpSpPr/>
        <p:nvPr/>
      </p:nvGrpSpPr>
      <p:grpSpPr>
        <a:xfrm>
          <a:off x="0" y="0"/>
          <a:ext cx="0" cy="0"/>
          <a:chOff x="0" y="0"/>
          <a:chExt cx="0" cy="0"/>
        </a:xfrm>
      </p:grpSpPr>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afbeelding 8">
            <a:extLst>
              <a:ext uri="{FF2B5EF4-FFF2-40B4-BE49-F238E27FC236}">
                <a16:creationId xmlns:a16="http://schemas.microsoft.com/office/drawing/2014/main" id="{1EB01BAA-A260-4B36-BC7A-6D5D3E1E63EC}"/>
              </a:ext>
            </a:extLst>
          </p:cNvPr>
          <p:cNvSpPr>
            <a:spLocks noGrp="1"/>
          </p:cNvSpPr>
          <p:nvPr>
            <p:ph type="pic" sz="quarter" idx="14"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illustratie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7" name="Tijdelijke aanduiding voor voettekst 4">
            <a:extLst>
              <a:ext uri="{FF2B5EF4-FFF2-40B4-BE49-F238E27FC236}">
                <a16:creationId xmlns:a16="http://schemas.microsoft.com/office/drawing/2014/main" id="{32CDE956-D452-49A3-8677-A34CC14281C3}"/>
              </a:ext>
            </a:extLst>
          </p:cNvPr>
          <p:cNvSpPr>
            <a:spLocks noGrp="1"/>
          </p:cNvSpPr>
          <p:nvPr>
            <p:ph type="ftr" sz="quarter" idx="11"/>
          </p:nvPr>
        </p:nvSpPr>
        <p:spPr>
          <a:xfrm>
            <a:off x="521553" y="6472835"/>
            <a:ext cx="6273800" cy="225817"/>
          </a:xfrm>
        </p:spPr>
        <p:txBody>
          <a:bodyPr/>
          <a:lstStyle/>
          <a:p>
            <a:r>
              <a:rPr lang="nl-NL"/>
              <a:t>Zilveren Kruis | Interne verhaallijn Inkoopbeleid MSZ 2023</a:t>
            </a:r>
          </a:p>
        </p:txBody>
      </p:sp>
      <p:sp>
        <p:nvSpPr>
          <p:cNvPr id="9" name="Tijdelijke aanduiding voor dianummer 5">
            <a:extLst>
              <a:ext uri="{FF2B5EF4-FFF2-40B4-BE49-F238E27FC236}">
                <a16:creationId xmlns:a16="http://schemas.microsoft.com/office/drawing/2014/main" id="{F1D2D9A1-25D8-4701-8B3B-BA1F291467AF}"/>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grpSp>
        <p:nvGrpSpPr>
          <p:cNvPr id="10" name="INSTRUCTIE">
            <a:extLst>
              <a:ext uri="{FF2B5EF4-FFF2-40B4-BE49-F238E27FC236}">
                <a16:creationId xmlns:a16="http://schemas.microsoft.com/office/drawing/2014/main" id="{568A66DE-6BDF-4931-896D-DED193EB6608}"/>
              </a:ext>
            </a:extLst>
          </p:cNvPr>
          <p:cNvGrpSpPr/>
          <p:nvPr userDrawn="1"/>
        </p:nvGrpSpPr>
        <p:grpSpPr>
          <a:xfrm>
            <a:off x="8469641" y="7033211"/>
            <a:ext cx="3727954" cy="1728407"/>
            <a:chOff x="5846" y="7033211"/>
            <a:chExt cx="3727954" cy="1728407"/>
          </a:xfrm>
        </p:grpSpPr>
        <p:sp>
          <p:nvSpPr>
            <p:cNvPr id="11" name="Rechthoek 10">
              <a:extLst>
                <a:ext uri="{FF2B5EF4-FFF2-40B4-BE49-F238E27FC236}">
                  <a16:creationId xmlns:a16="http://schemas.microsoft.com/office/drawing/2014/main" id="{22C28782-FA9D-4CEB-A85B-39D346338898}"/>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12" name="Ovaal 11">
              <a:extLst>
                <a:ext uri="{FF2B5EF4-FFF2-40B4-BE49-F238E27FC236}">
                  <a16:creationId xmlns:a16="http://schemas.microsoft.com/office/drawing/2014/main" id="{CF5E2766-FF55-4FC8-9BC2-8075E249897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1B6A82AD-02E3-418F-81A1-0FAB54D8195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A43A0D93-B755-40BA-8E2B-60026BAA60EA}"/>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2A5FA903-7199-4323-A79F-02AAA8D02CF9}"/>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6" name="Groep 15">
              <a:extLst>
                <a:ext uri="{FF2B5EF4-FFF2-40B4-BE49-F238E27FC236}">
                  <a16:creationId xmlns:a16="http://schemas.microsoft.com/office/drawing/2014/main" id="{53F12ABE-8F57-494B-9F01-957F64D77EAE}"/>
                </a:ext>
              </a:extLst>
            </p:cNvPr>
            <p:cNvGrpSpPr/>
            <p:nvPr userDrawn="1"/>
          </p:nvGrpSpPr>
          <p:grpSpPr>
            <a:xfrm>
              <a:off x="2939884" y="7739834"/>
              <a:ext cx="681133" cy="750023"/>
              <a:chOff x="-910573" y="4987990"/>
              <a:chExt cx="681133" cy="750023"/>
            </a:xfrm>
          </p:grpSpPr>
          <p:grpSp>
            <p:nvGrpSpPr>
              <p:cNvPr id="17" name="Groep 16">
                <a:extLst>
                  <a:ext uri="{FF2B5EF4-FFF2-40B4-BE49-F238E27FC236}">
                    <a16:creationId xmlns:a16="http://schemas.microsoft.com/office/drawing/2014/main" id="{100612B9-F78A-47E2-BBFC-C8F6A872FCD5}"/>
                  </a:ext>
                </a:extLst>
              </p:cNvPr>
              <p:cNvGrpSpPr/>
              <p:nvPr userDrawn="1"/>
            </p:nvGrpSpPr>
            <p:grpSpPr>
              <a:xfrm>
                <a:off x="-713542" y="4987990"/>
                <a:ext cx="287071" cy="379107"/>
                <a:chOff x="-4050578" y="288410"/>
                <a:chExt cx="322125" cy="379107"/>
              </a:xfrm>
            </p:grpSpPr>
            <p:sp>
              <p:nvSpPr>
                <p:cNvPr id="19" name="Rechthoek met één afgeknipte en afgeronde hoek 47">
                  <a:extLst>
                    <a:ext uri="{FF2B5EF4-FFF2-40B4-BE49-F238E27FC236}">
                      <a16:creationId xmlns:a16="http://schemas.microsoft.com/office/drawing/2014/main" id="{E9194416-5529-47FE-B07C-84E38D2BA7E0}"/>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ige driehoek 19">
                  <a:extLst>
                    <a:ext uri="{FF2B5EF4-FFF2-40B4-BE49-F238E27FC236}">
                      <a16:creationId xmlns:a16="http://schemas.microsoft.com/office/drawing/2014/main" id="{E964EA91-4577-4C60-A085-F49C7AFBFD08}"/>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1" name="Rechthoek 20">
                  <a:extLst>
                    <a:ext uri="{FF2B5EF4-FFF2-40B4-BE49-F238E27FC236}">
                      <a16:creationId xmlns:a16="http://schemas.microsoft.com/office/drawing/2014/main" id="{AD6452E2-ADBF-40F3-A6ED-6A7C34A392C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2" name="Rechthoek 21">
                  <a:extLst>
                    <a:ext uri="{FF2B5EF4-FFF2-40B4-BE49-F238E27FC236}">
                      <a16:creationId xmlns:a16="http://schemas.microsoft.com/office/drawing/2014/main" id="{65CEC840-BA9C-4966-89C4-3F4DD665EE81}"/>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8" name="Rechthoek 17">
                <a:extLst>
                  <a:ext uri="{FF2B5EF4-FFF2-40B4-BE49-F238E27FC236}">
                    <a16:creationId xmlns:a16="http://schemas.microsoft.com/office/drawing/2014/main" id="{BA6AEA99-A9EB-40DA-8ABB-2AD6A90B7894}"/>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23" name="Groep 22">
            <a:extLst>
              <a:ext uri="{FF2B5EF4-FFF2-40B4-BE49-F238E27FC236}">
                <a16:creationId xmlns:a16="http://schemas.microsoft.com/office/drawing/2014/main" id="{ED717392-AFF0-4D85-BF1F-AC3BFC9F6744}"/>
              </a:ext>
            </a:extLst>
          </p:cNvPr>
          <p:cNvGrpSpPr/>
          <p:nvPr userDrawn="1"/>
        </p:nvGrpSpPr>
        <p:grpSpPr>
          <a:xfrm>
            <a:off x="12377867" y="0"/>
            <a:ext cx="3593091" cy="6025208"/>
            <a:chOff x="12377867" y="0"/>
            <a:chExt cx="3593091" cy="6025208"/>
          </a:xfrm>
        </p:grpSpPr>
        <p:sp>
          <p:nvSpPr>
            <p:cNvPr id="24" name="Rechthoek 23">
              <a:extLst>
                <a:ext uri="{FF2B5EF4-FFF2-40B4-BE49-F238E27FC236}">
                  <a16:creationId xmlns:a16="http://schemas.microsoft.com/office/drawing/2014/main" id="{72E93F74-58F4-4EBF-B173-990CBC5F1A9A}"/>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5" name="Ovaal 24">
              <a:extLst>
                <a:ext uri="{FF2B5EF4-FFF2-40B4-BE49-F238E27FC236}">
                  <a16:creationId xmlns:a16="http://schemas.microsoft.com/office/drawing/2014/main" id="{DF540BA3-73FD-4F4E-B2E9-F40560FDCB59}"/>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 name="Rechthoek 25">
              <a:extLst>
                <a:ext uri="{FF2B5EF4-FFF2-40B4-BE49-F238E27FC236}">
                  <a16:creationId xmlns:a16="http://schemas.microsoft.com/office/drawing/2014/main" id="{5750DF03-DD54-4A42-B46A-AFA2F48B5FCF}"/>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 name="Groep 26">
              <a:extLst>
                <a:ext uri="{FF2B5EF4-FFF2-40B4-BE49-F238E27FC236}">
                  <a16:creationId xmlns:a16="http://schemas.microsoft.com/office/drawing/2014/main" id="{BDFE76DB-B28D-4154-ADEA-A1E0EF143D9E}"/>
                </a:ext>
              </a:extLst>
            </p:cNvPr>
            <p:cNvGrpSpPr/>
            <p:nvPr userDrawn="1"/>
          </p:nvGrpSpPr>
          <p:grpSpPr>
            <a:xfrm>
              <a:off x="12847853" y="1231351"/>
              <a:ext cx="294789" cy="318834"/>
              <a:chOff x="14466489" y="1001522"/>
              <a:chExt cx="290627" cy="314333"/>
            </a:xfrm>
          </p:grpSpPr>
          <p:sp>
            <p:nvSpPr>
              <p:cNvPr id="81" name="Rechthoek 80">
                <a:extLst>
                  <a:ext uri="{FF2B5EF4-FFF2-40B4-BE49-F238E27FC236}">
                    <a16:creationId xmlns:a16="http://schemas.microsoft.com/office/drawing/2014/main" id="{CDC1DC28-4E31-45DE-8236-BDA9D876325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AC9B43D3-4B5A-4905-B1BE-A215214D49F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3" name="Vrije vorm: vorm 82">
                <a:extLst>
                  <a:ext uri="{FF2B5EF4-FFF2-40B4-BE49-F238E27FC236}">
                    <a16:creationId xmlns:a16="http://schemas.microsoft.com/office/drawing/2014/main" id="{81AB8D45-F07B-4731-903B-6FD5B2F63D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4" name="Rechthoek: afgeronde hoeken 83">
                <a:extLst>
                  <a:ext uri="{FF2B5EF4-FFF2-40B4-BE49-F238E27FC236}">
                    <a16:creationId xmlns:a16="http://schemas.microsoft.com/office/drawing/2014/main" id="{DEE5D1F5-E140-4A60-A36C-53EDCD5D3DD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85" name="Rechte verbindingslijn 84">
                <a:extLst>
                  <a:ext uri="{FF2B5EF4-FFF2-40B4-BE49-F238E27FC236}">
                    <a16:creationId xmlns:a16="http://schemas.microsoft.com/office/drawing/2014/main" id="{2DC71859-7831-426B-B70E-DCBAD88838B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6" name="Rechte verbindingslijn 85">
                <a:extLst>
                  <a:ext uri="{FF2B5EF4-FFF2-40B4-BE49-F238E27FC236}">
                    <a16:creationId xmlns:a16="http://schemas.microsoft.com/office/drawing/2014/main" id="{E248DF5A-23B3-4A69-B5EA-378CCE657FCD}"/>
                  </a:ext>
                </a:extLst>
              </p:cNvPr>
              <p:cNvCxnSpPr>
                <a:cxnSpLocks/>
                <a:stCxn id="8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8" name="Ovaal 27">
              <a:extLst>
                <a:ext uri="{FF2B5EF4-FFF2-40B4-BE49-F238E27FC236}">
                  <a16:creationId xmlns:a16="http://schemas.microsoft.com/office/drawing/2014/main" id="{23D3001C-10BB-4AFF-8CA9-3D9B857FEF78}"/>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9" name="Rechthoek 28">
              <a:extLst>
                <a:ext uri="{FF2B5EF4-FFF2-40B4-BE49-F238E27FC236}">
                  <a16:creationId xmlns:a16="http://schemas.microsoft.com/office/drawing/2014/main" id="{1B7075F3-19D6-420D-A866-B7D3C36ECD9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3" name="Groep 32">
              <a:extLst>
                <a:ext uri="{FF2B5EF4-FFF2-40B4-BE49-F238E27FC236}">
                  <a16:creationId xmlns:a16="http://schemas.microsoft.com/office/drawing/2014/main" id="{08473228-FAB6-41B6-9460-491BA11947C9}"/>
                </a:ext>
              </a:extLst>
            </p:cNvPr>
            <p:cNvGrpSpPr/>
            <p:nvPr userDrawn="1"/>
          </p:nvGrpSpPr>
          <p:grpSpPr>
            <a:xfrm>
              <a:off x="12852713" y="2164285"/>
              <a:ext cx="825500" cy="209550"/>
              <a:chOff x="13504624" y="2482850"/>
              <a:chExt cx="825500" cy="209550"/>
            </a:xfrm>
          </p:grpSpPr>
          <p:sp>
            <p:nvSpPr>
              <p:cNvPr id="78" name="Rechthoek 77">
                <a:extLst>
                  <a:ext uri="{FF2B5EF4-FFF2-40B4-BE49-F238E27FC236}">
                    <a16:creationId xmlns:a16="http://schemas.microsoft.com/office/drawing/2014/main" id="{5749F3B2-F0C8-4DCE-82ED-CBCAB0096FA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9" name="Rechte verbindingslijn 78">
                <a:extLst>
                  <a:ext uri="{FF2B5EF4-FFF2-40B4-BE49-F238E27FC236}">
                    <a16:creationId xmlns:a16="http://schemas.microsoft.com/office/drawing/2014/main" id="{953FE29B-0450-48C5-9CAF-469F96F8539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0" name="Gelijkbenige driehoek 79">
                <a:extLst>
                  <a:ext uri="{FF2B5EF4-FFF2-40B4-BE49-F238E27FC236}">
                    <a16:creationId xmlns:a16="http://schemas.microsoft.com/office/drawing/2014/main" id="{EB17A78C-7E03-4DFC-8B2A-0EEC0168E8E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4" name="Ovaal 33">
              <a:extLst>
                <a:ext uri="{FF2B5EF4-FFF2-40B4-BE49-F238E27FC236}">
                  <a16:creationId xmlns:a16="http://schemas.microsoft.com/office/drawing/2014/main" id="{002887FB-A5BE-46D9-96A1-911161D593AD}"/>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5" name="Rechthoek 34">
              <a:extLst>
                <a:ext uri="{FF2B5EF4-FFF2-40B4-BE49-F238E27FC236}">
                  <a16:creationId xmlns:a16="http://schemas.microsoft.com/office/drawing/2014/main" id="{DC0B4A22-EF7E-4601-A374-39427D0F45E7}"/>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6" name="Ovaal 35">
              <a:extLst>
                <a:ext uri="{FF2B5EF4-FFF2-40B4-BE49-F238E27FC236}">
                  <a16:creationId xmlns:a16="http://schemas.microsoft.com/office/drawing/2014/main" id="{8504FAB7-4C36-4ECF-BE26-00148AB07C82}"/>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7" name="Rechthoek 36">
              <a:extLst>
                <a:ext uri="{FF2B5EF4-FFF2-40B4-BE49-F238E27FC236}">
                  <a16:creationId xmlns:a16="http://schemas.microsoft.com/office/drawing/2014/main" id="{CA1661B2-74E0-48F5-888E-F47CFF47BE80}"/>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8" name="Groep 37">
              <a:extLst>
                <a:ext uri="{FF2B5EF4-FFF2-40B4-BE49-F238E27FC236}">
                  <a16:creationId xmlns:a16="http://schemas.microsoft.com/office/drawing/2014/main" id="{88955EF2-4B4C-4F80-82CE-E696D96DE587}"/>
                </a:ext>
              </a:extLst>
            </p:cNvPr>
            <p:cNvGrpSpPr/>
            <p:nvPr userDrawn="1"/>
          </p:nvGrpSpPr>
          <p:grpSpPr>
            <a:xfrm>
              <a:off x="12755738" y="5236167"/>
              <a:ext cx="622283" cy="612919"/>
              <a:chOff x="12617641" y="3403239"/>
              <a:chExt cx="752963" cy="741634"/>
            </a:xfrm>
          </p:grpSpPr>
          <p:grpSp>
            <p:nvGrpSpPr>
              <p:cNvPr id="62" name="Groep 61">
                <a:extLst>
                  <a:ext uri="{FF2B5EF4-FFF2-40B4-BE49-F238E27FC236}">
                    <a16:creationId xmlns:a16="http://schemas.microsoft.com/office/drawing/2014/main" id="{CCA9626C-B517-409A-8337-326813F167FB}"/>
                  </a:ext>
                </a:extLst>
              </p:cNvPr>
              <p:cNvGrpSpPr/>
              <p:nvPr userDrawn="1"/>
            </p:nvGrpSpPr>
            <p:grpSpPr>
              <a:xfrm>
                <a:off x="12771550" y="3403239"/>
                <a:ext cx="467156" cy="448491"/>
                <a:chOff x="12782177" y="3403239"/>
                <a:chExt cx="467156" cy="448491"/>
              </a:xfrm>
            </p:grpSpPr>
            <p:grpSp>
              <p:nvGrpSpPr>
                <p:cNvPr id="65" name="Groep 64">
                  <a:extLst>
                    <a:ext uri="{FF2B5EF4-FFF2-40B4-BE49-F238E27FC236}">
                      <a16:creationId xmlns:a16="http://schemas.microsoft.com/office/drawing/2014/main" id="{EE1CEA8E-27EB-46A5-9FEA-5B4CCBD0D679}"/>
                    </a:ext>
                  </a:extLst>
                </p:cNvPr>
                <p:cNvGrpSpPr/>
                <p:nvPr userDrawn="1"/>
              </p:nvGrpSpPr>
              <p:grpSpPr>
                <a:xfrm>
                  <a:off x="12782177" y="3403239"/>
                  <a:ext cx="412972" cy="396132"/>
                  <a:chOff x="13554906" y="3320109"/>
                  <a:chExt cx="443912" cy="425811"/>
                </a:xfrm>
              </p:grpSpPr>
              <p:grpSp>
                <p:nvGrpSpPr>
                  <p:cNvPr id="72" name="Groep 71">
                    <a:extLst>
                      <a:ext uri="{FF2B5EF4-FFF2-40B4-BE49-F238E27FC236}">
                        <a16:creationId xmlns:a16="http://schemas.microsoft.com/office/drawing/2014/main" id="{FAFCDF07-A369-4848-8069-97132CF66D8E}"/>
                      </a:ext>
                    </a:extLst>
                  </p:cNvPr>
                  <p:cNvGrpSpPr/>
                  <p:nvPr userDrawn="1"/>
                </p:nvGrpSpPr>
                <p:grpSpPr>
                  <a:xfrm>
                    <a:off x="13554906" y="3320109"/>
                    <a:ext cx="443912" cy="425811"/>
                    <a:chOff x="12909684" y="1276143"/>
                    <a:chExt cx="443912" cy="425811"/>
                  </a:xfrm>
                </p:grpSpPr>
                <p:sp>
                  <p:nvSpPr>
                    <p:cNvPr id="75" name="Rechthoek 74">
                      <a:extLst>
                        <a:ext uri="{FF2B5EF4-FFF2-40B4-BE49-F238E27FC236}">
                          <a16:creationId xmlns:a16="http://schemas.microsoft.com/office/drawing/2014/main" id="{B5DE094F-9307-4EFD-9DC7-9A9BED1CEF72}"/>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742A39DC-EF46-4663-B990-60EB7D085EF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7" name="Ovaal 76">
                      <a:extLst>
                        <a:ext uri="{FF2B5EF4-FFF2-40B4-BE49-F238E27FC236}">
                          <a16:creationId xmlns:a16="http://schemas.microsoft.com/office/drawing/2014/main" id="{B29E27BD-A4AB-4477-8FBC-1C239D396E0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73" name="Afbeelding 72">
                    <a:extLst>
                      <a:ext uri="{FF2B5EF4-FFF2-40B4-BE49-F238E27FC236}">
                        <a16:creationId xmlns:a16="http://schemas.microsoft.com/office/drawing/2014/main" id="{961042E2-8CAC-437D-A10B-58DC62E244F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74" name="Afbeelding 73">
                    <a:extLst>
                      <a:ext uri="{FF2B5EF4-FFF2-40B4-BE49-F238E27FC236}">
                        <a16:creationId xmlns:a16="http://schemas.microsoft.com/office/drawing/2014/main" id="{69BFF7FC-F351-4D9C-B1D5-5066F754D216}"/>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6" name="Groep 65">
                  <a:extLst>
                    <a:ext uri="{FF2B5EF4-FFF2-40B4-BE49-F238E27FC236}">
                      <a16:creationId xmlns:a16="http://schemas.microsoft.com/office/drawing/2014/main" id="{1658EB2D-64E7-4F7D-9EBB-2FCE51FD9EAB}"/>
                    </a:ext>
                  </a:extLst>
                </p:cNvPr>
                <p:cNvGrpSpPr/>
                <p:nvPr userDrawn="1"/>
              </p:nvGrpSpPr>
              <p:grpSpPr>
                <a:xfrm>
                  <a:off x="13103513" y="3705268"/>
                  <a:ext cx="145820" cy="146462"/>
                  <a:chOff x="13096169" y="3602278"/>
                  <a:chExt cx="145820" cy="146462"/>
                </a:xfrm>
              </p:grpSpPr>
              <p:sp>
                <p:nvSpPr>
                  <p:cNvPr id="70" name="Rechthoek 69">
                    <a:extLst>
                      <a:ext uri="{FF2B5EF4-FFF2-40B4-BE49-F238E27FC236}">
                        <a16:creationId xmlns:a16="http://schemas.microsoft.com/office/drawing/2014/main" id="{4C503946-7B98-4506-AFE8-C75BC64DE3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2637A4B3-A890-428D-BB6D-6307EBC5C93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67" name="Groep 66">
                  <a:extLst>
                    <a:ext uri="{FF2B5EF4-FFF2-40B4-BE49-F238E27FC236}">
                      <a16:creationId xmlns:a16="http://schemas.microsoft.com/office/drawing/2014/main" id="{19C836B0-D5DF-48A5-A7B4-BD54E7028D7E}"/>
                    </a:ext>
                  </a:extLst>
                </p:cNvPr>
                <p:cNvGrpSpPr/>
                <p:nvPr userDrawn="1"/>
              </p:nvGrpSpPr>
              <p:grpSpPr>
                <a:xfrm rot="10800000">
                  <a:off x="13061402" y="3665637"/>
                  <a:ext cx="145820" cy="146462"/>
                  <a:chOff x="13096169" y="3602278"/>
                  <a:chExt cx="145820" cy="146462"/>
                </a:xfrm>
              </p:grpSpPr>
              <p:sp>
                <p:nvSpPr>
                  <p:cNvPr id="68" name="Rechthoek 67">
                    <a:extLst>
                      <a:ext uri="{FF2B5EF4-FFF2-40B4-BE49-F238E27FC236}">
                        <a16:creationId xmlns:a16="http://schemas.microsoft.com/office/drawing/2014/main" id="{7AD7BEE5-4AF8-459D-8BA8-BAE71ECF114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39748B7D-90F9-4696-8F72-7EC207B3A1F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63" name="Rechthoek 62">
                <a:extLst>
                  <a:ext uri="{FF2B5EF4-FFF2-40B4-BE49-F238E27FC236}">
                    <a16:creationId xmlns:a16="http://schemas.microsoft.com/office/drawing/2014/main" id="{990A8A4F-8E2B-4468-8051-B88FAAB9F66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64" name="Gelijkbenige driehoek 63">
                <a:extLst>
                  <a:ext uri="{FF2B5EF4-FFF2-40B4-BE49-F238E27FC236}">
                    <a16:creationId xmlns:a16="http://schemas.microsoft.com/office/drawing/2014/main" id="{A5D413CC-97CF-4EA3-9B4C-21EE25213E0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39" name="Rechthoek 38">
              <a:extLst>
                <a:ext uri="{FF2B5EF4-FFF2-40B4-BE49-F238E27FC236}">
                  <a16:creationId xmlns:a16="http://schemas.microsoft.com/office/drawing/2014/main" id="{CBE13056-E3D5-4B50-AD73-F21885532CFB}"/>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40" name="Groep 39">
              <a:extLst>
                <a:ext uri="{FF2B5EF4-FFF2-40B4-BE49-F238E27FC236}">
                  <a16:creationId xmlns:a16="http://schemas.microsoft.com/office/drawing/2014/main" id="{562D70BC-87E7-4650-87AD-6DDBF2EBA263}"/>
                </a:ext>
              </a:extLst>
            </p:cNvPr>
            <p:cNvGrpSpPr/>
            <p:nvPr userDrawn="1"/>
          </p:nvGrpSpPr>
          <p:grpSpPr>
            <a:xfrm>
              <a:off x="13678213" y="3399207"/>
              <a:ext cx="1222990" cy="563933"/>
              <a:chOff x="-2485819" y="3399207"/>
              <a:chExt cx="1222990" cy="563933"/>
            </a:xfrm>
          </p:grpSpPr>
          <p:sp>
            <p:nvSpPr>
              <p:cNvPr id="41" name="Rechthoek 40">
                <a:extLst>
                  <a:ext uri="{FF2B5EF4-FFF2-40B4-BE49-F238E27FC236}">
                    <a16:creationId xmlns:a16="http://schemas.microsoft.com/office/drawing/2014/main" id="{11B6DB07-2232-4622-93FE-928C3DC6EF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81DCAD5-8BD8-4BD7-B85E-57EFCD3A95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1B25DFE0-B8E0-4B03-890C-65BD010745EC}"/>
                  </a:ext>
                </a:extLst>
              </p:cNvPr>
              <p:cNvGrpSpPr/>
              <p:nvPr userDrawn="1"/>
            </p:nvGrpSpPr>
            <p:grpSpPr>
              <a:xfrm>
                <a:off x="-2403869" y="3460544"/>
                <a:ext cx="155951" cy="131922"/>
                <a:chOff x="12968836" y="3354170"/>
                <a:chExt cx="404806" cy="342433"/>
              </a:xfrm>
            </p:grpSpPr>
            <p:sp>
              <p:nvSpPr>
                <p:cNvPr id="56" name="Rechthoek: afgeronde hoeken 55">
                  <a:extLst>
                    <a:ext uri="{FF2B5EF4-FFF2-40B4-BE49-F238E27FC236}">
                      <a16:creationId xmlns:a16="http://schemas.microsoft.com/office/drawing/2014/main" id="{FEDD0287-ACDE-49E5-A851-3643DCBE91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7CB73CCE-BFD1-425B-ADED-8763EDE2808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8" name="Rechthoek 57">
                  <a:extLst>
                    <a:ext uri="{FF2B5EF4-FFF2-40B4-BE49-F238E27FC236}">
                      <a16:creationId xmlns:a16="http://schemas.microsoft.com/office/drawing/2014/main" id="{D6B31C0E-59A8-4BFB-97C3-BA4439ED442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5CA44D8D-B67F-4DD7-8B24-91FA57B387C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0" name="Rechthoek 59">
                  <a:extLst>
                    <a:ext uri="{FF2B5EF4-FFF2-40B4-BE49-F238E27FC236}">
                      <a16:creationId xmlns:a16="http://schemas.microsoft.com/office/drawing/2014/main" id="{ECFE8D9F-1644-437E-9CBC-7D0E5E08BC1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1" name="Rechthoek 60">
                  <a:extLst>
                    <a:ext uri="{FF2B5EF4-FFF2-40B4-BE49-F238E27FC236}">
                      <a16:creationId xmlns:a16="http://schemas.microsoft.com/office/drawing/2014/main" id="{48821BA2-6AE6-44AB-B936-4B150990DCF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0A844AD9-6E5E-4D65-B31B-5340CC050542}"/>
                  </a:ext>
                </a:extLst>
              </p:cNvPr>
              <p:cNvGrpSpPr/>
              <p:nvPr userDrawn="1"/>
            </p:nvGrpSpPr>
            <p:grpSpPr>
              <a:xfrm>
                <a:off x="-2423424" y="3690208"/>
                <a:ext cx="166739" cy="218963"/>
                <a:chOff x="12940828" y="3950597"/>
                <a:chExt cx="432813" cy="568367"/>
              </a:xfrm>
            </p:grpSpPr>
            <p:grpSp>
              <p:nvGrpSpPr>
                <p:cNvPr id="48" name="Groep 47">
                  <a:extLst>
                    <a:ext uri="{FF2B5EF4-FFF2-40B4-BE49-F238E27FC236}">
                      <a16:creationId xmlns:a16="http://schemas.microsoft.com/office/drawing/2014/main" id="{98B874AE-8970-472A-88AC-F63986EA4D1A}"/>
                    </a:ext>
                  </a:extLst>
                </p:cNvPr>
                <p:cNvGrpSpPr/>
                <p:nvPr userDrawn="1"/>
              </p:nvGrpSpPr>
              <p:grpSpPr>
                <a:xfrm>
                  <a:off x="13000382" y="4006891"/>
                  <a:ext cx="373259" cy="315747"/>
                  <a:chOff x="12968836" y="3354170"/>
                  <a:chExt cx="404806" cy="342433"/>
                </a:xfrm>
              </p:grpSpPr>
              <p:sp>
                <p:nvSpPr>
                  <p:cNvPr id="50" name="Rechthoek: afgeronde hoeken 49">
                    <a:extLst>
                      <a:ext uri="{FF2B5EF4-FFF2-40B4-BE49-F238E27FC236}">
                        <a16:creationId xmlns:a16="http://schemas.microsoft.com/office/drawing/2014/main" id="{9ACC2BE6-2448-40A4-9E75-4B9D8665134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843CC4AB-5111-4989-A1CE-6D8F55ECFF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03F04BF-7467-41E9-81B7-D1D240F9934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2A9E08F-AF7E-46A4-97E6-3EBC7468CA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34E63B63-B44D-4FE2-9CB3-CBA8F6CE681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E45EF54-3B8A-4C3A-8454-B63BEE6C4AF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49" name="Boog 48">
                  <a:extLst>
                    <a:ext uri="{FF2B5EF4-FFF2-40B4-BE49-F238E27FC236}">
                      <a16:creationId xmlns:a16="http://schemas.microsoft.com/office/drawing/2014/main" id="{42CC0830-4A26-4392-8222-81EC051368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018F6529-B169-48AD-85B9-20F48E2B686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46" name="Tekstvak 45">
                <a:extLst>
                  <a:ext uri="{FF2B5EF4-FFF2-40B4-BE49-F238E27FC236}">
                    <a16:creationId xmlns:a16="http://schemas.microsoft.com/office/drawing/2014/main" id="{1BCEE0F2-6C88-41D9-B285-70284652048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47" name="Vrije vorm: vorm 46">
                <a:extLst>
                  <a:ext uri="{FF2B5EF4-FFF2-40B4-BE49-F238E27FC236}">
                    <a16:creationId xmlns:a16="http://schemas.microsoft.com/office/drawing/2014/main" id="{343B5443-B15D-4C4B-B6C9-CC7BB2EA2C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7" name="Tijdelijke aanduiding voor verticale tekst 2">
            <a:extLst>
              <a:ext uri="{FF2B5EF4-FFF2-40B4-BE49-F238E27FC236}">
                <a16:creationId xmlns:a16="http://schemas.microsoft.com/office/drawing/2014/main" id="{48C25B6B-0751-4A56-ACFB-8DDD752F75A0}"/>
              </a:ext>
            </a:extLst>
          </p:cNvPr>
          <p:cNvSpPr>
            <a:spLocks noGrp="1"/>
          </p:cNvSpPr>
          <p:nvPr>
            <p:ph type="body" orient="vert" idx="1" hasCustomPrompt="1"/>
          </p:nvPr>
        </p:nvSpPr>
        <p:spPr>
          <a:xfrm>
            <a:off x="515941" y="1347275"/>
            <a:ext cx="6312278"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88" name="Titel 3">
            <a:extLst>
              <a:ext uri="{FF2B5EF4-FFF2-40B4-BE49-F238E27FC236}">
                <a16:creationId xmlns:a16="http://schemas.microsoft.com/office/drawing/2014/main" id="{1326CCD5-48FC-4911-93D9-3D9D0CA873E6}"/>
              </a:ext>
            </a:extLst>
          </p:cNvPr>
          <p:cNvSpPr>
            <a:spLocks noGrp="1"/>
          </p:cNvSpPr>
          <p:nvPr>
            <p:ph type="title" hasCustomPrompt="1"/>
          </p:nvPr>
        </p:nvSpPr>
        <p:spPr>
          <a:xfrm>
            <a:off x="515941" y="517525"/>
            <a:ext cx="6333990" cy="488950"/>
          </a:xfrm>
        </p:spPr>
        <p:txBody>
          <a:bodyPr/>
          <a:lstStyle>
            <a:lvl1pPr>
              <a:defRPr/>
            </a:lvl1pPr>
          </a:lstStyle>
          <a:p>
            <a:r>
              <a:rPr lang="nl-NL"/>
              <a:t>Plaats hier je titel</a:t>
            </a:r>
          </a:p>
        </p:txBody>
      </p:sp>
    </p:spTree>
    <p:extLst>
      <p:ext uri="{BB962C8B-B14F-4D97-AF65-F5344CB8AC3E}">
        <p14:creationId xmlns:p14="http://schemas.microsoft.com/office/powerpoint/2010/main" val="283186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 grote grafiek">
    <p:spTree>
      <p:nvGrpSpPr>
        <p:cNvPr id="1" name=""/>
        <p:cNvGrpSpPr/>
        <p:nvPr/>
      </p:nvGrpSpPr>
      <p:grpSpPr>
        <a:xfrm>
          <a:off x="0" y="0"/>
          <a:ext cx="0" cy="0"/>
          <a:chOff x="0" y="0"/>
          <a:chExt cx="0" cy="0"/>
        </a:xfrm>
      </p:grpSpPr>
      <p:sp>
        <p:nvSpPr>
          <p:cNvPr id="12" name="Tijdelijke aanduiding voor tekst 5"/>
          <p:cNvSpPr>
            <a:spLocks noGrp="1"/>
          </p:cNvSpPr>
          <p:nvPr>
            <p:ph type="body" sz="quarter" idx="23" hasCustomPrompt="1"/>
          </p:nvPr>
        </p:nvSpPr>
        <p:spPr>
          <a:xfrm>
            <a:off x="839788" y="6370737"/>
            <a:ext cx="10512425" cy="153888"/>
          </a:xfrm>
          <a:prstGeom prst="rect">
            <a:avLst/>
          </a:prstGeom>
        </p:spPr>
        <p:txBody>
          <a:bodyPr lIns="0" tIns="0" rIns="0" bIns="0" anchor="b" anchorCtr="0">
            <a:spAutoFit/>
          </a:bodyPr>
          <a:lstStyle>
            <a:lvl1pPr>
              <a:defRPr sz="1000" baseline="0"/>
            </a:lvl1pPr>
          </a:lstStyle>
          <a:p>
            <a:pPr lvl="0"/>
            <a:r>
              <a:rPr lang="nl-NL"/>
              <a:t>Voetnoot en bron – </a:t>
            </a:r>
            <a:r>
              <a:rPr lang="nl-NL" err="1"/>
              <a:t>Arial</a:t>
            </a:r>
            <a:r>
              <a:rPr lang="nl-NL"/>
              <a:t> 10</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81549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0" name="Straight Connector 9"/>
          <p:cNvCxnSpPr/>
          <p:nvPr userDrawn="1"/>
        </p:nvCxnSpPr>
        <p:spPr>
          <a:xfrm>
            <a:off x="839788" y="2204863"/>
            <a:ext cx="1051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ijdelijke aanduiding voor dianummer 5"/>
          <p:cNvSpPr txBox="1">
            <a:spLocks/>
          </p:cNvSpPr>
          <p:nvPr userDrawn="1"/>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rgbClr val="FFFFFF"/>
                </a:solidFill>
                <a:cs typeface="Arial"/>
                <a:sym typeface="Arial"/>
              </a:rPr>
              <a:pPr/>
              <a:t>‹nr.›</a:t>
            </a:fld>
            <a:endParaRPr lang="nl-NL" sz="1201">
              <a:solidFill>
                <a:srgbClr val="FFFFFF"/>
              </a:solidFill>
              <a:cs typeface="Arial"/>
              <a:sym typeface="Arial"/>
            </a:endParaRPr>
          </a:p>
        </p:txBody>
      </p:sp>
      <p:sp>
        <p:nvSpPr>
          <p:cNvPr id="8" name="Tijdelijke aanduiding voor tekst 3"/>
          <p:cNvSpPr>
            <a:spLocks noGrp="1"/>
          </p:cNvSpPr>
          <p:nvPr>
            <p:ph type="body" sz="quarter" idx="22" hasCustomPrompt="1"/>
          </p:nvPr>
        </p:nvSpPr>
        <p:spPr>
          <a:xfrm>
            <a:off x="839788" y="692696"/>
            <a:ext cx="10512425" cy="677108"/>
          </a:xfrm>
          <a:prstGeom prst="rect">
            <a:avLst/>
          </a:prstGeom>
        </p:spPr>
        <p:txBody>
          <a:bodyPr lIns="0" tIns="0" rIns="0" bIns="0">
            <a:spAutoFit/>
          </a:bodyPr>
          <a:lstStyle>
            <a:lvl1pPr>
              <a:defRPr sz="2200" b="1"/>
            </a:lvl1pPr>
            <a:lvl5pPr marL="363536" indent="0">
              <a:buNone/>
              <a:defRPr sz="2200" b="1" baseline="0"/>
            </a:lvl5pPr>
          </a:lstStyle>
          <a:p>
            <a:pPr lvl="0"/>
            <a:r>
              <a:rPr lang="nl-NL"/>
              <a:t>Titel – gebruik volzinnen, zorg dat de boodschap aansluit op de slide, max 15 woorden, geen punt – </a:t>
            </a:r>
            <a:r>
              <a:rPr lang="nl-NL" err="1"/>
              <a:t>Arial</a:t>
            </a:r>
            <a:r>
              <a:rPr lang="nl-NL"/>
              <a:t> 22 </a:t>
            </a:r>
            <a:r>
              <a:rPr lang="nl-NL" err="1"/>
              <a:t>Bold</a:t>
            </a:r>
            <a:endParaRPr lang="nl-NL"/>
          </a:p>
        </p:txBody>
      </p:sp>
      <p:sp>
        <p:nvSpPr>
          <p:cNvPr id="5" name="Tijdelijke aanduiding voor tekst 4"/>
          <p:cNvSpPr>
            <a:spLocks noGrp="1"/>
          </p:cNvSpPr>
          <p:nvPr>
            <p:ph type="body" sz="quarter" idx="24" hasCustomPrompt="1"/>
          </p:nvPr>
        </p:nvSpPr>
        <p:spPr>
          <a:xfrm>
            <a:off x="839788" y="1681644"/>
            <a:ext cx="10510837" cy="523220"/>
          </a:xfrm>
          <a:prstGeom prst="rect">
            <a:avLst/>
          </a:prstGeom>
        </p:spPr>
        <p:txBody>
          <a:bodyPr wrap="square" lIns="0" tIns="46800" rIns="0" bIns="46800" anchor="b">
            <a:spAutoFit/>
          </a:bodyPr>
          <a:lstStyle>
            <a:lvl1pPr>
              <a:defRPr lang="nl-NL" sz="1400" b="1" baseline="0" dirty="0" smtClean="0"/>
            </a:lvl1pPr>
          </a:lstStyle>
          <a:p>
            <a:pPr lvl="0">
              <a:spcBef>
                <a:spcPts val="0"/>
              </a:spcBef>
            </a:pPr>
            <a:r>
              <a:rPr lang="nl-NL"/>
              <a:t>Titel grafiek – alleen zakelijk weergeven wat er in de grafiek staat </a:t>
            </a:r>
          </a:p>
          <a:p>
            <a:pPr lvl="0">
              <a:spcBef>
                <a:spcPts val="0"/>
              </a:spcBef>
            </a:pPr>
            <a:r>
              <a:rPr lang="en-US"/>
              <a:t>[</a:t>
            </a:r>
            <a:r>
              <a:rPr lang="en-US" err="1"/>
              <a:t>eenheid</a:t>
            </a:r>
            <a:r>
              <a:rPr lang="en-US"/>
              <a:t>, </a:t>
            </a:r>
            <a:r>
              <a:rPr lang="en-US" err="1"/>
              <a:t>jaar</a:t>
            </a:r>
            <a:r>
              <a:rPr lang="en-US"/>
              <a:t>] – </a:t>
            </a:r>
            <a:r>
              <a:rPr lang="nl-NL" err="1"/>
              <a:t>Arial</a:t>
            </a:r>
            <a:r>
              <a:rPr lang="nl-NL"/>
              <a:t> 14</a:t>
            </a:r>
          </a:p>
        </p:txBody>
      </p:sp>
    </p:spTree>
    <p:extLst>
      <p:ext uri="{BB962C8B-B14F-4D97-AF65-F5344CB8AC3E}">
        <p14:creationId xmlns:p14="http://schemas.microsoft.com/office/powerpoint/2010/main" val="941717559"/>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3_grafieke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extLst>
              <p:ext uri="{D42A27DB-BD31-4B8C-83A1-F6EECF244321}">
                <p14:modId xmlns:p14="http://schemas.microsoft.com/office/powerpoint/2010/main" val="128924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jdelijke aanduiding voor dianummer 5"/>
          <p:cNvSpPr txBox="1">
            <a:spLocks/>
          </p:cNvSpPr>
          <p:nvPr/>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chemeClr val="bg1"/>
                </a:solidFill>
              </a:rPr>
              <a:pPr/>
              <a:t>‹nr.›</a:t>
            </a:fld>
            <a:endParaRPr lang="nl-NL" sz="1201">
              <a:solidFill>
                <a:schemeClr val="bg1"/>
              </a:solidFill>
            </a:endParaRPr>
          </a:p>
        </p:txBody>
      </p:sp>
      <p:sp>
        <p:nvSpPr>
          <p:cNvPr id="4" name="Text Placeholder 3"/>
          <p:cNvSpPr>
            <a:spLocks noGrp="1"/>
          </p:cNvSpPr>
          <p:nvPr>
            <p:ph type="body" sz="quarter" idx="10" hasCustomPrompt="1"/>
          </p:nvPr>
        </p:nvSpPr>
        <p:spPr>
          <a:xfrm>
            <a:off x="623888" y="476250"/>
            <a:ext cx="10944225" cy="677108"/>
          </a:xfrm>
          <a:prstGeom prst="rect">
            <a:avLst/>
          </a:prstGeom>
        </p:spPr>
        <p:txBody>
          <a:bodyPr wrap="square" lIns="0" tIns="0" rIns="0" bIns="0">
            <a:spAutoFit/>
          </a:bodyPr>
          <a:lstStyle>
            <a:lvl1pPr marL="0" marR="0" indent="0" algn="l" defTabSz="914394" rtl="0" eaLnBrk="1" fontAlgn="auto" latinLnBrk="0" hangingPunct="1">
              <a:lnSpc>
                <a:spcPct val="100000"/>
              </a:lnSpc>
              <a:spcBef>
                <a:spcPts val="0"/>
              </a:spcBef>
              <a:spcAft>
                <a:spcPts val="0"/>
              </a:spcAft>
              <a:buClrTx/>
              <a:buSzTx/>
              <a:buFont typeface="Arial" panose="020B0604020202020204" pitchFamily="34" charset="0"/>
              <a:buNone/>
              <a:tabLst/>
              <a:defRPr sz="2200" b="1"/>
            </a:lvl1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lang="nl-NL"/>
              <a:t>Titel- gebruik volzinnen, zorg dat de boodschap aansluit op de slide, max. 15 woorden, geen punt  - </a:t>
            </a:r>
            <a:r>
              <a:rPr lang="nl-NL" err="1"/>
              <a:t>Arial</a:t>
            </a:r>
            <a:r>
              <a:rPr lang="nl-NL"/>
              <a:t> 22 </a:t>
            </a:r>
            <a:r>
              <a:rPr lang="nl-NL" err="1"/>
              <a:t>Bold</a:t>
            </a:r>
            <a:endParaRPr lang="nl-NL"/>
          </a:p>
        </p:txBody>
      </p:sp>
      <p:sp>
        <p:nvSpPr>
          <p:cNvPr id="3" name="Text Placeholder 2"/>
          <p:cNvSpPr>
            <a:spLocks noGrp="1"/>
          </p:cNvSpPr>
          <p:nvPr>
            <p:ph type="body" sz="quarter" idx="11" hasCustomPrompt="1"/>
          </p:nvPr>
        </p:nvSpPr>
        <p:spPr>
          <a:xfrm>
            <a:off x="623888"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6" name="Straight Connector 5"/>
          <p:cNvCxnSpPr/>
          <p:nvPr/>
        </p:nvCxnSpPr>
        <p:spPr>
          <a:xfrm>
            <a:off x="623888"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2" hasCustomPrompt="1"/>
          </p:nvPr>
        </p:nvSpPr>
        <p:spPr>
          <a:xfrm>
            <a:off x="623888" y="6495892"/>
            <a:ext cx="10944225" cy="246221"/>
          </a:xfrm>
          <a:prstGeom prst="rect">
            <a:avLst/>
          </a:prstGeom>
        </p:spPr>
        <p:txBody>
          <a:bodyPr lIns="0" tIns="0" rIns="0" bIns="0" anchor="b">
            <a:noAutofit/>
          </a:bodyPr>
          <a:lstStyle>
            <a:lvl1pPr>
              <a:spcBef>
                <a:spcPts val="0"/>
              </a:spcBef>
              <a:defRPr lang="en-US" sz="1000" baseline="0" smtClean="0"/>
            </a:lvl1pPr>
            <a:lvl2pPr>
              <a:defRPr lang="en-US" smtClean="0"/>
            </a:lvl2pPr>
            <a:lvl3pPr>
              <a:defRPr lang="en-US" smtClean="0"/>
            </a:lvl3pPr>
            <a:lvl4pPr>
              <a:defRPr lang="en-US" smtClean="0"/>
            </a:lvl4pPr>
            <a:lvl5pPr>
              <a:defRPr lang="en-US"/>
            </a:lvl5pPr>
          </a:lstStyle>
          <a:p>
            <a:pPr lvl="0"/>
            <a:r>
              <a:rPr lang="nl-NL"/>
              <a:t>Voetnoot en bron – </a:t>
            </a:r>
            <a:r>
              <a:rPr lang="nl-NL" err="1"/>
              <a:t>Arial</a:t>
            </a:r>
            <a:r>
              <a:rPr lang="nl-NL"/>
              <a:t> 10</a:t>
            </a:r>
          </a:p>
        </p:txBody>
      </p:sp>
      <p:sp>
        <p:nvSpPr>
          <p:cNvPr id="12" name="Text Placeholder 2"/>
          <p:cNvSpPr>
            <a:spLocks noGrp="1"/>
          </p:cNvSpPr>
          <p:nvPr>
            <p:ph type="body" sz="quarter" idx="13" hasCustomPrompt="1"/>
          </p:nvPr>
        </p:nvSpPr>
        <p:spPr>
          <a:xfrm>
            <a:off x="4336702"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3" name="Straight Connector 12"/>
          <p:cNvCxnSpPr/>
          <p:nvPr/>
        </p:nvCxnSpPr>
        <p:spPr>
          <a:xfrm>
            <a:off x="4336702"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4" hasCustomPrompt="1"/>
          </p:nvPr>
        </p:nvSpPr>
        <p:spPr>
          <a:xfrm>
            <a:off x="8049517" y="1558251"/>
            <a:ext cx="3492000" cy="430887"/>
          </a:xfrm>
          <a:prstGeom prst="rect">
            <a:avLst/>
          </a:prstGeom>
        </p:spPr>
        <p:txBody>
          <a:bodyPr wrap="square" lIns="0" tIns="0" rIns="0" bIns="0" anchor="b">
            <a:spAutoFit/>
          </a:bodyPr>
          <a:lstStyle>
            <a:lvl1pPr>
              <a:spcBef>
                <a:spcPts val="0"/>
              </a:spcBef>
              <a:defRPr lang="en-US" sz="1400" b="1" baseline="0" dirty="0" smtClean="0">
                <a:solidFill>
                  <a:schemeClr val="accent2"/>
                </a:solidFill>
                <a:latin typeface="Arial" panose="020B0604020202020204" pitchFamily="34" charset="0"/>
                <a:cs typeface="Arial" panose="020B0604020202020204" pitchFamily="34" charset="0"/>
              </a:defRPr>
            </a:lvl1pPr>
            <a:lvl2pPr>
              <a:defRPr lang="en-US" dirty="0" smtClean="0">
                <a:solidFill>
                  <a:schemeClr val="accent2"/>
                </a:solidFill>
                <a:latin typeface="Arial" panose="020B0604020202020204" pitchFamily="34" charset="0"/>
                <a:cs typeface="Arial" panose="020B0604020202020204" pitchFamily="34" charset="0"/>
              </a:defRPr>
            </a:lvl2pPr>
            <a:lvl3pPr>
              <a:defRPr lang="en-US" dirty="0" smtClean="0">
                <a:solidFill>
                  <a:schemeClr val="accent2"/>
                </a:solidFill>
              </a:defRPr>
            </a:lvl3pPr>
            <a:lvl4pPr>
              <a:defRPr lang="en-US" dirty="0" smtClean="0">
                <a:solidFill>
                  <a:schemeClr val="accent2"/>
                </a:solidFill>
              </a:defRPr>
            </a:lvl4pPr>
            <a:lvl5pPr>
              <a:defRPr lang="en-US" dirty="0">
                <a:solidFill>
                  <a:schemeClr val="accent2"/>
                </a:solidFill>
              </a:defRPr>
            </a:lvl5pPr>
          </a:lstStyle>
          <a:p>
            <a:pPr lvl="0"/>
            <a:r>
              <a:rPr lang="nl-NL"/>
              <a:t>Titel grafiek – alleen zakelijk weergeven wat er in de grafiek staat [eenheid, jaar]</a:t>
            </a:r>
          </a:p>
        </p:txBody>
      </p:sp>
      <p:cxnSp>
        <p:nvCxnSpPr>
          <p:cNvPr id="15" name="Straight Connector 14"/>
          <p:cNvCxnSpPr/>
          <p:nvPr/>
        </p:nvCxnSpPr>
        <p:spPr>
          <a:xfrm>
            <a:off x="8049517" y="1989138"/>
            <a:ext cx="349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748324"/>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logo slide">
    <p:bg>
      <p:bgPr>
        <a:solidFill>
          <a:schemeClr val="bg1"/>
        </a:solidFill>
        <a:effectLst/>
      </p:bgPr>
    </p:bg>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C55560A7-617C-42BB-A2DA-99C56283E2B4}"/>
              </a:ext>
            </a:extLst>
          </p:cNvPr>
          <p:cNvGrpSpPr>
            <a:grpSpLocks noChangeAspect="1"/>
          </p:cNvGrpSpPr>
          <p:nvPr userDrawn="1"/>
        </p:nvGrpSpPr>
        <p:grpSpPr bwMode="auto">
          <a:xfrm>
            <a:off x="3741738" y="2684463"/>
            <a:ext cx="4708525" cy="1489075"/>
            <a:chOff x="2355" y="1691"/>
            <a:chExt cx="2966" cy="938"/>
          </a:xfrm>
          <a:solidFill>
            <a:schemeClr val="accent1"/>
          </a:solidFill>
        </p:grpSpPr>
        <p:sp>
          <p:nvSpPr>
            <p:cNvPr id="9" name="Freeform 5">
              <a:extLst>
                <a:ext uri="{FF2B5EF4-FFF2-40B4-BE49-F238E27FC236}">
                  <a16:creationId xmlns:a16="http://schemas.microsoft.com/office/drawing/2014/main" id="{730E024F-7881-4E68-93FE-2EDBD495757B}"/>
                </a:ext>
              </a:extLst>
            </p:cNvPr>
            <p:cNvSpPr>
              <a:spLocks/>
            </p:cNvSpPr>
            <p:nvPr userDrawn="1"/>
          </p:nvSpPr>
          <p:spPr bwMode="auto">
            <a:xfrm>
              <a:off x="3467" y="1704"/>
              <a:ext cx="258" cy="392"/>
            </a:xfrm>
            <a:custGeom>
              <a:avLst/>
              <a:gdLst>
                <a:gd name="T0" fmla="*/ 0 w 258"/>
                <a:gd name="T1" fmla="*/ 55 h 392"/>
                <a:gd name="T2" fmla="*/ 0 w 258"/>
                <a:gd name="T3" fmla="*/ 0 h 392"/>
                <a:gd name="T4" fmla="*/ 258 w 258"/>
                <a:gd name="T5" fmla="*/ 0 h 392"/>
                <a:gd name="T6" fmla="*/ 258 w 258"/>
                <a:gd name="T7" fmla="*/ 61 h 392"/>
                <a:gd name="T8" fmla="*/ 76 w 258"/>
                <a:gd name="T9" fmla="*/ 324 h 392"/>
                <a:gd name="T10" fmla="*/ 76 w 258"/>
                <a:gd name="T11" fmla="*/ 337 h 392"/>
                <a:gd name="T12" fmla="*/ 258 w 258"/>
                <a:gd name="T13" fmla="*/ 337 h 392"/>
                <a:gd name="T14" fmla="*/ 258 w 258"/>
                <a:gd name="T15" fmla="*/ 392 h 392"/>
                <a:gd name="T16" fmla="*/ 0 w 258"/>
                <a:gd name="T17" fmla="*/ 392 h 392"/>
                <a:gd name="T18" fmla="*/ 0 w 258"/>
                <a:gd name="T19" fmla="*/ 331 h 392"/>
                <a:gd name="T20" fmla="*/ 180 w 258"/>
                <a:gd name="T21" fmla="*/ 67 h 392"/>
                <a:gd name="T22" fmla="*/ 180 w 258"/>
                <a:gd name="T23" fmla="*/ 55 h 392"/>
                <a:gd name="T24" fmla="*/ 0 w 258"/>
                <a:gd name="T25" fmla="*/ 5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 h="392">
                  <a:moveTo>
                    <a:pt x="0" y="55"/>
                  </a:moveTo>
                  <a:lnTo>
                    <a:pt x="0" y="0"/>
                  </a:lnTo>
                  <a:lnTo>
                    <a:pt x="258" y="0"/>
                  </a:lnTo>
                  <a:lnTo>
                    <a:pt x="258" y="61"/>
                  </a:lnTo>
                  <a:lnTo>
                    <a:pt x="76" y="324"/>
                  </a:lnTo>
                  <a:lnTo>
                    <a:pt x="76" y="337"/>
                  </a:lnTo>
                  <a:lnTo>
                    <a:pt x="258" y="337"/>
                  </a:lnTo>
                  <a:lnTo>
                    <a:pt x="258" y="392"/>
                  </a:lnTo>
                  <a:lnTo>
                    <a:pt x="0" y="392"/>
                  </a:lnTo>
                  <a:lnTo>
                    <a:pt x="0" y="331"/>
                  </a:lnTo>
                  <a:lnTo>
                    <a:pt x="180" y="67"/>
                  </a:lnTo>
                  <a:lnTo>
                    <a:pt x="180" y="55"/>
                  </a:lnTo>
                  <a:lnTo>
                    <a:pt x="0"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CAE8FDAF-F9F0-4C67-AF37-20B3A9523639}"/>
                </a:ext>
              </a:extLst>
            </p:cNvPr>
            <p:cNvSpPr>
              <a:spLocks noEditPoints="1"/>
            </p:cNvSpPr>
            <p:nvPr userDrawn="1"/>
          </p:nvSpPr>
          <p:spPr bwMode="auto">
            <a:xfrm>
              <a:off x="3779" y="1695"/>
              <a:ext cx="63" cy="401"/>
            </a:xfrm>
            <a:custGeom>
              <a:avLst/>
              <a:gdLst>
                <a:gd name="T0" fmla="*/ 0 w 63"/>
                <a:gd name="T1" fmla="*/ 0 h 401"/>
                <a:gd name="T2" fmla="*/ 63 w 63"/>
                <a:gd name="T3" fmla="*/ 0 h 401"/>
                <a:gd name="T4" fmla="*/ 63 w 63"/>
                <a:gd name="T5" fmla="*/ 66 h 401"/>
                <a:gd name="T6" fmla="*/ 0 w 63"/>
                <a:gd name="T7" fmla="*/ 66 h 401"/>
                <a:gd name="T8" fmla="*/ 0 w 63"/>
                <a:gd name="T9" fmla="*/ 0 h 401"/>
                <a:gd name="T10" fmla="*/ 0 w 63"/>
                <a:gd name="T11" fmla="*/ 114 h 401"/>
                <a:gd name="T12" fmla="*/ 63 w 63"/>
                <a:gd name="T13" fmla="*/ 114 h 401"/>
                <a:gd name="T14" fmla="*/ 63 w 63"/>
                <a:gd name="T15" fmla="*/ 401 h 401"/>
                <a:gd name="T16" fmla="*/ 0 w 63"/>
                <a:gd name="T17" fmla="*/ 401 h 401"/>
                <a:gd name="T18" fmla="*/ 0 w 63"/>
                <a:gd name="T19"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6"/>
                  </a:lnTo>
                  <a:lnTo>
                    <a:pt x="0" y="66"/>
                  </a:lnTo>
                  <a:lnTo>
                    <a:pt x="0" y="0"/>
                  </a:lnTo>
                  <a:close/>
                  <a:moveTo>
                    <a:pt x="0" y="114"/>
                  </a:moveTo>
                  <a:lnTo>
                    <a:pt x="63" y="114"/>
                  </a:lnTo>
                  <a:lnTo>
                    <a:pt x="63" y="401"/>
                  </a:lnTo>
                  <a:lnTo>
                    <a:pt x="0" y="401"/>
                  </a:lnTo>
                  <a:lnTo>
                    <a:pt x="0"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4B2C3E07-93FC-4083-BC1C-572440AD51A4}"/>
                </a:ext>
              </a:extLst>
            </p:cNvPr>
            <p:cNvSpPr>
              <a:spLocks noChangeArrowheads="1"/>
            </p:cNvSpPr>
            <p:nvPr userDrawn="1"/>
          </p:nvSpPr>
          <p:spPr bwMode="auto">
            <a:xfrm>
              <a:off x="3913" y="1691"/>
              <a:ext cx="63" cy="40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a:extLst>
                <a:ext uri="{FF2B5EF4-FFF2-40B4-BE49-F238E27FC236}">
                  <a16:creationId xmlns:a16="http://schemas.microsoft.com/office/drawing/2014/main" id="{706BC848-822C-4520-8110-EF2E152A8599}"/>
                </a:ext>
              </a:extLst>
            </p:cNvPr>
            <p:cNvSpPr>
              <a:spLocks/>
            </p:cNvSpPr>
            <p:nvPr userDrawn="1"/>
          </p:nvSpPr>
          <p:spPr bwMode="auto">
            <a:xfrm>
              <a:off x="4022" y="1809"/>
              <a:ext cx="258" cy="287"/>
            </a:xfrm>
            <a:custGeom>
              <a:avLst/>
              <a:gdLst>
                <a:gd name="T0" fmla="*/ 0 w 258"/>
                <a:gd name="T1" fmla="*/ 0 h 287"/>
                <a:gd name="T2" fmla="*/ 65 w 258"/>
                <a:gd name="T3" fmla="*/ 0 h 287"/>
                <a:gd name="T4" fmla="*/ 120 w 258"/>
                <a:gd name="T5" fmla="*/ 234 h 287"/>
                <a:gd name="T6" fmla="*/ 139 w 258"/>
                <a:gd name="T7" fmla="*/ 234 h 287"/>
                <a:gd name="T8" fmla="*/ 195 w 258"/>
                <a:gd name="T9" fmla="*/ 0 h 287"/>
                <a:gd name="T10" fmla="*/ 258 w 258"/>
                <a:gd name="T11" fmla="*/ 0 h 287"/>
                <a:gd name="T12" fmla="*/ 185 w 258"/>
                <a:gd name="T13" fmla="*/ 287 h 287"/>
                <a:gd name="T14" fmla="*/ 74 w 258"/>
                <a:gd name="T15" fmla="*/ 287 h 287"/>
                <a:gd name="T16" fmla="*/ 0 w 258"/>
                <a:gd name="T1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87">
                  <a:moveTo>
                    <a:pt x="0" y="0"/>
                  </a:moveTo>
                  <a:lnTo>
                    <a:pt x="65" y="0"/>
                  </a:lnTo>
                  <a:lnTo>
                    <a:pt x="120" y="234"/>
                  </a:lnTo>
                  <a:lnTo>
                    <a:pt x="139" y="234"/>
                  </a:lnTo>
                  <a:lnTo>
                    <a:pt x="195" y="0"/>
                  </a:lnTo>
                  <a:lnTo>
                    <a:pt x="258" y="0"/>
                  </a:lnTo>
                  <a:lnTo>
                    <a:pt x="185" y="287"/>
                  </a:lnTo>
                  <a:lnTo>
                    <a:pt x="74" y="28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B21F6CD9-AF7A-46B8-80D5-E25DA9669C61}"/>
                </a:ext>
              </a:extLst>
            </p:cNvPr>
            <p:cNvSpPr>
              <a:spLocks noEditPoints="1"/>
            </p:cNvSpPr>
            <p:nvPr userDrawn="1"/>
          </p:nvSpPr>
          <p:spPr bwMode="auto">
            <a:xfrm>
              <a:off x="4305" y="1803"/>
              <a:ext cx="243" cy="299"/>
            </a:xfrm>
            <a:custGeom>
              <a:avLst/>
              <a:gdLst>
                <a:gd name="T0" fmla="*/ 103 w 116"/>
                <a:gd name="T1" fmla="*/ 115 h 142"/>
                <a:gd name="T2" fmla="*/ 110 w 116"/>
                <a:gd name="T3" fmla="*/ 114 h 142"/>
                <a:gd name="T4" fmla="*/ 111 w 116"/>
                <a:gd name="T5" fmla="*/ 136 h 142"/>
                <a:gd name="T6" fmla="*/ 56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3 w 116"/>
                <a:gd name="T23" fmla="*/ 116 h 142"/>
                <a:gd name="T24" fmla="*/ 103 w 116"/>
                <a:gd name="T25" fmla="*/ 115 h 142"/>
                <a:gd name="T26" fmla="*/ 87 w 116"/>
                <a:gd name="T27" fmla="*/ 61 h 142"/>
                <a:gd name="T28" fmla="*/ 80 w 116"/>
                <a:gd name="T29" fmla="*/ 33 h 142"/>
                <a:gd name="T30" fmla="*/ 59 w 116"/>
                <a:gd name="T31" fmla="*/ 25 h 142"/>
                <a:gd name="T32" fmla="*/ 37 w 116"/>
                <a:gd name="T33" fmla="*/ 33 h 142"/>
                <a:gd name="T34" fmla="*/ 29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0" y="114"/>
                    <a:pt x="110" y="114"/>
                    <a:pt x="110" y="114"/>
                  </a:cubicBezTo>
                  <a:cubicBezTo>
                    <a:pt x="111" y="136"/>
                    <a:pt x="111" y="136"/>
                    <a:pt x="111" y="136"/>
                  </a:cubicBezTo>
                  <a:cubicBezTo>
                    <a:pt x="90" y="140"/>
                    <a:pt x="72" y="142"/>
                    <a:pt x="56" y="142"/>
                  </a:cubicBezTo>
                  <a:cubicBezTo>
                    <a:pt x="36" y="142"/>
                    <a:pt x="22" y="136"/>
                    <a:pt x="13" y="125"/>
                  </a:cubicBezTo>
                  <a:cubicBezTo>
                    <a:pt x="4" y="114"/>
                    <a:pt x="0" y="97"/>
                    <a:pt x="0" y="72"/>
                  </a:cubicBezTo>
                  <a:cubicBezTo>
                    <a:pt x="0" y="24"/>
                    <a:pt x="19" y="0"/>
                    <a:pt x="59" y="0"/>
                  </a:cubicBezTo>
                  <a:cubicBezTo>
                    <a:pt x="97" y="0"/>
                    <a:pt x="116" y="21"/>
                    <a:pt x="116" y="62"/>
                  </a:cubicBezTo>
                  <a:cubicBezTo>
                    <a:pt x="114" y="84"/>
                    <a:pt x="114" y="84"/>
                    <a:pt x="114" y="84"/>
                  </a:cubicBezTo>
                  <a:cubicBezTo>
                    <a:pt x="30" y="84"/>
                    <a:pt x="30" y="84"/>
                    <a:pt x="30" y="84"/>
                  </a:cubicBezTo>
                  <a:cubicBezTo>
                    <a:pt x="30" y="95"/>
                    <a:pt x="32" y="103"/>
                    <a:pt x="37" y="108"/>
                  </a:cubicBezTo>
                  <a:cubicBezTo>
                    <a:pt x="42" y="114"/>
                    <a:pt x="50" y="116"/>
                    <a:pt x="63" y="116"/>
                  </a:cubicBezTo>
                  <a:cubicBezTo>
                    <a:pt x="76" y="116"/>
                    <a:pt x="89" y="116"/>
                    <a:pt x="103" y="115"/>
                  </a:cubicBezTo>
                  <a:moveTo>
                    <a:pt x="87" y="61"/>
                  </a:moveTo>
                  <a:cubicBezTo>
                    <a:pt x="87" y="47"/>
                    <a:pt x="84" y="38"/>
                    <a:pt x="80" y="33"/>
                  </a:cubicBezTo>
                  <a:cubicBezTo>
                    <a:pt x="76" y="27"/>
                    <a:pt x="69" y="25"/>
                    <a:pt x="59" y="25"/>
                  </a:cubicBezTo>
                  <a:cubicBezTo>
                    <a:pt x="48" y="25"/>
                    <a:pt x="41" y="27"/>
                    <a:pt x="37" y="33"/>
                  </a:cubicBezTo>
                  <a:cubicBezTo>
                    <a:pt x="32" y="39"/>
                    <a:pt x="29" y="48"/>
                    <a:pt x="29"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a:extLst>
                <a:ext uri="{FF2B5EF4-FFF2-40B4-BE49-F238E27FC236}">
                  <a16:creationId xmlns:a16="http://schemas.microsoft.com/office/drawing/2014/main" id="{23BF059E-0C06-44BF-8D8D-8391FB9BAE79}"/>
                </a:ext>
              </a:extLst>
            </p:cNvPr>
            <p:cNvSpPr>
              <a:spLocks/>
            </p:cNvSpPr>
            <p:nvPr userDrawn="1"/>
          </p:nvSpPr>
          <p:spPr bwMode="auto">
            <a:xfrm>
              <a:off x="4600" y="1803"/>
              <a:ext cx="160" cy="293"/>
            </a:xfrm>
            <a:custGeom>
              <a:avLst/>
              <a:gdLst>
                <a:gd name="T0" fmla="*/ 0 w 76"/>
                <a:gd name="T1" fmla="*/ 139 h 139"/>
                <a:gd name="T2" fmla="*/ 0 w 76"/>
                <a:gd name="T3" fmla="*/ 3 h 139"/>
                <a:gd name="T4" fmla="*/ 30 w 76"/>
                <a:gd name="T5" fmla="*/ 3 h 139"/>
                <a:gd name="T6" fmla="*/ 30 w 76"/>
                <a:gd name="T7" fmla="*/ 20 h 139"/>
                <a:gd name="T8" fmla="*/ 76 w 76"/>
                <a:gd name="T9" fmla="*/ 0 h 139"/>
                <a:gd name="T10" fmla="*/ 76 w 76"/>
                <a:gd name="T11" fmla="*/ 30 h 139"/>
                <a:gd name="T12" fmla="*/ 36 w 76"/>
                <a:gd name="T13" fmla="*/ 42 h 139"/>
                <a:gd name="T14" fmla="*/ 30 w 76"/>
                <a:gd name="T15" fmla="*/ 44 h 139"/>
                <a:gd name="T16" fmla="*/ 30 w 76"/>
                <a:gd name="T17" fmla="*/ 139 h 139"/>
                <a:gd name="T18" fmla="*/ 0 w 76"/>
                <a:gd name="T1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9">
                  <a:moveTo>
                    <a:pt x="0" y="139"/>
                  </a:moveTo>
                  <a:cubicBezTo>
                    <a:pt x="0" y="3"/>
                    <a:pt x="0" y="3"/>
                    <a:pt x="0" y="3"/>
                  </a:cubicBezTo>
                  <a:cubicBezTo>
                    <a:pt x="30" y="3"/>
                    <a:pt x="30" y="3"/>
                    <a:pt x="30" y="3"/>
                  </a:cubicBezTo>
                  <a:cubicBezTo>
                    <a:pt x="30" y="20"/>
                    <a:pt x="30" y="20"/>
                    <a:pt x="30" y="20"/>
                  </a:cubicBezTo>
                  <a:cubicBezTo>
                    <a:pt x="45" y="10"/>
                    <a:pt x="60" y="3"/>
                    <a:pt x="76" y="0"/>
                  </a:cubicBezTo>
                  <a:cubicBezTo>
                    <a:pt x="76" y="30"/>
                    <a:pt x="76" y="30"/>
                    <a:pt x="76" y="30"/>
                  </a:cubicBezTo>
                  <a:cubicBezTo>
                    <a:pt x="60" y="33"/>
                    <a:pt x="47" y="37"/>
                    <a:pt x="36" y="42"/>
                  </a:cubicBezTo>
                  <a:cubicBezTo>
                    <a:pt x="30" y="44"/>
                    <a:pt x="30" y="44"/>
                    <a:pt x="30" y="44"/>
                  </a:cubicBezTo>
                  <a:cubicBezTo>
                    <a:pt x="30" y="139"/>
                    <a:pt x="30" y="139"/>
                    <a:pt x="30" y="139"/>
                  </a:cubicBezTo>
                  <a:lnTo>
                    <a:pt x="0"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2C1EEFF2-94D3-4313-A4A9-04AC06C7D753}"/>
                </a:ext>
              </a:extLst>
            </p:cNvPr>
            <p:cNvSpPr>
              <a:spLocks noEditPoints="1"/>
            </p:cNvSpPr>
            <p:nvPr userDrawn="1"/>
          </p:nvSpPr>
          <p:spPr bwMode="auto">
            <a:xfrm>
              <a:off x="4785" y="1803"/>
              <a:ext cx="243" cy="299"/>
            </a:xfrm>
            <a:custGeom>
              <a:avLst/>
              <a:gdLst>
                <a:gd name="T0" fmla="*/ 103 w 116"/>
                <a:gd name="T1" fmla="*/ 115 h 142"/>
                <a:gd name="T2" fmla="*/ 111 w 116"/>
                <a:gd name="T3" fmla="*/ 114 h 142"/>
                <a:gd name="T4" fmla="*/ 111 w 116"/>
                <a:gd name="T5" fmla="*/ 136 h 142"/>
                <a:gd name="T6" fmla="*/ 57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4 w 116"/>
                <a:gd name="T23" fmla="*/ 116 h 142"/>
                <a:gd name="T24" fmla="*/ 103 w 116"/>
                <a:gd name="T25" fmla="*/ 115 h 142"/>
                <a:gd name="T26" fmla="*/ 87 w 116"/>
                <a:gd name="T27" fmla="*/ 61 h 142"/>
                <a:gd name="T28" fmla="*/ 81 w 116"/>
                <a:gd name="T29" fmla="*/ 33 h 142"/>
                <a:gd name="T30" fmla="*/ 59 w 116"/>
                <a:gd name="T31" fmla="*/ 25 h 142"/>
                <a:gd name="T32" fmla="*/ 37 w 116"/>
                <a:gd name="T33" fmla="*/ 33 h 142"/>
                <a:gd name="T34" fmla="*/ 30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1" y="114"/>
                    <a:pt x="111" y="114"/>
                    <a:pt x="111" y="114"/>
                  </a:cubicBezTo>
                  <a:cubicBezTo>
                    <a:pt x="111" y="136"/>
                    <a:pt x="111" y="136"/>
                    <a:pt x="111" y="136"/>
                  </a:cubicBezTo>
                  <a:cubicBezTo>
                    <a:pt x="91" y="140"/>
                    <a:pt x="72" y="142"/>
                    <a:pt x="57" y="142"/>
                  </a:cubicBezTo>
                  <a:cubicBezTo>
                    <a:pt x="36" y="142"/>
                    <a:pt x="22" y="136"/>
                    <a:pt x="13" y="125"/>
                  </a:cubicBezTo>
                  <a:cubicBezTo>
                    <a:pt x="4" y="114"/>
                    <a:pt x="0" y="97"/>
                    <a:pt x="0" y="72"/>
                  </a:cubicBezTo>
                  <a:cubicBezTo>
                    <a:pt x="0" y="24"/>
                    <a:pt x="20" y="0"/>
                    <a:pt x="59" y="0"/>
                  </a:cubicBezTo>
                  <a:cubicBezTo>
                    <a:pt x="97" y="0"/>
                    <a:pt x="116" y="21"/>
                    <a:pt x="116" y="62"/>
                  </a:cubicBezTo>
                  <a:cubicBezTo>
                    <a:pt x="114" y="84"/>
                    <a:pt x="114" y="84"/>
                    <a:pt x="114" y="84"/>
                  </a:cubicBezTo>
                  <a:cubicBezTo>
                    <a:pt x="30" y="84"/>
                    <a:pt x="30" y="84"/>
                    <a:pt x="30" y="84"/>
                  </a:cubicBezTo>
                  <a:cubicBezTo>
                    <a:pt x="30" y="95"/>
                    <a:pt x="33" y="103"/>
                    <a:pt x="37" y="108"/>
                  </a:cubicBezTo>
                  <a:cubicBezTo>
                    <a:pt x="42" y="114"/>
                    <a:pt x="51" y="116"/>
                    <a:pt x="64" y="116"/>
                  </a:cubicBezTo>
                  <a:cubicBezTo>
                    <a:pt x="76" y="116"/>
                    <a:pt x="90" y="116"/>
                    <a:pt x="103" y="115"/>
                  </a:cubicBezTo>
                  <a:moveTo>
                    <a:pt x="87" y="61"/>
                  </a:moveTo>
                  <a:cubicBezTo>
                    <a:pt x="87" y="47"/>
                    <a:pt x="85" y="38"/>
                    <a:pt x="81" y="33"/>
                  </a:cubicBezTo>
                  <a:cubicBezTo>
                    <a:pt x="76" y="27"/>
                    <a:pt x="69" y="25"/>
                    <a:pt x="59" y="25"/>
                  </a:cubicBezTo>
                  <a:cubicBezTo>
                    <a:pt x="49" y="25"/>
                    <a:pt x="41" y="27"/>
                    <a:pt x="37" y="33"/>
                  </a:cubicBezTo>
                  <a:cubicBezTo>
                    <a:pt x="32" y="39"/>
                    <a:pt x="30" y="48"/>
                    <a:pt x="30"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4AE128BA-B69F-44AB-875A-5AA57064FED4}"/>
                </a:ext>
              </a:extLst>
            </p:cNvPr>
            <p:cNvSpPr>
              <a:spLocks/>
            </p:cNvSpPr>
            <p:nvPr userDrawn="1"/>
          </p:nvSpPr>
          <p:spPr bwMode="auto">
            <a:xfrm>
              <a:off x="5082" y="1803"/>
              <a:ext cx="239" cy="293"/>
            </a:xfrm>
            <a:custGeom>
              <a:avLst/>
              <a:gdLst>
                <a:gd name="T0" fmla="*/ 29 w 114"/>
                <a:gd name="T1" fmla="*/ 139 h 139"/>
                <a:gd name="T2" fmla="*/ 0 w 114"/>
                <a:gd name="T3" fmla="*/ 139 h 139"/>
                <a:gd name="T4" fmla="*/ 0 w 114"/>
                <a:gd name="T5" fmla="*/ 3 h 139"/>
                <a:gd name="T6" fmla="*/ 29 w 114"/>
                <a:gd name="T7" fmla="*/ 3 h 139"/>
                <a:gd name="T8" fmla="*/ 29 w 114"/>
                <a:gd name="T9" fmla="*/ 12 h 139"/>
                <a:gd name="T10" fmla="*/ 67 w 114"/>
                <a:gd name="T11" fmla="*/ 0 h 139"/>
                <a:gd name="T12" fmla="*/ 104 w 114"/>
                <a:gd name="T13" fmla="*/ 16 h 139"/>
                <a:gd name="T14" fmla="*/ 114 w 114"/>
                <a:gd name="T15" fmla="*/ 66 h 139"/>
                <a:gd name="T16" fmla="*/ 114 w 114"/>
                <a:gd name="T17" fmla="*/ 139 h 139"/>
                <a:gd name="T18" fmla="*/ 84 w 114"/>
                <a:gd name="T19" fmla="*/ 139 h 139"/>
                <a:gd name="T20" fmla="*/ 84 w 114"/>
                <a:gd name="T21" fmla="*/ 67 h 139"/>
                <a:gd name="T22" fmla="*/ 79 w 114"/>
                <a:gd name="T23" fmla="*/ 36 h 139"/>
                <a:gd name="T24" fmla="*/ 60 w 114"/>
                <a:gd name="T25" fmla="*/ 27 h 139"/>
                <a:gd name="T26" fmla="*/ 33 w 114"/>
                <a:gd name="T27" fmla="*/ 32 h 139"/>
                <a:gd name="T28" fmla="*/ 29 w 114"/>
                <a:gd name="T29" fmla="*/ 34 h 139"/>
                <a:gd name="T30" fmla="*/ 29 w 114"/>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39">
                  <a:moveTo>
                    <a:pt x="29" y="139"/>
                  </a:moveTo>
                  <a:cubicBezTo>
                    <a:pt x="0" y="139"/>
                    <a:pt x="0" y="139"/>
                    <a:pt x="0" y="139"/>
                  </a:cubicBezTo>
                  <a:cubicBezTo>
                    <a:pt x="0" y="3"/>
                    <a:pt x="0" y="3"/>
                    <a:pt x="0" y="3"/>
                  </a:cubicBezTo>
                  <a:cubicBezTo>
                    <a:pt x="29" y="3"/>
                    <a:pt x="29" y="3"/>
                    <a:pt x="29" y="3"/>
                  </a:cubicBezTo>
                  <a:cubicBezTo>
                    <a:pt x="29" y="12"/>
                    <a:pt x="29" y="12"/>
                    <a:pt x="29" y="12"/>
                  </a:cubicBezTo>
                  <a:cubicBezTo>
                    <a:pt x="42" y="4"/>
                    <a:pt x="55" y="0"/>
                    <a:pt x="67" y="0"/>
                  </a:cubicBezTo>
                  <a:cubicBezTo>
                    <a:pt x="85" y="0"/>
                    <a:pt x="97" y="5"/>
                    <a:pt x="104" y="16"/>
                  </a:cubicBezTo>
                  <a:cubicBezTo>
                    <a:pt x="110" y="26"/>
                    <a:pt x="114" y="43"/>
                    <a:pt x="114" y="66"/>
                  </a:cubicBezTo>
                  <a:cubicBezTo>
                    <a:pt x="114" y="139"/>
                    <a:pt x="114" y="139"/>
                    <a:pt x="114" y="139"/>
                  </a:cubicBezTo>
                  <a:cubicBezTo>
                    <a:pt x="84" y="139"/>
                    <a:pt x="84" y="139"/>
                    <a:pt x="84" y="139"/>
                  </a:cubicBezTo>
                  <a:cubicBezTo>
                    <a:pt x="84" y="67"/>
                    <a:pt x="84" y="67"/>
                    <a:pt x="84" y="67"/>
                  </a:cubicBezTo>
                  <a:cubicBezTo>
                    <a:pt x="84" y="52"/>
                    <a:pt x="83" y="42"/>
                    <a:pt x="79" y="36"/>
                  </a:cubicBezTo>
                  <a:cubicBezTo>
                    <a:pt x="76" y="30"/>
                    <a:pt x="70" y="27"/>
                    <a:pt x="60" y="27"/>
                  </a:cubicBezTo>
                  <a:cubicBezTo>
                    <a:pt x="51" y="27"/>
                    <a:pt x="42" y="28"/>
                    <a:pt x="33" y="32"/>
                  </a:cubicBezTo>
                  <a:cubicBezTo>
                    <a:pt x="29" y="34"/>
                    <a:pt x="29" y="34"/>
                    <a:pt x="29" y="34"/>
                  </a:cubicBezTo>
                  <a:lnTo>
                    <a:pt x="29"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3">
              <a:extLst>
                <a:ext uri="{FF2B5EF4-FFF2-40B4-BE49-F238E27FC236}">
                  <a16:creationId xmlns:a16="http://schemas.microsoft.com/office/drawing/2014/main" id="{9DD683FC-C7CB-4024-8208-A38FE8261A87}"/>
                </a:ext>
              </a:extLst>
            </p:cNvPr>
            <p:cNvSpPr>
              <a:spLocks/>
            </p:cNvSpPr>
            <p:nvPr userDrawn="1"/>
          </p:nvSpPr>
          <p:spPr bwMode="auto">
            <a:xfrm>
              <a:off x="3467" y="2231"/>
              <a:ext cx="277" cy="392"/>
            </a:xfrm>
            <a:custGeom>
              <a:avLst/>
              <a:gdLst>
                <a:gd name="T0" fmla="*/ 63 w 277"/>
                <a:gd name="T1" fmla="*/ 392 h 392"/>
                <a:gd name="T2" fmla="*/ 0 w 277"/>
                <a:gd name="T3" fmla="*/ 392 h 392"/>
                <a:gd name="T4" fmla="*/ 0 w 277"/>
                <a:gd name="T5" fmla="*/ 0 h 392"/>
                <a:gd name="T6" fmla="*/ 63 w 277"/>
                <a:gd name="T7" fmla="*/ 0 h 392"/>
                <a:gd name="T8" fmla="*/ 63 w 277"/>
                <a:gd name="T9" fmla="*/ 177 h 392"/>
                <a:gd name="T10" fmla="*/ 120 w 277"/>
                <a:gd name="T11" fmla="*/ 172 h 392"/>
                <a:gd name="T12" fmla="*/ 199 w 277"/>
                <a:gd name="T13" fmla="*/ 0 h 392"/>
                <a:gd name="T14" fmla="*/ 273 w 277"/>
                <a:gd name="T15" fmla="*/ 0 h 392"/>
                <a:gd name="T16" fmla="*/ 176 w 277"/>
                <a:gd name="T17" fmla="*/ 198 h 392"/>
                <a:gd name="T18" fmla="*/ 277 w 277"/>
                <a:gd name="T19" fmla="*/ 392 h 392"/>
                <a:gd name="T20" fmla="*/ 203 w 277"/>
                <a:gd name="T21" fmla="*/ 392 h 392"/>
                <a:gd name="T22" fmla="*/ 120 w 277"/>
                <a:gd name="T23" fmla="*/ 229 h 392"/>
                <a:gd name="T24" fmla="*/ 63 w 277"/>
                <a:gd name="T25" fmla="*/ 234 h 392"/>
                <a:gd name="T26" fmla="*/ 63 w 277"/>
                <a:gd name="T2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2">
                  <a:moveTo>
                    <a:pt x="63" y="392"/>
                  </a:moveTo>
                  <a:lnTo>
                    <a:pt x="0" y="392"/>
                  </a:lnTo>
                  <a:lnTo>
                    <a:pt x="0" y="0"/>
                  </a:lnTo>
                  <a:lnTo>
                    <a:pt x="63" y="0"/>
                  </a:lnTo>
                  <a:lnTo>
                    <a:pt x="63" y="177"/>
                  </a:lnTo>
                  <a:lnTo>
                    <a:pt x="120" y="172"/>
                  </a:lnTo>
                  <a:lnTo>
                    <a:pt x="199" y="0"/>
                  </a:lnTo>
                  <a:lnTo>
                    <a:pt x="273" y="0"/>
                  </a:lnTo>
                  <a:lnTo>
                    <a:pt x="176" y="198"/>
                  </a:lnTo>
                  <a:lnTo>
                    <a:pt x="277" y="392"/>
                  </a:lnTo>
                  <a:lnTo>
                    <a:pt x="203" y="392"/>
                  </a:lnTo>
                  <a:lnTo>
                    <a:pt x="120" y="229"/>
                  </a:lnTo>
                  <a:lnTo>
                    <a:pt x="63" y="234"/>
                  </a:lnTo>
                  <a:lnTo>
                    <a:pt x="63" y="3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4">
              <a:extLst>
                <a:ext uri="{FF2B5EF4-FFF2-40B4-BE49-F238E27FC236}">
                  <a16:creationId xmlns:a16="http://schemas.microsoft.com/office/drawing/2014/main" id="{880B0D20-5523-4C7C-8079-F7E29DAEAD9A}"/>
                </a:ext>
              </a:extLst>
            </p:cNvPr>
            <p:cNvSpPr>
              <a:spLocks/>
            </p:cNvSpPr>
            <p:nvPr userDrawn="1"/>
          </p:nvSpPr>
          <p:spPr bwMode="auto">
            <a:xfrm>
              <a:off x="3781" y="2332"/>
              <a:ext cx="160" cy="291"/>
            </a:xfrm>
            <a:custGeom>
              <a:avLst/>
              <a:gdLst>
                <a:gd name="T0" fmla="*/ 0 w 76"/>
                <a:gd name="T1" fmla="*/ 138 h 138"/>
                <a:gd name="T2" fmla="*/ 0 w 76"/>
                <a:gd name="T3" fmla="*/ 3 h 138"/>
                <a:gd name="T4" fmla="*/ 30 w 76"/>
                <a:gd name="T5" fmla="*/ 3 h 138"/>
                <a:gd name="T6" fmla="*/ 30 w 76"/>
                <a:gd name="T7" fmla="*/ 19 h 138"/>
                <a:gd name="T8" fmla="*/ 76 w 76"/>
                <a:gd name="T9" fmla="*/ 0 h 138"/>
                <a:gd name="T10" fmla="*/ 76 w 76"/>
                <a:gd name="T11" fmla="*/ 29 h 138"/>
                <a:gd name="T12" fmla="*/ 36 w 76"/>
                <a:gd name="T13" fmla="*/ 41 h 138"/>
                <a:gd name="T14" fmla="*/ 30 w 76"/>
                <a:gd name="T15" fmla="*/ 44 h 138"/>
                <a:gd name="T16" fmla="*/ 30 w 76"/>
                <a:gd name="T17" fmla="*/ 138 h 138"/>
                <a:gd name="T18" fmla="*/ 0 w 76"/>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8">
                  <a:moveTo>
                    <a:pt x="0" y="138"/>
                  </a:moveTo>
                  <a:cubicBezTo>
                    <a:pt x="0" y="3"/>
                    <a:pt x="0" y="3"/>
                    <a:pt x="0" y="3"/>
                  </a:cubicBezTo>
                  <a:cubicBezTo>
                    <a:pt x="30" y="3"/>
                    <a:pt x="30" y="3"/>
                    <a:pt x="30" y="3"/>
                  </a:cubicBezTo>
                  <a:cubicBezTo>
                    <a:pt x="30" y="19"/>
                    <a:pt x="30" y="19"/>
                    <a:pt x="30" y="19"/>
                  </a:cubicBezTo>
                  <a:cubicBezTo>
                    <a:pt x="45" y="9"/>
                    <a:pt x="60" y="3"/>
                    <a:pt x="76" y="0"/>
                  </a:cubicBezTo>
                  <a:cubicBezTo>
                    <a:pt x="76" y="29"/>
                    <a:pt x="76" y="29"/>
                    <a:pt x="76" y="29"/>
                  </a:cubicBezTo>
                  <a:cubicBezTo>
                    <a:pt x="60" y="32"/>
                    <a:pt x="47" y="36"/>
                    <a:pt x="36" y="41"/>
                  </a:cubicBezTo>
                  <a:cubicBezTo>
                    <a:pt x="30" y="44"/>
                    <a:pt x="30" y="44"/>
                    <a:pt x="30" y="44"/>
                  </a:cubicBezTo>
                  <a:cubicBezTo>
                    <a:pt x="30" y="138"/>
                    <a:pt x="30" y="138"/>
                    <a:pt x="30" y="138"/>
                  </a:cubicBezTo>
                  <a:lnTo>
                    <a:pt x="0" y="1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5">
              <a:extLst>
                <a:ext uri="{FF2B5EF4-FFF2-40B4-BE49-F238E27FC236}">
                  <a16:creationId xmlns:a16="http://schemas.microsoft.com/office/drawing/2014/main" id="{8C598D77-3D19-476A-BBA9-BA701BBD7220}"/>
                </a:ext>
              </a:extLst>
            </p:cNvPr>
            <p:cNvSpPr>
              <a:spLocks/>
            </p:cNvSpPr>
            <p:nvPr userDrawn="1"/>
          </p:nvSpPr>
          <p:spPr bwMode="auto">
            <a:xfrm>
              <a:off x="3978" y="2338"/>
              <a:ext cx="237" cy="291"/>
            </a:xfrm>
            <a:custGeom>
              <a:avLst/>
              <a:gdLst>
                <a:gd name="T0" fmla="*/ 84 w 113"/>
                <a:gd name="T1" fmla="*/ 0 h 138"/>
                <a:gd name="T2" fmla="*/ 113 w 113"/>
                <a:gd name="T3" fmla="*/ 0 h 138"/>
                <a:gd name="T4" fmla="*/ 113 w 113"/>
                <a:gd name="T5" fmla="*/ 135 h 138"/>
                <a:gd name="T6" fmla="*/ 84 w 113"/>
                <a:gd name="T7" fmla="*/ 135 h 138"/>
                <a:gd name="T8" fmla="*/ 84 w 113"/>
                <a:gd name="T9" fmla="*/ 127 h 138"/>
                <a:gd name="T10" fmla="*/ 47 w 113"/>
                <a:gd name="T11" fmla="*/ 138 h 138"/>
                <a:gd name="T12" fmla="*/ 10 w 113"/>
                <a:gd name="T13" fmla="*/ 123 h 138"/>
                <a:gd name="T14" fmla="*/ 0 w 113"/>
                <a:gd name="T15" fmla="*/ 71 h 138"/>
                <a:gd name="T16" fmla="*/ 0 w 113"/>
                <a:gd name="T17" fmla="*/ 0 h 138"/>
                <a:gd name="T18" fmla="*/ 30 w 113"/>
                <a:gd name="T19" fmla="*/ 0 h 138"/>
                <a:gd name="T20" fmla="*/ 30 w 113"/>
                <a:gd name="T21" fmla="*/ 71 h 138"/>
                <a:gd name="T22" fmla="*/ 34 w 113"/>
                <a:gd name="T23" fmla="*/ 104 h 138"/>
                <a:gd name="T24" fmla="*/ 53 w 113"/>
                <a:gd name="T25" fmla="*/ 112 h 138"/>
                <a:gd name="T26" fmla="*/ 80 w 113"/>
                <a:gd name="T27" fmla="*/ 107 h 138"/>
                <a:gd name="T28" fmla="*/ 84 w 113"/>
                <a:gd name="T29" fmla="*/ 105 h 138"/>
                <a:gd name="T30" fmla="*/ 84 w 113"/>
                <a:gd name="T3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8">
                  <a:moveTo>
                    <a:pt x="84" y="0"/>
                  </a:moveTo>
                  <a:cubicBezTo>
                    <a:pt x="113" y="0"/>
                    <a:pt x="113" y="0"/>
                    <a:pt x="113" y="0"/>
                  </a:cubicBezTo>
                  <a:cubicBezTo>
                    <a:pt x="113" y="135"/>
                    <a:pt x="113" y="135"/>
                    <a:pt x="113" y="135"/>
                  </a:cubicBezTo>
                  <a:cubicBezTo>
                    <a:pt x="84" y="135"/>
                    <a:pt x="84" y="135"/>
                    <a:pt x="84" y="135"/>
                  </a:cubicBezTo>
                  <a:cubicBezTo>
                    <a:pt x="84" y="127"/>
                    <a:pt x="84" y="127"/>
                    <a:pt x="84" y="127"/>
                  </a:cubicBezTo>
                  <a:cubicBezTo>
                    <a:pt x="71" y="135"/>
                    <a:pt x="58" y="138"/>
                    <a:pt x="47" y="138"/>
                  </a:cubicBezTo>
                  <a:cubicBezTo>
                    <a:pt x="28" y="138"/>
                    <a:pt x="16" y="133"/>
                    <a:pt x="10" y="123"/>
                  </a:cubicBezTo>
                  <a:cubicBezTo>
                    <a:pt x="3" y="113"/>
                    <a:pt x="0" y="96"/>
                    <a:pt x="0" y="71"/>
                  </a:cubicBezTo>
                  <a:cubicBezTo>
                    <a:pt x="0" y="0"/>
                    <a:pt x="0" y="0"/>
                    <a:pt x="0" y="0"/>
                  </a:cubicBezTo>
                  <a:cubicBezTo>
                    <a:pt x="30" y="0"/>
                    <a:pt x="30" y="0"/>
                    <a:pt x="30" y="0"/>
                  </a:cubicBezTo>
                  <a:cubicBezTo>
                    <a:pt x="30" y="71"/>
                    <a:pt x="30" y="71"/>
                    <a:pt x="30" y="71"/>
                  </a:cubicBezTo>
                  <a:cubicBezTo>
                    <a:pt x="30" y="87"/>
                    <a:pt x="31" y="98"/>
                    <a:pt x="34" y="104"/>
                  </a:cubicBezTo>
                  <a:cubicBezTo>
                    <a:pt x="37" y="109"/>
                    <a:pt x="43" y="112"/>
                    <a:pt x="53" y="112"/>
                  </a:cubicBezTo>
                  <a:cubicBezTo>
                    <a:pt x="63" y="112"/>
                    <a:pt x="72" y="110"/>
                    <a:pt x="80" y="107"/>
                  </a:cubicBezTo>
                  <a:cubicBezTo>
                    <a:pt x="84" y="105"/>
                    <a:pt x="84" y="105"/>
                    <a:pt x="84" y="105"/>
                  </a:cubicBezTo>
                  <a:lnTo>
                    <a:pt x="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
              <a:extLst>
                <a:ext uri="{FF2B5EF4-FFF2-40B4-BE49-F238E27FC236}">
                  <a16:creationId xmlns:a16="http://schemas.microsoft.com/office/drawing/2014/main" id="{99B0AA94-CD20-454F-9688-BC3727935EAB}"/>
                </a:ext>
              </a:extLst>
            </p:cNvPr>
            <p:cNvSpPr>
              <a:spLocks noEditPoints="1"/>
            </p:cNvSpPr>
            <p:nvPr userDrawn="1"/>
          </p:nvSpPr>
          <p:spPr bwMode="auto">
            <a:xfrm>
              <a:off x="4284" y="2222"/>
              <a:ext cx="63" cy="401"/>
            </a:xfrm>
            <a:custGeom>
              <a:avLst/>
              <a:gdLst>
                <a:gd name="T0" fmla="*/ 0 w 63"/>
                <a:gd name="T1" fmla="*/ 0 h 401"/>
                <a:gd name="T2" fmla="*/ 63 w 63"/>
                <a:gd name="T3" fmla="*/ 0 h 401"/>
                <a:gd name="T4" fmla="*/ 63 w 63"/>
                <a:gd name="T5" fmla="*/ 68 h 401"/>
                <a:gd name="T6" fmla="*/ 0 w 63"/>
                <a:gd name="T7" fmla="*/ 68 h 401"/>
                <a:gd name="T8" fmla="*/ 0 w 63"/>
                <a:gd name="T9" fmla="*/ 0 h 401"/>
                <a:gd name="T10" fmla="*/ 0 w 63"/>
                <a:gd name="T11" fmla="*/ 116 h 401"/>
                <a:gd name="T12" fmla="*/ 63 w 63"/>
                <a:gd name="T13" fmla="*/ 116 h 401"/>
                <a:gd name="T14" fmla="*/ 63 w 63"/>
                <a:gd name="T15" fmla="*/ 401 h 401"/>
                <a:gd name="T16" fmla="*/ 0 w 63"/>
                <a:gd name="T17" fmla="*/ 401 h 401"/>
                <a:gd name="T18" fmla="*/ 0 w 63"/>
                <a:gd name="T19" fmla="*/ 11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8"/>
                  </a:lnTo>
                  <a:lnTo>
                    <a:pt x="0" y="68"/>
                  </a:lnTo>
                  <a:lnTo>
                    <a:pt x="0" y="0"/>
                  </a:lnTo>
                  <a:close/>
                  <a:moveTo>
                    <a:pt x="0" y="116"/>
                  </a:moveTo>
                  <a:lnTo>
                    <a:pt x="63" y="116"/>
                  </a:lnTo>
                  <a:lnTo>
                    <a:pt x="63" y="401"/>
                  </a:lnTo>
                  <a:lnTo>
                    <a:pt x="0" y="401"/>
                  </a:lnTo>
                  <a:lnTo>
                    <a:pt x="0"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7">
              <a:extLst>
                <a:ext uri="{FF2B5EF4-FFF2-40B4-BE49-F238E27FC236}">
                  <a16:creationId xmlns:a16="http://schemas.microsoft.com/office/drawing/2014/main" id="{41E34058-80CB-46DE-8EF7-1C3C57F77172}"/>
                </a:ext>
              </a:extLst>
            </p:cNvPr>
            <p:cNvSpPr>
              <a:spLocks/>
            </p:cNvSpPr>
            <p:nvPr userDrawn="1"/>
          </p:nvSpPr>
          <p:spPr bwMode="auto">
            <a:xfrm>
              <a:off x="4401" y="2332"/>
              <a:ext cx="222" cy="297"/>
            </a:xfrm>
            <a:custGeom>
              <a:avLst/>
              <a:gdLst>
                <a:gd name="T0" fmla="*/ 101 w 106"/>
                <a:gd name="T1" fmla="*/ 31 h 141"/>
                <a:gd name="T2" fmla="*/ 55 w 106"/>
                <a:gd name="T3" fmla="*/ 26 h 141"/>
                <a:gd name="T4" fmla="*/ 35 w 106"/>
                <a:gd name="T5" fmla="*/ 30 h 141"/>
                <a:gd name="T6" fmla="*/ 29 w 106"/>
                <a:gd name="T7" fmla="*/ 40 h 141"/>
                <a:gd name="T8" fmla="*/ 35 w 106"/>
                <a:gd name="T9" fmla="*/ 51 h 141"/>
                <a:gd name="T10" fmla="*/ 64 w 106"/>
                <a:gd name="T11" fmla="*/ 58 h 141"/>
                <a:gd name="T12" fmla="*/ 96 w 106"/>
                <a:gd name="T13" fmla="*/ 70 h 141"/>
                <a:gd name="T14" fmla="*/ 106 w 106"/>
                <a:gd name="T15" fmla="*/ 100 h 141"/>
                <a:gd name="T16" fmla="*/ 92 w 106"/>
                <a:gd name="T17" fmla="*/ 131 h 141"/>
                <a:gd name="T18" fmla="*/ 52 w 106"/>
                <a:gd name="T19" fmla="*/ 141 h 141"/>
                <a:gd name="T20" fmla="*/ 10 w 106"/>
                <a:gd name="T21" fmla="*/ 137 h 141"/>
                <a:gd name="T22" fmla="*/ 2 w 106"/>
                <a:gd name="T23" fmla="*/ 135 h 141"/>
                <a:gd name="T24" fmla="*/ 3 w 106"/>
                <a:gd name="T25" fmla="*/ 111 h 141"/>
                <a:gd name="T26" fmla="*/ 50 w 106"/>
                <a:gd name="T27" fmla="*/ 115 h 141"/>
                <a:gd name="T28" fmla="*/ 70 w 106"/>
                <a:gd name="T29" fmla="*/ 112 h 141"/>
                <a:gd name="T30" fmla="*/ 76 w 106"/>
                <a:gd name="T31" fmla="*/ 100 h 141"/>
                <a:gd name="T32" fmla="*/ 71 w 106"/>
                <a:gd name="T33" fmla="*/ 89 h 141"/>
                <a:gd name="T34" fmla="*/ 43 w 106"/>
                <a:gd name="T35" fmla="*/ 82 h 141"/>
                <a:gd name="T36" fmla="*/ 10 w 106"/>
                <a:gd name="T37" fmla="*/ 70 h 141"/>
                <a:gd name="T38" fmla="*/ 0 w 106"/>
                <a:gd name="T39" fmla="*/ 41 h 141"/>
                <a:gd name="T40" fmla="*/ 14 w 106"/>
                <a:gd name="T41" fmla="*/ 10 h 141"/>
                <a:gd name="T42" fmla="*/ 51 w 106"/>
                <a:gd name="T43" fmla="*/ 0 h 141"/>
                <a:gd name="T44" fmla="*/ 93 w 106"/>
                <a:gd name="T45" fmla="*/ 4 h 141"/>
                <a:gd name="T46" fmla="*/ 102 w 106"/>
                <a:gd name="T47" fmla="*/ 6 h 141"/>
                <a:gd name="T48" fmla="*/ 101 w 106"/>
                <a:gd name="T49" fmla="*/ 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41">
                  <a:moveTo>
                    <a:pt x="101" y="31"/>
                  </a:moveTo>
                  <a:cubicBezTo>
                    <a:pt x="80" y="28"/>
                    <a:pt x="64" y="26"/>
                    <a:pt x="55" y="26"/>
                  </a:cubicBezTo>
                  <a:cubicBezTo>
                    <a:pt x="45" y="26"/>
                    <a:pt x="38" y="27"/>
                    <a:pt x="35" y="30"/>
                  </a:cubicBezTo>
                  <a:cubicBezTo>
                    <a:pt x="31" y="32"/>
                    <a:pt x="29" y="36"/>
                    <a:pt x="29" y="40"/>
                  </a:cubicBezTo>
                  <a:cubicBezTo>
                    <a:pt x="29" y="45"/>
                    <a:pt x="31" y="49"/>
                    <a:pt x="35" y="51"/>
                  </a:cubicBezTo>
                  <a:cubicBezTo>
                    <a:pt x="39" y="53"/>
                    <a:pt x="49" y="55"/>
                    <a:pt x="64" y="58"/>
                  </a:cubicBezTo>
                  <a:cubicBezTo>
                    <a:pt x="79" y="60"/>
                    <a:pt x="90" y="64"/>
                    <a:pt x="96" y="70"/>
                  </a:cubicBezTo>
                  <a:cubicBezTo>
                    <a:pt x="103" y="76"/>
                    <a:pt x="106" y="86"/>
                    <a:pt x="106" y="100"/>
                  </a:cubicBezTo>
                  <a:cubicBezTo>
                    <a:pt x="106" y="114"/>
                    <a:pt x="101" y="125"/>
                    <a:pt x="92" y="131"/>
                  </a:cubicBezTo>
                  <a:cubicBezTo>
                    <a:pt x="83" y="138"/>
                    <a:pt x="70" y="141"/>
                    <a:pt x="52" y="141"/>
                  </a:cubicBezTo>
                  <a:cubicBezTo>
                    <a:pt x="41" y="141"/>
                    <a:pt x="27" y="140"/>
                    <a:pt x="10" y="137"/>
                  </a:cubicBezTo>
                  <a:cubicBezTo>
                    <a:pt x="2" y="135"/>
                    <a:pt x="2" y="135"/>
                    <a:pt x="2" y="135"/>
                  </a:cubicBezTo>
                  <a:cubicBezTo>
                    <a:pt x="3" y="111"/>
                    <a:pt x="3" y="111"/>
                    <a:pt x="3" y="111"/>
                  </a:cubicBezTo>
                  <a:cubicBezTo>
                    <a:pt x="25" y="114"/>
                    <a:pt x="40" y="115"/>
                    <a:pt x="50" y="115"/>
                  </a:cubicBezTo>
                  <a:cubicBezTo>
                    <a:pt x="59" y="115"/>
                    <a:pt x="66" y="114"/>
                    <a:pt x="70" y="112"/>
                  </a:cubicBezTo>
                  <a:cubicBezTo>
                    <a:pt x="74" y="109"/>
                    <a:pt x="76" y="105"/>
                    <a:pt x="76" y="100"/>
                  </a:cubicBezTo>
                  <a:cubicBezTo>
                    <a:pt x="76" y="94"/>
                    <a:pt x="74" y="91"/>
                    <a:pt x="71" y="89"/>
                  </a:cubicBezTo>
                  <a:cubicBezTo>
                    <a:pt x="67" y="87"/>
                    <a:pt x="57" y="84"/>
                    <a:pt x="43" y="82"/>
                  </a:cubicBezTo>
                  <a:cubicBezTo>
                    <a:pt x="28" y="79"/>
                    <a:pt x="17" y="76"/>
                    <a:pt x="10" y="70"/>
                  </a:cubicBezTo>
                  <a:cubicBezTo>
                    <a:pt x="3" y="65"/>
                    <a:pt x="0" y="55"/>
                    <a:pt x="0" y="41"/>
                  </a:cubicBezTo>
                  <a:cubicBezTo>
                    <a:pt x="0" y="28"/>
                    <a:pt x="5" y="17"/>
                    <a:pt x="14" y="10"/>
                  </a:cubicBezTo>
                  <a:cubicBezTo>
                    <a:pt x="24" y="3"/>
                    <a:pt x="36" y="0"/>
                    <a:pt x="51" y="0"/>
                  </a:cubicBezTo>
                  <a:cubicBezTo>
                    <a:pt x="62" y="0"/>
                    <a:pt x="76" y="1"/>
                    <a:pt x="93" y="4"/>
                  </a:cubicBezTo>
                  <a:cubicBezTo>
                    <a:pt x="102" y="6"/>
                    <a:pt x="102" y="6"/>
                    <a:pt x="102" y="6"/>
                  </a:cubicBezTo>
                  <a:lnTo>
                    <a:pt x="101"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a:extLst>
                <a:ext uri="{FF2B5EF4-FFF2-40B4-BE49-F238E27FC236}">
                  <a16:creationId xmlns:a16="http://schemas.microsoft.com/office/drawing/2014/main" id="{108F29F8-F753-476C-B26B-DE8CC77897E0}"/>
                </a:ext>
              </a:extLst>
            </p:cNvPr>
            <p:cNvSpPr>
              <a:spLocks/>
            </p:cNvSpPr>
            <p:nvPr userDrawn="1"/>
          </p:nvSpPr>
          <p:spPr bwMode="auto">
            <a:xfrm>
              <a:off x="2640" y="1887"/>
              <a:ext cx="356" cy="91"/>
            </a:xfrm>
            <a:custGeom>
              <a:avLst/>
              <a:gdLst>
                <a:gd name="T0" fmla="*/ 111 w 170"/>
                <a:gd name="T1" fmla="*/ 40 h 43"/>
                <a:gd name="T2" fmla="*/ 170 w 170"/>
                <a:gd name="T3" fmla="*/ 43 h 43"/>
                <a:gd name="T4" fmla="*/ 170 w 170"/>
                <a:gd name="T5" fmla="*/ 28 h 43"/>
                <a:gd name="T6" fmla="*/ 114 w 170"/>
                <a:gd name="T7" fmla="*/ 23 h 43"/>
                <a:gd name="T8" fmla="*/ 0 w 170"/>
                <a:gd name="T9" fmla="*/ 0 h 43"/>
                <a:gd name="T10" fmla="*/ 0 w 170"/>
                <a:gd name="T11" fmla="*/ 21 h 43"/>
                <a:gd name="T12" fmla="*/ 111 w 170"/>
                <a:gd name="T13" fmla="*/ 40 h 43"/>
              </a:gdLst>
              <a:ahLst/>
              <a:cxnLst>
                <a:cxn ang="0">
                  <a:pos x="T0" y="T1"/>
                </a:cxn>
                <a:cxn ang="0">
                  <a:pos x="T2" y="T3"/>
                </a:cxn>
                <a:cxn ang="0">
                  <a:pos x="T4" y="T5"/>
                </a:cxn>
                <a:cxn ang="0">
                  <a:pos x="T6" y="T7"/>
                </a:cxn>
                <a:cxn ang="0">
                  <a:pos x="T8" y="T9"/>
                </a:cxn>
                <a:cxn ang="0">
                  <a:pos x="T10" y="T11"/>
                </a:cxn>
                <a:cxn ang="0">
                  <a:pos x="T12" y="T13"/>
                </a:cxn>
              </a:cxnLst>
              <a:rect l="0" t="0" r="r" b="b"/>
              <a:pathLst>
                <a:path w="170" h="43">
                  <a:moveTo>
                    <a:pt x="111" y="40"/>
                  </a:moveTo>
                  <a:cubicBezTo>
                    <a:pt x="132" y="42"/>
                    <a:pt x="151" y="43"/>
                    <a:pt x="170" y="43"/>
                  </a:cubicBezTo>
                  <a:cubicBezTo>
                    <a:pt x="170" y="28"/>
                    <a:pt x="170" y="28"/>
                    <a:pt x="170" y="28"/>
                  </a:cubicBezTo>
                  <a:cubicBezTo>
                    <a:pt x="151" y="27"/>
                    <a:pt x="133" y="26"/>
                    <a:pt x="114" y="23"/>
                  </a:cubicBezTo>
                  <a:cubicBezTo>
                    <a:pt x="77" y="19"/>
                    <a:pt x="38" y="11"/>
                    <a:pt x="0" y="0"/>
                  </a:cubicBezTo>
                  <a:cubicBezTo>
                    <a:pt x="0" y="21"/>
                    <a:pt x="0" y="21"/>
                    <a:pt x="0" y="21"/>
                  </a:cubicBezTo>
                  <a:cubicBezTo>
                    <a:pt x="40" y="31"/>
                    <a:pt x="77" y="37"/>
                    <a:pt x="111" y="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a:extLst>
                <a:ext uri="{FF2B5EF4-FFF2-40B4-BE49-F238E27FC236}">
                  <a16:creationId xmlns:a16="http://schemas.microsoft.com/office/drawing/2014/main" id="{439F0E8C-968E-4CEB-BBE6-A090F9AA4AB1}"/>
                </a:ext>
              </a:extLst>
            </p:cNvPr>
            <p:cNvSpPr>
              <a:spLocks/>
            </p:cNvSpPr>
            <p:nvPr userDrawn="1"/>
          </p:nvSpPr>
          <p:spPr bwMode="auto">
            <a:xfrm>
              <a:off x="2640" y="1811"/>
              <a:ext cx="356" cy="104"/>
            </a:xfrm>
            <a:custGeom>
              <a:avLst/>
              <a:gdLst>
                <a:gd name="T0" fmla="*/ 128 w 170"/>
                <a:gd name="T1" fmla="*/ 46 h 49"/>
                <a:gd name="T2" fmla="*/ 170 w 170"/>
                <a:gd name="T3" fmla="*/ 49 h 49"/>
                <a:gd name="T4" fmla="*/ 170 w 170"/>
                <a:gd name="T5" fmla="*/ 34 h 49"/>
                <a:gd name="T6" fmla="*/ 114 w 170"/>
                <a:gd name="T7" fmla="*/ 27 h 49"/>
                <a:gd name="T8" fmla="*/ 0 w 170"/>
                <a:gd name="T9" fmla="*/ 0 h 49"/>
                <a:gd name="T10" fmla="*/ 0 w 170"/>
                <a:gd name="T11" fmla="*/ 21 h 49"/>
                <a:gd name="T12" fmla="*/ 128 w 170"/>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170" h="49">
                  <a:moveTo>
                    <a:pt x="128" y="46"/>
                  </a:moveTo>
                  <a:cubicBezTo>
                    <a:pt x="142" y="47"/>
                    <a:pt x="156" y="48"/>
                    <a:pt x="170" y="49"/>
                  </a:cubicBezTo>
                  <a:cubicBezTo>
                    <a:pt x="170" y="34"/>
                    <a:pt x="170" y="34"/>
                    <a:pt x="170" y="34"/>
                  </a:cubicBezTo>
                  <a:cubicBezTo>
                    <a:pt x="151" y="32"/>
                    <a:pt x="133" y="30"/>
                    <a:pt x="114" y="27"/>
                  </a:cubicBezTo>
                  <a:cubicBezTo>
                    <a:pt x="77" y="21"/>
                    <a:pt x="38" y="12"/>
                    <a:pt x="0" y="0"/>
                  </a:cubicBezTo>
                  <a:cubicBezTo>
                    <a:pt x="0" y="21"/>
                    <a:pt x="0" y="21"/>
                    <a:pt x="0" y="21"/>
                  </a:cubicBezTo>
                  <a:cubicBezTo>
                    <a:pt x="46" y="34"/>
                    <a:pt x="89" y="42"/>
                    <a:pt x="128" y="4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a:extLst>
                <a:ext uri="{FF2B5EF4-FFF2-40B4-BE49-F238E27FC236}">
                  <a16:creationId xmlns:a16="http://schemas.microsoft.com/office/drawing/2014/main" id="{50287170-DF6C-4612-8E0C-1CA865A58A75}"/>
                </a:ext>
              </a:extLst>
            </p:cNvPr>
            <p:cNvSpPr>
              <a:spLocks/>
            </p:cNvSpPr>
            <p:nvPr userDrawn="1"/>
          </p:nvSpPr>
          <p:spPr bwMode="auto">
            <a:xfrm>
              <a:off x="2640" y="1735"/>
              <a:ext cx="356" cy="114"/>
            </a:xfrm>
            <a:custGeom>
              <a:avLst/>
              <a:gdLst>
                <a:gd name="T0" fmla="*/ 0 w 170"/>
                <a:gd name="T1" fmla="*/ 21 h 54"/>
                <a:gd name="T2" fmla="*/ 144 w 170"/>
                <a:gd name="T3" fmla="*/ 52 h 54"/>
                <a:gd name="T4" fmla="*/ 170 w 170"/>
                <a:gd name="T5" fmla="*/ 54 h 54"/>
                <a:gd name="T6" fmla="*/ 170 w 170"/>
                <a:gd name="T7" fmla="*/ 39 h 54"/>
                <a:gd name="T8" fmla="*/ 114 w 170"/>
                <a:gd name="T9" fmla="*/ 31 h 54"/>
                <a:gd name="T10" fmla="*/ 0 w 170"/>
                <a:gd name="T11" fmla="*/ 0 h 54"/>
                <a:gd name="T12" fmla="*/ 0 w 170"/>
                <a:gd name="T13" fmla="*/ 21 h 54"/>
              </a:gdLst>
              <a:ahLst/>
              <a:cxnLst>
                <a:cxn ang="0">
                  <a:pos x="T0" y="T1"/>
                </a:cxn>
                <a:cxn ang="0">
                  <a:pos x="T2" y="T3"/>
                </a:cxn>
                <a:cxn ang="0">
                  <a:pos x="T4" y="T5"/>
                </a:cxn>
                <a:cxn ang="0">
                  <a:pos x="T6" y="T7"/>
                </a:cxn>
                <a:cxn ang="0">
                  <a:pos x="T8" y="T9"/>
                </a:cxn>
                <a:cxn ang="0">
                  <a:pos x="T10" y="T11"/>
                </a:cxn>
                <a:cxn ang="0">
                  <a:pos x="T12" y="T13"/>
                </a:cxn>
              </a:cxnLst>
              <a:rect l="0" t="0" r="r" b="b"/>
              <a:pathLst>
                <a:path w="170" h="54">
                  <a:moveTo>
                    <a:pt x="0" y="21"/>
                  </a:moveTo>
                  <a:cubicBezTo>
                    <a:pt x="53" y="37"/>
                    <a:pt x="101" y="47"/>
                    <a:pt x="144" y="52"/>
                  </a:cubicBezTo>
                  <a:cubicBezTo>
                    <a:pt x="153" y="53"/>
                    <a:pt x="161" y="54"/>
                    <a:pt x="170" y="54"/>
                  </a:cubicBezTo>
                  <a:cubicBezTo>
                    <a:pt x="170" y="39"/>
                    <a:pt x="170" y="39"/>
                    <a:pt x="170" y="39"/>
                  </a:cubicBezTo>
                  <a:cubicBezTo>
                    <a:pt x="151" y="37"/>
                    <a:pt x="133" y="34"/>
                    <a:pt x="114" y="31"/>
                  </a:cubicBezTo>
                  <a:cubicBezTo>
                    <a:pt x="77" y="24"/>
                    <a:pt x="38" y="13"/>
                    <a:pt x="0" y="0"/>
                  </a:cubicBezTo>
                  <a:lnTo>
                    <a:pt x="0"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a:extLst>
                <a:ext uri="{FF2B5EF4-FFF2-40B4-BE49-F238E27FC236}">
                  <a16:creationId xmlns:a16="http://schemas.microsoft.com/office/drawing/2014/main" id="{D6ECA75F-E520-4953-9E3D-F802B34777DB}"/>
                </a:ext>
              </a:extLst>
            </p:cNvPr>
            <p:cNvSpPr>
              <a:spLocks/>
            </p:cNvSpPr>
            <p:nvPr userDrawn="1"/>
          </p:nvSpPr>
          <p:spPr bwMode="auto">
            <a:xfrm>
              <a:off x="2535" y="1963"/>
              <a:ext cx="746" cy="112"/>
            </a:xfrm>
            <a:custGeom>
              <a:avLst/>
              <a:gdLst>
                <a:gd name="T0" fmla="*/ 356 w 356"/>
                <a:gd name="T1" fmla="*/ 16 h 53"/>
                <a:gd name="T2" fmla="*/ 356 w 356"/>
                <a:gd name="T3" fmla="*/ 14 h 53"/>
                <a:gd name="T4" fmla="*/ 351 w 356"/>
                <a:gd name="T5" fmla="*/ 10 h 53"/>
                <a:gd name="T6" fmla="*/ 350 w 356"/>
                <a:gd name="T7" fmla="*/ 10 h 53"/>
                <a:gd name="T8" fmla="*/ 342 w 356"/>
                <a:gd name="T9" fmla="*/ 10 h 53"/>
                <a:gd name="T10" fmla="*/ 50 w 356"/>
                <a:gd name="T11" fmla="*/ 0 h 53"/>
                <a:gd name="T12" fmla="*/ 50 w 356"/>
                <a:gd name="T13" fmla="*/ 10 h 53"/>
                <a:gd name="T14" fmla="*/ 50 w 356"/>
                <a:gd name="T15" fmla="*/ 10 h 53"/>
                <a:gd name="T16" fmla="*/ 0 w 356"/>
                <a:gd name="T17" fmla="*/ 10 h 53"/>
                <a:gd name="T18" fmla="*/ 356 w 356"/>
                <a:gd name="T1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53">
                  <a:moveTo>
                    <a:pt x="356" y="16"/>
                  </a:moveTo>
                  <a:cubicBezTo>
                    <a:pt x="356" y="14"/>
                    <a:pt x="356" y="14"/>
                    <a:pt x="356" y="14"/>
                  </a:cubicBezTo>
                  <a:cubicBezTo>
                    <a:pt x="355" y="12"/>
                    <a:pt x="353" y="11"/>
                    <a:pt x="351" y="10"/>
                  </a:cubicBezTo>
                  <a:cubicBezTo>
                    <a:pt x="351" y="10"/>
                    <a:pt x="350" y="10"/>
                    <a:pt x="350" y="10"/>
                  </a:cubicBezTo>
                  <a:cubicBezTo>
                    <a:pt x="342" y="10"/>
                    <a:pt x="342" y="10"/>
                    <a:pt x="342" y="10"/>
                  </a:cubicBezTo>
                  <a:cubicBezTo>
                    <a:pt x="251" y="31"/>
                    <a:pt x="151" y="25"/>
                    <a:pt x="50" y="0"/>
                  </a:cubicBezTo>
                  <a:cubicBezTo>
                    <a:pt x="50" y="10"/>
                    <a:pt x="50" y="10"/>
                    <a:pt x="50" y="10"/>
                  </a:cubicBezTo>
                  <a:cubicBezTo>
                    <a:pt x="50" y="10"/>
                    <a:pt x="50" y="10"/>
                    <a:pt x="50" y="10"/>
                  </a:cubicBezTo>
                  <a:cubicBezTo>
                    <a:pt x="0" y="10"/>
                    <a:pt x="0" y="10"/>
                    <a:pt x="0" y="10"/>
                  </a:cubicBezTo>
                  <a:cubicBezTo>
                    <a:pt x="157" y="53"/>
                    <a:pt x="279" y="39"/>
                    <a:pt x="356" y="1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a:extLst>
                <a:ext uri="{FF2B5EF4-FFF2-40B4-BE49-F238E27FC236}">
                  <a16:creationId xmlns:a16="http://schemas.microsoft.com/office/drawing/2014/main" id="{F67C081B-928D-4716-932A-D0BFBA8752BC}"/>
                </a:ext>
              </a:extLst>
            </p:cNvPr>
            <p:cNvSpPr>
              <a:spLocks/>
            </p:cNvSpPr>
            <p:nvPr userDrawn="1"/>
          </p:nvSpPr>
          <p:spPr bwMode="auto">
            <a:xfrm>
              <a:off x="2355" y="2125"/>
              <a:ext cx="926" cy="173"/>
            </a:xfrm>
            <a:custGeom>
              <a:avLst/>
              <a:gdLst>
                <a:gd name="T0" fmla="*/ 442 w 442"/>
                <a:gd name="T1" fmla="*/ 17 h 82"/>
                <a:gd name="T2" fmla="*/ 442 w 442"/>
                <a:gd name="T3" fmla="*/ 8 h 82"/>
                <a:gd name="T4" fmla="*/ 229 w 442"/>
                <a:gd name="T5" fmla="*/ 40 h 82"/>
                <a:gd name="T6" fmla="*/ 0 w 442"/>
                <a:gd name="T7" fmla="*/ 0 h 82"/>
                <a:gd name="T8" fmla="*/ 0 w 442"/>
                <a:gd name="T9" fmla="*/ 24 h 82"/>
                <a:gd name="T10" fmla="*/ 442 w 442"/>
                <a:gd name="T11" fmla="*/ 17 h 82"/>
              </a:gdLst>
              <a:ahLst/>
              <a:cxnLst>
                <a:cxn ang="0">
                  <a:pos x="T0" y="T1"/>
                </a:cxn>
                <a:cxn ang="0">
                  <a:pos x="T2" y="T3"/>
                </a:cxn>
                <a:cxn ang="0">
                  <a:pos x="T4" y="T5"/>
                </a:cxn>
                <a:cxn ang="0">
                  <a:pos x="T6" y="T7"/>
                </a:cxn>
                <a:cxn ang="0">
                  <a:pos x="T8" y="T9"/>
                </a:cxn>
                <a:cxn ang="0">
                  <a:pos x="T10" y="T11"/>
                </a:cxn>
              </a:cxnLst>
              <a:rect l="0" t="0" r="r" b="b"/>
              <a:pathLst>
                <a:path w="442" h="82">
                  <a:moveTo>
                    <a:pt x="442" y="17"/>
                  </a:moveTo>
                  <a:cubicBezTo>
                    <a:pt x="442" y="8"/>
                    <a:pt x="442" y="8"/>
                    <a:pt x="442" y="8"/>
                  </a:cubicBezTo>
                  <a:cubicBezTo>
                    <a:pt x="374" y="32"/>
                    <a:pt x="303" y="42"/>
                    <a:pt x="229" y="40"/>
                  </a:cubicBezTo>
                  <a:cubicBezTo>
                    <a:pt x="154" y="38"/>
                    <a:pt x="77" y="24"/>
                    <a:pt x="0" y="0"/>
                  </a:cubicBezTo>
                  <a:cubicBezTo>
                    <a:pt x="0" y="24"/>
                    <a:pt x="0" y="24"/>
                    <a:pt x="0" y="24"/>
                  </a:cubicBezTo>
                  <a:cubicBezTo>
                    <a:pt x="204" y="82"/>
                    <a:pt x="351" y="54"/>
                    <a:pt x="442"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a:extLst>
                <a:ext uri="{FF2B5EF4-FFF2-40B4-BE49-F238E27FC236}">
                  <a16:creationId xmlns:a16="http://schemas.microsoft.com/office/drawing/2014/main" id="{027829CF-3388-44A0-A16C-CD5EA77B6D25}"/>
                </a:ext>
              </a:extLst>
            </p:cNvPr>
            <p:cNvSpPr>
              <a:spLocks/>
            </p:cNvSpPr>
            <p:nvPr userDrawn="1"/>
          </p:nvSpPr>
          <p:spPr bwMode="auto">
            <a:xfrm>
              <a:off x="2355" y="2041"/>
              <a:ext cx="926" cy="139"/>
            </a:xfrm>
            <a:custGeom>
              <a:avLst/>
              <a:gdLst>
                <a:gd name="T0" fmla="*/ 442 w 442"/>
                <a:gd name="T1" fmla="*/ 31 h 66"/>
                <a:gd name="T2" fmla="*/ 442 w 442"/>
                <a:gd name="T3" fmla="*/ 22 h 66"/>
                <a:gd name="T4" fmla="*/ 255 w 442"/>
                <a:gd name="T5" fmla="*/ 48 h 66"/>
                <a:gd name="T6" fmla="*/ 0 w 442"/>
                <a:gd name="T7" fmla="*/ 0 h 66"/>
                <a:gd name="T8" fmla="*/ 0 w 442"/>
                <a:gd name="T9" fmla="*/ 23 h 66"/>
                <a:gd name="T10" fmla="*/ 235 w 442"/>
                <a:gd name="T11" fmla="*/ 64 h 66"/>
                <a:gd name="T12" fmla="*/ 442 w 442"/>
                <a:gd name="T13" fmla="*/ 31 h 66"/>
              </a:gdLst>
              <a:ahLst/>
              <a:cxnLst>
                <a:cxn ang="0">
                  <a:pos x="T0" y="T1"/>
                </a:cxn>
                <a:cxn ang="0">
                  <a:pos x="T2" y="T3"/>
                </a:cxn>
                <a:cxn ang="0">
                  <a:pos x="T4" y="T5"/>
                </a:cxn>
                <a:cxn ang="0">
                  <a:pos x="T6" y="T7"/>
                </a:cxn>
                <a:cxn ang="0">
                  <a:pos x="T8" y="T9"/>
                </a:cxn>
                <a:cxn ang="0">
                  <a:pos x="T10" y="T11"/>
                </a:cxn>
                <a:cxn ang="0">
                  <a:pos x="T12" y="T13"/>
                </a:cxn>
              </a:cxnLst>
              <a:rect l="0" t="0" r="r" b="b"/>
              <a:pathLst>
                <a:path w="442" h="66">
                  <a:moveTo>
                    <a:pt x="442" y="31"/>
                  </a:moveTo>
                  <a:cubicBezTo>
                    <a:pt x="442" y="22"/>
                    <a:pt x="442" y="22"/>
                    <a:pt x="442" y="22"/>
                  </a:cubicBezTo>
                  <a:cubicBezTo>
                    <a:pt x="382" y="41"/>
                    <a:pt x="320" y="49"/>
                    <a:pt x="255" y="48"/>
                  </a:cubicBezTo>
                  <a:cubicBezTo>
                    <a:pt x="172" y="46"/>
                    <a:pt x="86" y="29"/>
                    <a:pt x="0" y="0"/>
                  </a:cubicBezTo>
                  <a:cubicBezTo>
                    <a:pt x="0" y="23"/>
                    <a:pt x="0" y="23"/>
                    <a:pt x="0" y="23"/>
                  </a:cubicBezTo>
                  <a:cubicBezTo>
                    <a:pt x="89" y="52"/>
                    <a:pt x="168" y="63"/>
                    <a:pt x="235" y="64"/>
                  </a:cubicBezTo>
                  <a:cubicBezTo>
                    <a:pt x="322" y="66"/>
                    <a:pt x="391" y="50"/>
                    <a:pt x="442" y="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a:extLst>
                <a:ext uri="{FF2B5EF4-FFF2-40B4-BE49-F238E27FC236}">
                  <a16:creationId xmlns:a16="http://schemas.microsoft.com/office/drawing/2014/main" id="{CDCF9890-E587-4F5C-A83B-1F7C58FA3D53}"/>
                </a:ext>
              </a:extLst>
            </p:cNvPr>
            <p:cNvSpPr>
              <a:spLocks/>
            </p:cNvSpPr>
            <p:nvPr userDrawn="1"/>
          </p:nvSpPr>
          <p:spPr bwMode="auto">
            <a:xfrm>
              <a:off x="2355" y="2294"/>
              <a:ext cx="188" cy="36"/>
            </a:xfrm>
            <a:custGeom>
              <a:avLst/>
              <a:gdLst>
                <a:gd name="T0" fmla="*/ 6 w 90"/>
                <a:gd name="T1" fmla="*/ 17 h 17"/>
                <a:gd name="T2" fmla="*/ 90 w 90"/>
                <a:gd name="T3" fmla="*/ 17 h 17"/>
                <a:gd name="T4" fmla="*/ 14 w 90"/>
                <a:gd name="T5" fmla="*/ 3 h 17"/>
                <a:gd name="T6" fmla="*/ 0 w 90"/>
                <a:gd name="T7" fmla="*/ 0 h 17"/>
                <a:gd name="T8" fmla="*/ 0 w 90"/>
                <a:gd name="T9" fmla="*/ 11 h 17"/>
                <a:gd name="T10" fmla="*/ 0 w 90"/>
                <a:gd name="T11" fmla="*/ 13 h 17"/>
                <a:gd name="T12" fmla="*/ 6 w 9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0" h="17">
                  <a:moveTo>
                    <a:pt x="6" y="17"/>
                  </a:moveTo>
                  <a:cubicBezTo>
                    <a:pt x="90" y="17"/>
                    <a:pt x="90" y="17"/>
                    <a:pt x="90" y="17"/>
                  </a:cubicBezTo>
                  <a:cubicBezTo>
                    <a:pt x="67" y="14"/>
                    <a:pt x="39" y="9"/>
                    <a:pt x="14" y="3"/>
                  </a:cubicBezTo>
                  <a:cubicBezTo>
                    <a:pt x="9" y="2"/>
                    <a:pt x="4" y="1"/>
                    <a:pt x="0" y="0"/>
                  </a:cubicBezTo>
                  <a:cubicBezTo>
                    <a:pt x="0" y="11"/>
                    <a:pt x="0" y="11"/>
                    <a:pt x="0" y="11"/>
                  </a:cubicBezTo>
                  <a:cubicBezTo>
                    <a:pt x="0" y="12"/>
                    <a:pt x="0" y="13"/>
                    <a:pt x="0" y="13"/>
                  </a:cubicBezTo>
                  <a:cubicBezTo>
                    <a:pt x="1" y="16"/>
                    <a:pt x="3" y="17"/>
                    <a:pt x="6"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a:extLst>
                <a:ext uri="{FF2B5EF4-FFF2-40B4-BE49-F238E27FC236}">
                  <a16:creationId xmlns:a16="http://schemas.microsoft.com/office/drawing/2014/main" id="{6100225C-4DAE-4446-9AB2-705B57A820E7}"/>
                </a:ext>
              </a:extLst>
            </p:cNvPr>
            <p:cNvSpPr>
              <a:spLocks/>
            </p:cNvSpPr>
            <p:nvPr userDrawn="1"/>
          </p:nvSpPr>
          <p:spPr bwMode="auto">
            <a:xfrm>
              <a:off x="2355" y="2197"/>
              <a:ext cx="926" cy="141"/>
            </a:xfrm>
            <a:custGeom>
              <a:avLst/>
              <a:gdLst>
                <a:gd name="T0" fmla="*/ 442 w 442"/>
                <a:gd name="T1" fmla="*/ 9 h 67"/>
                <a:gd name="T2" fmla="*/ 442 w 442"/>
                <a:gd name="T3" fmla="*/ 0 h 67"/>
                <a:gd name="T4" fmla="*/ 228 w 442"/>
                <a:gd name="T5" fmla="*/ 39 h 67"/>
                <a:gd name="T6" fmla="*/ 0 w 442"/>
                <a:gd name="T7" fmla="*/ 7 h 67"/>
                <a:gd name="T8" fmla="*/ 0 w 442"/>
                <a:gd name="T9" fmla="*/ 30 h 67"/>
                <a:gd name="T10" fmla="*/ 126 w 442"/>
                <a:gd name="T11" fmla="*/ 53 h 67"/>
                <a:gd name="T12" fmla="*/ 442 w 442"/>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442" h="67">
                  <a:moveTo>
                    <a:pt x="442" y="9"/>
                  </a:moveTo>
                  <a:cubicBezTo>
                    <a:pt x="442" y="0"/>
                    <a:pt x="442" y="0"/>
                    <a:pt x="442" y="0"/>
                  </a:cubicBezTo>
                  <a:cubicBezTo>
                    <a:pt x="374" y="26"/>
                    <a:pt x="302" y="38"/>
                    <a:pt x="228" y="39"/>
                  </a:cubicBezTo>
                  <a:cubicBezTo>
                    <a:pt x="153" y="39"/>
                    <a:pt x="76" y="27"/>
                    <a:pt x="0" y="7"/>
                  </a:cubicBezTo>
                  <a:cubicBezTo>
                    <a:pt x="0" y="30"/>
                    <a:pt x="0" y="30"/>
                    <a:pt x="0" y="30"/>
                  </a:cubicBezTo>
                  <a:cubicBezTo>
                    <a:pt x="45" y="42"/>
                    <a:pt x="87" y="49"/>
                    <a:pt x="126" y="53"/>
                  </a:cubicBezTo>
                  <a:cubicBezTo>
                    <a:pt x="266" y="67"/>
                    <a:pt x="371" y="40"/>
                    <a:pt x="442"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a:extLst>
                <a:ext uri="{FF2B5EF4-FFF2-40B4-BE49-F238E27FC236}">
                  <a16:creationId xmlns:a16="http://schemas.microsoft.com/office/drawing/2014/main" id="{6FDF4628-D975-455E-A94D-7C0F5FF64998}"/>
                </a:ext>
              </a:extLst>
            </p:cNvPr>
            <p:cNvSpPr>
              <a:spLocks/>
            </p:cNvSpPr>
            <p:nvPr userDrawn="1"/>
          </p:nvSpPr>
          <p:spPr bwMode="auto">
            <a:xfrm>
              <a:off x="2355" y="1984"/>
              <a:ext cx="926" cy="127"/>
            </a:xfrm>
            <a:custGeom>
              <a:avLst/>
              <a:gdLst>
                <a:gd name="T0" fmla="*/ 260 w 442"/>
                <a:gd name="T1" fmla="*/ 59 h 60"/>
                <a:gd name="T2" fmla="*/ 263 w 442"/>
                <a:gd name="T3" fmla="*/ 59 h 60"/>
                <a:gd name="T4" fmla="*/ 265 w 442"/>
                <a:gd name="T5" fmla="*/ 59 h 60"/>
                <a:gd name="T6" fmla="*/ 442 w 442"/>
                <a:gd name="T7" fmla="*/ 32 h 60"/>
                <a:gd name="T8" fmla="*/ 442 w 442"/>
                <a:gd name="T9" fmla="*/ 23 h 60"/>
                <a:gd name="T10" fmla="*/ 297 w 442"/>
                <a:gd name="T11" fmla="*/ 43 h 60"/>
                <a:gd name="T12" fmla="*/ 272 w 442"/>
                <a:gd name="T13" fmla="*/ 43 h 60"/>
                <a:gd name="T14" fmla="*/ 118 w 442"/>
                <a:gd name="T15" fmla="*/ 22 h 60"/>
                <a:gd name="T16" fmla="*/ 39 w 442"/>
                <a:gd name="T17" fmla="*/ 0 h 60"/>
                <a:gd name="T18" fmla="*/ 6 w 442"/>
                <a:gd name="T19" fmla="*/ 0 h 60"/>
                <a:gd name="T20" fmla="*/ 0 w 442"/>
                <a:gd name="T21" fmla="*/ 6 h 60"/>
                <a:gd name="T22" fmla="*/ 0 w 442"/>
                <a:gd name="T23" fmla="*/ 10 h 60"/>
                <a:gd name="T24" fmla="*/ 260 w 442"/>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 h="60">
                  <a:moveTo>
                    <a:pt x="260" y="59"/>
                  </a:moveTo>
                  <a:cubicBezTo>
                    <a:pt x="261" y="59"/>
                    <a:pt x="262" y="59"/>
                    <a:pt x="263" y="59"/>
                  </a:cubicBezTo>
                  <a:cubicBezTo>
                    <a:pt x="264" y="59"/>
                    <a:pt x="264" y="59"/>
                    <a:pt x="265" y="59"/>
                  </a:cubicBezTo>
                  <a:cubicBezTo>
                    <a:pt x="338" y="60"/>
                    <a:pt x="397" y="47"/>
                    <a:pt x="442" y="32"/>
                  </a:cubicBezTo>
                  <a:cubicBezTo>
                    <a:pt x="442" y="23"/>
                    <a:pt x="442" y="23"/>
                    <a:pt x="442" y="23"/>
                  </a:cubicBezTo>
                  <a:cubicBezTo>
                    <a:pt x="395" y="36"/>
                    <a:pt x="347" y="43"/>
                    <a:pt x="297" y="43"/>
                  </a:cubicBezTo>
                  <a:cubicBezTo>
                    <a:pt x="289" y="43"/>
                    <a:pt x="280" y="43"/>
                    <a:pt x="272" y="43"/>
                  </a:cubicBezTo>
                  <a:cubicBezTo>
                    <a:pt x="222" y="42"/>
                    <a:pt x="170" y="34"/>
                    <a:pt x="118" y="22"/>
                  </a:cubicBezTo>
                  <a:cubicBezTo>
                    <a:pt x="92" y="16"/>
                    <a:pt x="65" y="8"/>
                    <a:pt x="39" y="0"/>
                  </a:cubicBezTo>
                  <a:cubicBezTo>
                    <a:pt x="6" y="0"/>
                    <a:pt x="6" y="0"/>
                    <a:pt x="6" y="0"/>
                  </a:cubicBezTo>
                  <a:cubicBezTo>
                    <a:pt x="2" y="0"/>
                    <a:pt x="0" y="3"/>
                    <a:pt x="0" y="6"/>
                  </a:cubicBezTo>
                  <a:cubicBezTo>
                    <a:pt x="0" y="10"/>
                    <a:pt x="0" y="10"/>
                    <a:pt x="0" y="10"/>
                  </a:cubicBezTo>
                  <a:cubicBezTo>
                    <a:pt x="100" y="45"/>
                    <a:pt x="187" y="58"/>
                    <a:pt x="260" y="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7">
              <a:extLst>
                <a:ext uri="{FF2B5EF4-FFF2-40B4-BE49-F238E27FC236}">
                  <a16:creationId xmlns:a16="http://schemas.microsoft.com/office/drawing/2014/main" id="{B3F1D1A1-0622-49B7-9D75-542664B7A8BF}"/>
                </a:ext>
              </a:extLst>
            </p:cNvPr>
            <p:cNvSpPr>
              <a:spLocks/>
            </p:cNvSpPr>
            <p:nvPr userDrawn="1"/>
          </p:nvSpPr>
          <p:spPr bwMode="auto">
            <a:xfrm>
              <a:off x="2812" y="1691"/>
              <a:ext cx="184" cy="32"/>
            </a:xfrm>
            <a:custGeom>
              <a:avLst/>
              <a:gdLst>
                <a:gd name="T0" fmla="*/ 88 w 88"/>
                <a:gd name="T1" fmla="*/ 6 h 15"/>
                <a:gd name="T2" fmla="*/ 86 w 88"/>
                <a:gd name="T3" fmla="*/ 2 h 15"/>
                <a:gd name="T4" fmla="*/ 84 w 88"/>
                <a:gd name="T5" fmla="*/ 0 h 15"/>
                <a:gd name="T6" fmla="*/ 81 w 88"/>
                <a:gd name="T7" fmla="*/ 0 h 15"/>
                <a:gd name="T8" fmla="*/ 0 w 88"/>
                <a:gd name="T9" fmla="*/ 0 h 15"/>
                <a:gd name="T10" fmla="*/ 88 w 88"/>
                <a:gd name="T11" fmla="*/ 15 h 15"/>
                <a:gd name="T12" fmla="*/ 88 w 88"/>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88" h="15">
                  <a:moveTo>
                    <a:pt x="88" y="6"/>
                  </a:moveTo>
                  <a:cubicBezTo>
                    <a:pt x="88" y="5"/>
                    <a:pt x="87" y="3"/>
                    <a:pt x="86" y="2"/>
                  </a:cubicBezTo>
                  <a:cubicBezTo>
                    <a:pt x="86" y="1"/>
                    <a:pt x="85" y="1"/>
                    <a:pt x="84" y="0"/>
                  </a:cubicBezTo>
                  <a:cubicBezTo>
                    <a:pt x="83" y="0"/>
                    <a:pt x="82" y="0"/>
                    <a:pt x="81" y="0"/>
                  </a:cubicBezTo>
                  <a:cubicBezTo>
                    <a:pt x="0" y="0"/>
                    <a:pt x="0" y="0"/>
                    <a:pt x="0" y="0"/>
                  </a:cubicBezTo>
                  <a:cubicBezTo>
                    <a:pt x="27" y="6"/>
                    <a:pt x="65" y="12"/>
                    <a:pt x="88" y="15"/>
                  </a:cubicBezTo>
                  <a:lnTo>
                    <a:pt x="88" y="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a:extLst>
                <a:ext uri="{FF2B5EF4-FFF2-40B4-BE49-F238E27FC236}">
                  <a16:creationId xmlns:a16="http://schemas.microsoft.com/office/drawing/2014/main" id="{96967A2D-D5EF-4340-BE72-0924081A849A}"/>
                </a:ext>
              </a:extLst>
            </p:cNvPr>
            <p:cNvSpPr>
              <a:spLocks/>
            </p:cNvSpPr>
            <p:nvPr userDrawn="1"/>
          </p:nvSpPr>
          <p:spPr bwMode="auto">
            <a:xfrm>
              <a:off x="2640" y="2332"/>
              <a:ext cx="356" cy="57"/>
            </a:xfrm>
            <a:custGeom>
              <a:avLst/>
              <a:gdLst>
                <a:gd name="T0" fmla="*/ 167 w 170"/>
                <a:gd name="T1" fmla="*/ 1 h 27"/>
                <a:gd name="T2" fmla="*/ 15 w 170"/>
                <a:gd name="T3" fmla="*/ 6 h 27"/>
                <a:gd name="T4" fmla="*/ 0 w 170"/>
                <a:gd name="T5" fmla="*/ 5 h 27"/>
                <a:gd name="T6" fmla="*/ 0 w 170"/>
                <a:gd name="T7" fmla="*/ 26 h 27"/>
                <a:gd name="T8" fmla="*/ 47 w 170"/>
                <a:gd name="T9" fmla="*/ 27 h 27"/>
                <a:gd name="T10" fmla="*/ 170 w 170"/>
                <a:gd name="T11" fmla="*/ 15 h 27"/>
                <a:gd name="T12" fmla="*/ 170 w 170"/>
                <a:gd name="T13" fmla="*/ 0 h 27"/>
                <a:gd name="T14" fmla="*/ 167 w 170"/>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7">
                  <a:moveTo>
                    <a:pt x="167" y="1"/>
                  </a:moveTo>
                  <a:cubicBezTo>
                    <a:pt x="118" y="8"/>
                    <a:pt x="67" y="10"/>
                    <a:pt x="15" y="6"/>
                  </a:cubicBezTo>
                  <a:cubicBezTo>
                    <a:pt x="10" y="6"/>
                    <a:pt x="5" y="6"/>
                    <a:pt x="0" y="5"/>
                  </a:cubicBezTo>
                  <a:cubicBezTo>
                    <a:pt x="0" y="26"/>
                    <a:pt x="0" y="26"/>
                    <a:pt x="0" y="26"/>
                  </a:cubicBezTo>
                  <a:cubicBezTo>
                    <a:pt x="16" y="27"/>
                    <a:pt x="31" y="27"/>
                    <a:pt x="47" y="27"/>
                  </a:cubicBezTo>
                  <a:cubicBezTo>
                    <a:pt x="92" y="27"/>
                    <a:pt x="133" y="22"/>
                    <a:pt x="170" y="15"/>
                  </a:cubicBezTo>
                  <a:cubicBezTo>
                    <a:pt x="170" y="0"/>
                    <a:pt x="170" y="0"/>
                    <a:pt x="170" y="0"/>
                  </a:cubicBezTo>
                  <a:cubicBezTo>
                    <a:pt x="169" y="0"/>
                    <a:pt x="168" y="0"/>
                    <a:pt x="16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a:extLst>
                <a:ext uri="{FF2B5EF4-FFF2-40B4-BE49-F238E27FC236}">
                  <a16:creationId xmlns:a16="http://schemas.microsoft.com/office/drawing/2014/main" id="{F1B89C83-1998-41F5-9619-6437E0847781}"/>
                </a:ext>
              </a:extLst>
            </p:cNvPr>
            <p:cNvSpPr>
              <a:spLocks/>
            </p:cNvSpPr>
            <p:nvPr userDrawn="1"/>
          </p:nvSpPr>
          <p:spPr bwMode="auto">
            <a:xfrm>
              <a:off x="2856" y="2589"/>
              <a:ext cx="140" cy="34"/>
            </a:xfrm>
            <a:custGeom>
              <a:avLst/>
              <a:gdLst>
                <a:gd name="T0" fmla="*/ 67 w 67"/>
                <a:gd name="T1" fmla="*/ 10 h 16"/>
                <a:gd name="T2" fmla="*/ 67 w 67"/>
                <a:gd name="T3" fmla="*/ 0 h 16"/>
                <a:gd name="T4" fmla="*/ 54 w 67"/>
                <a:gd name="T5" fmla="*/ 3 h 16"/>
                <a:gd name="T6" fmla="*/ 14 w 67"/>
                <a:gd name="T7" fmla="*/ 13 h 16"/>
                <a:gd name="T8" fmla="*/ 0 w 67"/>
                <a:gd name="T9" fmla="*/ 16 h 16"/>
                <a:gd name="T10" fmla="*/ 63 w 67"/>
                <a:gd name="T11" fmla="*/ 16 h 16"/>
                <a:gd name="T12" fmla="*/ 67 w 67"/>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7" y="10"/>
                  </a:moveTo>
                  <a:cubicBezTo>
                    <a:pt x="67" y="0"/>
                    <a:pt x="67" y="0"/>
                    <a:pt x="67" y="0"/>
                  </a:cubicBezTo>
                  <a:cubicBezTo>
                    <a:pt x="63" y="1"/>
                    <a:pt x="58" y="2"/>
                    <a:pt x="54" y="3"/>
                  </a:cubicBezTo>
                  <a:cubicBezTo>
                    <a:pt x="41" y="7"/>
                    <a:pt x="27" y="10"/>
                    <a:pt x="14" y="13"/>
                  </a:cubicBezTo>
                  <a:cubicBezTo>
                    <a:pt x="9" y="14"/>
                    <a:pt x="5" y="15"/>
                    <a:pt x="0" y="16"/>
                  </a:cubicBezTo>
                  <a:cubicBezTo>
                    <a:pt x="63" y="16"/>
                    <a:pt x="63" y="16"/>
                    <a:pt x="63" y="16"/>
                  </a:cubicBezTo>
                  <a:cubicBezTo>
                    <a:pt x="65" y="15"/>
                    <a:pt x="67" y="13"/>
                    <a:pt x="67"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0">
              <a:extLst>
                <a:ext uri="{FF2B5EF4-FFF2-40B4-BE49-F238E27FC236}">
                  <a16:creationId xmlns:a16="http://schemas.microsoft.com/office/drawing/2014/main" id="{01525A25-9E72-4EB7-8C68-3E58D1B456B5}"/>
                </a:ext>
              </a:extLst>
            </p:cNvPr>
            <p:cNvSpPr>
              <a:spLocks/>
            </p:cNvSpPr>
            <p:nvPr userDrawn="1"/>
          </p:nvSpPr>
          <p:spPr bwMode="auto">
            <a:xfrm>
              <a:off x="2640" y="1691"/>
              <a:ext cx="356" cy="95"/>
            </a:xfrm>
            <a:custGeom>
              <a:avLst/>
              <a:gdLst>
                <a:gd name="T0" fmla="*/ 4 w 170"/>
                <a:gd name="T1" fmla="*/ 0 h 45"/>
                <a:gd name="T2" fmla="*/ 3 w 170"/>
                <a:gd name="T3" fmla="*/ 1 h 45"/>
                <a:gd name="T4" fmla="*/ 2 w 170"/>
                <a:gd name="T5" fmla="*/ 1 h 45"/>
                <a:gd name="T6" fmla="*/ 1 w 170"/>
                <a:gd name="T7" fmla="*/ 2 h 45"/>
                <a:gd name="T8" fmla="*/ 1 w 170"/>
                <a:gd name="T9" fmla="*/ 3 h 45"/>
                <a:gd name="T10" fmla="*/ 0 w 170"/>
                <a:gd name="T11" fmla="*/ 5 h 45"/>
                <a:gd name="T12" fmla="*/ 111 w 170"/>
                <a:gd name="T13" fmla="*/ 36 h 45"/>
                <a:gd name="T14" fmla="*/ 170 w 170"/>
                <a:gd name="T15" fmla="*/ 45 h 45"/>
                <a:gd name="T16" fmla="*/ 170 w 170"/>
                <a:gd name="T17" fmla="*/ 30 h 45"/>
                <a:gd name="T18" fmla="*/ 124 w 170"/>
                <a:gd name="T19" fmla="*/ 22 h 45"/>
                <a:gd name="T20" fmla="*/ 42 w 170"/>
                <a:gd name="T21" fmla="*/ 0 h 45"/>
                <a:gd name="T22" fmla="*/ 6 w 170"/>
                <a:gd name="T23" fmla="*/ 0 h 45"/>
                <a:gd name="T24" fmla="*/ 4 w 170"/>
                <a:gd name="T25" fmla="*/ 0 h 45"/>
                <a:gd name="T26" fmla="*/ 4 w 170"/>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5">
                  <a:moveTo>
                    <a:pt x="4" y="0"/>
                  </a:moveTo>
                  <a:cubicBezTo>
                    <a:pt x="4" y="0"/>
                    <a:pt x="3" y="1"/>
                    <a:pt x="3" y="1"/>
                  </a:cubicBezTo>
                  <a:cubicBezTo>
                    <a:pt x="3" y="1"/>
                    <a:pt x="2" y="1"/>
                    <a:pt x="2" y="1"/>
                  </a:cubicBezTo>
                  <a:cubicBezTo>
                    <a:pt x="2" y="2"/>
                    <a:pt x="2" y="2"/>
                    <a:pt x="1" y="2"/>
                  </a:cubicBezTo>
                  <a:cubicBezTo>
                    <a:pt x="1" y="3"/>
                    <a:pt x="1" y="3"/>
                    <a:pt x="1" y="3"/>
                  </a:cubicBezTo>
                  <a:cubicBezTo>
                    <a:pt x="0" y="4"/>
                    <a:pt x="0" y="5"/>
                    <a:pt x="0" y="5"/>
                  </a:cubicBezTo>
                  <a:cubicBezTo>
                    <a:pt x="40" y="19"/>
                    <a:pt x="77" y="29"/>
                    <a:pt x="111" y="36"/>
                  </a:cubicBezTo>
                  <a:cubicBezTo>
                    <a:pt x="132" y="40"/>
                    <a:pt x="151" y="43"/>
                    <a:pt x="170" y="45"/>
                  </a:cubicBezTo>
                  <a:cubicBezTo>
                    <a:pt x="170" y="30"/>
                    <a:pt x="170" y="30"/>
                    <a:pt x="170" y="30"/>
                  </a:cubicBezTo>
                  <a:cubicBezTo>
                    <a:pt x="155" y="28"/>
                    <a:pt x="140" y="25"/>
                    <a:pt x="124" y="22"/>
                  </a:cubicBezTo>
                  <a:cubicBezTo>
                    <a:pt x="97" y="16"/>
                    <a:pt x="70" y="9"/>
                    <a:pt x="42" y="0"/>
                  </a:cubicBezTo>
                  <a:cubicBezTo>
                    <a:pt x="6" y="0"/>
                    <a:pt x="6" y="0"/>
                    <a:pt x="6" y="0"/>
                  </a:cubicBezTo>
                  <a:cubicBezTo>
                    <a:pt x="6" y="0"/>
                    <a:pt x="5" y="0"/>
                    <a:pt x="4" y="0"/>
                  </a:cubicBezTo>
                  <a:cubicBezTo>
                    <a:pt x="4" y="0"/>
                    <a:pt x="4"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1">
              <a:extLst>
                <a:ext uri="{FF2B5EF4-FFF2-40B4-BE49-F238E27FC236}">
                  <a16:creationId xmlns:a16="http://schemas.microsoft.com/office/drawing/2014/main" id="{73E7CB31-1DC9-4592-99BE-C9275472EA3A}"/>
                </a:ext>
              </a:extLst>
            </p:cNvPr>
            <p:cNvSpPr>
              <a:spLocks/>
            </p:cNvSpPr>
            <p:nvPr userDrawn="1"/>
          </p:nvSpPr>
          <p:spPr bwMode="auto">
            <a:xfrm>
              <a:off x="3011" y="2252"/>
              <a:ext cx="270" cy="78"/>
            </a:xfrm>
            <a:custGeom>
              <a:avLst/>
              <a:gdLst>
                <a:gd name="T0" fmla="*/ 129 w 129"/>
                <a:gd name="T1" fmla="*/ 0 h 37"/>
                <a:gd name="T2" fmla="*/ 0 w 129"/>
                <a:gd name="T3" fmla="*/ 37 h 37"/>
                <a:gd name="T4" fmla="*/ 57 w 129"/>
                <a:gd name="T5" fmla="*/ 37 h 37"/>
                <a:gd name="T6" fmla="*/ 129 w 129"/>
                <a:gd name="T7" fmla="*/ 10 h 37"/>
                <a:gd name="T8" fmla="*/ 129 w 129"/>
                <a:gd name="T9" fmla="*/ 0 h 37"/>
              </a:gdLst>
              <a:ahLst/>
              <a:cxnLst>
                <a:cxn ang="0">
                  <a:pos x="T0" y="T1"/>
                </a:cxn>
                <a:cxn ang="0">
                  <a:pos x="T2" y="T3"/>
                </a:cxn>
                <a:cxn ang="0">
                  <a:pos x="T4" y="T5"/>
                </a:cxn>
                <a:cxn ang="0">
                  <a:pos x="T6" y="T7"/>
                </a:cxn>
                <a:cxn ang="0">
                  <a:pos x="T8" y="T9"/>
                </a:cxn>
              </a:cxnLst>
              <a:rect l="0" t="0" r="r" b="b"/>
              <a:pathLst>
                <a:path w="129" h="37">
                  <a:moveTo>
                    <a:pt x="129" y="0"/>
                  </a:moveTo>
                  <a:cubicBezTo>
                    <a:pt x="87" y="18"/>
                    <a:pt x="44" y="30"/>
                    <a:pt x="0" y="37"/>
                  </a:cubicBezTo>
                  <a:cubicBezTo>
                    <a:pt x="57" y="37"/>
                    <a:pt x="57" y="37"/>
                    <a:pt x="57" y="37"/>
                  </a:cubicBezTo>
                  <a:cubicBezTo>
                    <a:pt x="84" y="29"/>
                    <a:pt x="108" y="19"/>
                    <a:pt x="129" y="10"/>
                  </a:cubicBezTo>
                  <a:lnTo>
                    <a:pt x="12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2">
              <a:extLst>
                <a:ext uri="{FF2B5EF4-FFF2-40B4-BE49-F238E27FC236}">
                  <a16:creationId xmlns:a16="http://schemas.microsoft.com/office/drawing/2014/main" id="{AFD328DF-43F5-477A-B82F-8AB589EC79F0}"/>
                </a:ext>
              </a:extLst>
            </p:cNvPr>
            <p:cNvSpPr>
              <a:spLocks/>
            </p:cNvSpPr>
            <p:nvPr userDrawn="1"/>
          </p:nvSpPr>
          <p:spPr bwMode="auto">
            <a:xfrm>
              <a:off x="2640" y="2460"/>
              <a:ext cx="356" cy="78"/>
            </a:xfrm>
            <a:custGeom>
              <a:avLst/>
              <a:gdLst>
                <a:gd name="T0" fmla="*/ 114 w 170"/>
                <a:gd name="T1" fmla="*/ 10 h 37"/>
                <a:gd name="T2" fmla="*/ 22 w 170"/>
                <a:gd name="T3" fmla="*/ 17 h 37"/>
                <a:gd name="T4" fmla="*/ 0 w 170"/>
                <a:gd name="T5" fmla="*/ 16 h 37"/>
                <a:gd name="T6" fmla="*/ 0 w 170"/>
                <a:gd name="T7" fmla="*/ 37 h 37"/>
                <a:gd name="T8" fmla="*/ 170 w 170"/>
                <a:gd name="T9" fmla="*/ 15 h 37"/>
                <a:gd name="T10" fmla="*/ 170 w 170"/>
                <a:gd name="T11" fmla="*/ 0 h 37"/>
                <a:gd name="T12" fmla="*/ 114 w 170"/>
                <a:gd name="T13" fmla="*/ 10 h 37"/>
              </a:gdLst>
              <a:ahLst/>
              <a:cxnLst>
                <a:cxn ang="0">
                  <a:pos x="T0" y="T1"/>
                </a:cxn>
                <a:cxn ang="0">
                  <a:pos x="T2" y="T3"/>
                </a:cxn>
                <a:cxn ang="0">
                  <a:pos x="T4" y="T5"/>
                </a:cxn>
                <a:cxn ang="0">
                  <a:pos x="T6" y="T7"/>
                </a:cxn>
                <a:cxn ang="0">
                  <a:pos x="T8" y="T9"/>
                </a:cxn>
                <a:cxn ang="0">
                  <a:pos x="T10" y="T11"/>
                </a:cxn>
                <a:cxn ang="0">
                  <a:pos x="T12" y="T13"/>
                </a:cxn>
              </a:cxnLst>
              <a:rect l="0" t="0" r="r" b="b"/>
              <a:pathLst>
                <a:path w="170" h="37">
                  <a:moveTo>
                    <a:pt x="114" y="10"/>
                  </a:moveTo>
                  <a:cubicBezTo>
                    <a:pt x="84" y="14"/>
                    <a:pt x="53" y="16"/>
                    <a:pt x="22" y="17"/>
                  </a:cubicBezTo>
                  <a:cubicBezTo>
                    <a:pt x="14" y="17"/>
                    <a:pt x="7" y="17"/>
                    <a:pt x="0" y="16"/>
                  </a:cubicBezTo>
                  <a:cubicBezTo>
                    <a:pt x="0" y="37"/>
                    <a:pt x="0" y="37"/>
                    <a:pt x="0" y="37"/>
                  </a:cubicBezTo>
                  <a:cubicBezTo>
                    <a:pt x="64" y="36"/>
                    <a:pt x="121" y="28"/>
                    <a:pt x="170" y="15"/>
                  </a:cubicBezTo>
                  <a:cubicBezTo>
                    <a:pt x="170" y="0"/>
                    <a:pt x="170" y="0"/>
                    <a:pt x="170" y="0"/>
                  </a:cubicBezTo>
                  <a:cubicBezTo>
                    <a:pt x="151" y="4"/>
                    <a:pt x="133" y="7"/>
                    <a:pt x="114"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3">
              <a:extLst>
                <a:ext uri="{FF2B5EF4-FFF2-40B4-BE49-F238E27FC236}">
                  <a16:creationId xmlns:a16="http://schemas.microsoft.com/office/drawing/2014/main" id="{69F4783C-22D1-49FE-AD1C-136E0EBD3AEF}"/>
                </a:ext>
              </a:extLst>
            </p:cNvPr>
            <p:cNvSpPr>
              <a:spLocks/>
            </p:cNvSpPr>
            <p:nvPr userDrawn="1"/>
          </p:nvSpPr>
          <p:spPr bwMode="auto">
            <a:xfrm>
              <a:off x="3210" y="2302"/>
              <a:ext cx="71" cy="28"/>
            </a:xfrm>
            <a:custGeom>
              <a:avLst/>
              <a:gdLst>
                <a:gd name="T0" fmla="*/ 28 w 34"/>
                <a:gd name="T1" fmla="*/ 13 h 13"/>
                <a:gd name="T2" fmla="*/ 34 w 34"/>
                <a:gd name="T3" fmla="*/ 9 h 13"/>
                <a:gd name="T4" fmla="*/ 34 w 34"/>
                <a:gd name="T5" fmla="*/ 0 h 13"/>
                <a:gd name="T6" fmla="*/ 33 w 34"/>
                <a:gd name="T7" fmla="*/ 0 h 13"/>
                <a:gd name="T8" fmla="*/ 9 w 34"/>
                <a:gd name="T9" fmla="*/ 10 h 13"/>
                <a:gd name="T10" fmla="*/ 0 w 34"/>
                <a:gd name="T11" fmla="*/ 13 h 13"/>
                <a:gd name="T12" fmla="*/ 28 w 3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4" h="13">
                  <a:moveTo>
                    <a:pt x="28" y="13"/>
                  </a:moveTo>
                  <a:cubicBezTo>
                    <a:pt x="30" y="13"/>
                    <a:pt x="33" y="12"/>
                    <a:pt x="34" y="9"/>
                  </a:cubicBezTo>
                  <a:cubicBezTo>
                    <a:pt x="34" y="0"/>
                    <a:pt x="34" y="0"/>
                    <a:pt x="34" y="0"/>
                  </a:cubicBezTo>
                  <a:cubicBezTo>
                    <a:pt x="33" y="0"/>
                    <a:pt x="33" y="0"/>
                    <a:pt x="33" y="0"/>
                  </a:cubicBezTo>
                  <a:cubicBezTo>
                    <a:pt x="27" y="3"/>
                    <a:pt x="17" y="7"/>
                    <a:pt x="9" y="10"/>
                  </a:cubicBezTo>
                  <a:cubicBezTo>
                    <a:pt x="5" y="11"/>
                    <a:pt x="2" y="12"/>
                    <a:pt x="0" y="13"/>
                  </a:cubicBezTo>
                  <a:lnTo>
                    <a:pt x="28"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4">
              <a:extLst>
                <a:ext uri="{FF2B5EF4-FFF2-40B4-BE49-F238E27FC236}">
                  <a16:creationId xmlns:a16="http://schemas.microsoft.com/office/drawing/2014/main" id="{F38A966D-06F1-4BE6-A5CC-0D7D4411D2F8}"/>
                </a:ext>
              </a:extLst>
            </p:cNvPr>
            <p:cNvSpPr>
              <a:spLocks/>
            </p:cNvSpPr>
            <p:nvPr userDrawn="1"/>
          </p:nvSpPr>
          <p:spPr bwMode="auto">
            <a:xfrm>
              <a:off x="2640" y="2526"/>
              <a:ext cx="356" cy="88"/>
            </a:xfrm>
            <a:custGeom>
              <a:avLst/>
              <a:gdLst>
                <a:gd name="T0" fmla="*/ 170 w 170"/>
                <a:gd name="T1" fmla="*/ 0 h 42"/>
                <a:gd name="T2" fmla="*/ 0 w 170"/>
                <a:gd name="T3" fmla="*/ 21 h 42"/>
                <a:gd name="T4" fmla="*/ 0 w 170"/>
                <a:gd name="T5" fmla="*/ 40 h 42"/>
                <a:gd name="T6" fmla="*/ 0 w 170"/>
                <a:gd name="T7" fmla="*/ 41 h 42"/>
                <a:gd name="T8" fmla="*/ 0 w 170"/>
                <a:gd name="T9" fmla="*/ 42 h 42"/>
                <a:gd name="T10" fmla="*/ 66 w 170"/>
                <a:gd name="T11" fmla="*/ 36 h 42"/>
                <a:gd name="T12" fmla="*/ 170 w 170"/>
                <a:gd name="T13" fmla="*/ 15 h 42"/>
                <a:gd name="T14" fmla="*/ 170 w 170"/>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42">
                  <a:moveTo>
                    <a:pt x="170" y="0"/>
                  </a:moveTo>
                  <a:cubicBezTo>
                    <a:pt x="115" y="14"/>
                    <a:pt x="58" y="21"/>
                    <a:pt x="0" y="21"/>
                  </a:cubicBezTo>
                  <a:cubicBezTo>
                    <a:pt x="0" y="40"/>
                    <a:pt x="0" y="40"/>
                    <a:pt x="0" y="40"/>
                  </a:cubicBezTo>
                  <a:cubicBezTo>
                    <a:pt x="0" y="40"/>
                    <a:pt x="0" y="41"/>
                    <a:pt x="0" y="41"/>
                  </a:cubicBezTo>
                  <a:cubicBezTo>
                    <a:pt x="0" y="41"/>
                    <a:pt x="0" y="42"/>
                    <a:pt x="0" y="42"/>
                  </a:cubicBezTo>
                  <a:cubicBezTo>
                    <a:pt x="23" y="41"/>
                    <a:pt x="45" y="39"/>
                    <a:pt x="66" y="36"/>
                  </a:cubicBezTo>
                  <a:cubicBezTo>
                    <a:pt x="104" y="31"/>
                    <a:pt x="138" y="24"/>
                    <a:pt x="170" y="15"/>
                  </a:cubicBezTo>
                  <a:lnTo>
                    <a:pt x="17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5">
              <a:extLst>
                <a:ext uri="{FF2B5EF4-FFF2-40B4-BE49-F238E27FC236}">
                  <a16:creationId xmlns:a16="http://schemas.microsoft.com/office/drawing/2014/main" id="{B7AB077C-A4B2-4260-B6EC-2B990E1C1169}"/>
                </a:ext>
              </a:extLst>
            </p:cNvPr>
            <p:cNvSpPr>
              <a:spLocks/>
            </p:cNvSpPr>
            <p:nvPr userDrawn="1"/>
          </p:nvSpPr>
          <p:spPr bwMode="auto">
            <a:xfrm>
              <a:off x="2640" y="2397"/>
              <a:ext cx="356" cy="68"/>
            </a:xfrm>
            <a:custGeom>
              <a:avLst/>
              <a:gdLst>
                <a:gd name="T0" fmla="*/ 0 w 170"/>
                <a:gd name="T1" fmla="*/ 10 h 32"/>
                <a:gd name="T2" fmla="*/ 0 w 170"/>
                <a:gd name="T3" fmla="*/ 31 h 32"/>
                <a:gd name="T4" fmla="*/ 170 w 170"/>
                <a:gd name="T5" fmla="*/ 15 h 32"/>
                <a:gd name="T6" fmla="*/ 170 w 170"/>
                <a:gd name="T7" fmla="*/ 0 h 32"/>
                <a:gd name="T8" fmla="*/ 129 w 170"/>
                <a:gd name="T9" fmla="*/ 6 h 32"/>
                <a:gd name="T10" fmla="*/ 0 w 170"/>
                <a:gd name="T11" fmla="*/ 10 h 32"/>
              </a:gdLst>
              <a:ahLst/>
              <a:cxnLst>
                <a:cxn ang="0">
                  <a:pos x="T0" y="T1"/>
                </a:cxn>
                <a:cxn ang="0">
                  <a:pos x="T2" y="T3"/>
                </a:cxn>
                <a:cxn ang="0">
                  <a:pos x="T4" y="T5"/>
                </a:cxn>
                <a:cxn ang="0">
                  <a:pos x="T6" y="T7"/>
                </a:cxn>
                <a:cxn ang="0">
                  <a:pos x="T8" y="T9"/>
                </a:cxn>
                <a:cxn ang="0">
                  <a:pos x="T10" y="T11"/>
                </a:cxn>
              </a:cxnLst>
              <a:rect l="0" t="0" r="r" b="b"/>
              <a:pathLst>
                <a:path w="170" h="32">
                  <a:moveTo>
                    <a:pt x="0" y="10"/>
                  </a:moveTo>
                  <a:cubicBezTo>
                    <a:pt x="0" y="31"/>
                    <a:pt x="0" y="31"/>
                    <a:pt x="0" y="31"/>
                  </a:cubicBezTo>
                  <a:cubicBezTo>
                    <a:pt x="64" y="32"/>
                    <a:pt x="121" y="26"/>
                    <a:pt x="170" y="15"/>
                  </a:cubicBezTo>
                  <a:cubicBezTo>
                    <a:pt x="170" y="0"/>
                    <a:pt x="170" y="0"/>
                    <a:pt x="170" y="0"/>
                  </a:cubicBezTo>
                  <a:cubicBezTo>
                    <a:pt x="156" y="2"/>
                    <a:pt x="143" y="4"/>
                    <a:pt x="129" y="6"/>
                  </a:cubicBezTo>
                  <a:cubicBezTo>
                    <a:pt x="87" y="11"/>
                    <a:pt x="44" y="13"/>
                    <a:pt x="0"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0843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Intro slide #1">
    <p:spTree>
      <p:nvGrpSpPr>
        <p:cNvPr id="1" name=""/>
        <p:cNvGrpSpPr/>
        <p:nvPr/>
      </p:nvGrpSpPr>
      <p:grpSpPr>
        <a:xfrm>
          <a:off x="0" y="0"/>
          <a:ext cx="0" cy="0"/>
          <a:chOff x="0" y="0"/>
          <a:chExt cx="0" cy="0"/>
        </a:xfrm>
      </p:grpSpPr>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17488" y="217488"/>
            <a:ext cx="11755437" cy="5345835"/>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514800" y="512385"/>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5713"/>
            <a:ext cx="8528773" cy="180000"/>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3" cstate="email">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514800" y="2296801"/>
            <a:ext cx="9628263" cy="1916454"/>
          </a:xfrm>
        </p:spPr>
        <p:txBody>
          <a:bodyPr bIns="216000" anchor="b" anchorCtr="0"/>
          <a:lstStyle>
            <a:lvl1pPr algn="l">
              <a:defRPr sz="6000">
                <a:solidFill>
                  <a:schemeClr val="tx2"/>
                </a:solidFill>
              </a:defRPr>
            </a:lvl1pPr>
          </a:lstStyle>
          <a:p>
            <a:r>
              <a:rPr lang="nl-NL"/>
              <a:t>Plaats hier naam presentatie, max. 2 regels</a:t>
            </a:r>
          </a:p>
        </p:txBody>
      </p:sp>
      <p:sp>
        <p:nvSpPr>
          <p:cNvPr id="89" name="Tijdelijke aanduiding voor afbeelding 76">
            <a:extLst>
              <a:ext uri="{FF2B5EF4-FFF2-40B4-BE49-F238E27FC236}">
                <a16:creationId xmlns:a16="http://schemas.microsoft.com/office/drawing/2014/main" id="{6436AB13-C9EF-4DCD-ABA6-C52F31D09B2F}"/>
              </a:ext>
            </a:extLst>
          </p:cNvPr>
          <p:cNvSpPr>
            <a:spLocks noGrp="1"/>
          </p:cNvSpPr>
          <p:nvPr>
            <p:ph type="pic" sz="quarter" idx="16" hasCustomPrompt="1"/>
          </p:nvPr>
        </p:nvSpPr>
        <p:spPr>
          <a:xfrm>
            <a:off x="3045563" y="512386"/>
            <a:ext cx="2217600" cy="711558"/>
          </a:xfrm>
          <a:prstGeom prst="rect">
            <a:avLst/>
          </a:prstGeom>
          <a:noFill/>
        </p:spPr>
        <p:txBody>
          <a:bodyPr wrap="square" bIns="252000" anchor="ctr">
            <a:noAutofit/>
          </a:bodyPr>
          <a:lstStyle>
            <a:lvl1pPr marL="0" indent="0" algn="ctr">
              <a:lnSpc>
                <a:spcPct val="300000"/>
              </a:lnSpc>
              <a:spcBef>
                <a:spcPts val="0"/>
              </a:spcBef>
              <a:spcAft>
                <a:spcPts val="0"/>
              </a:spcAft>
              <a:buNone/>
              <a:defRPr sz="1050" i="1">
                <a:solidFill>
                  <a:schemeClr val="bg2">
                    <a:lumMod val="75000"/>
                  </a:schemeClr>
                </a:solidFill>
              </a:defRPr>
            </a:lvl1pPr>
          </a:lstStyle>
          <a:p>
            <a:r>
              <a:rPr lang="nl-NL"/>
              <a:t>Voeg hier </a:t>
            </a:r>
            <a:br>
              <a:rPr lang="nl-NL"/>
            </a:br>
            <a:r>
              <a:rPr lang="nl-NL"/>
              <a:t>een logo in</a:t>
            </a:r>
          </a:p>
        </p:txBody>
      </p:sp>
      <p:sp>
        <p:nvSpPr>
          <p:cNvPr id="133" name="Tijdelijke aanduiding voor tekst 2">
            <a:extLst>
              <a:ext uri="{FF2B5EF4-FFF2-40B4-BE49-F238E27FC236}">
                <a16:creationId xmlns:a16="http://schemas.microsoft.com/office/drawing/2014/main" id="{07E5C559-974D-4D03-B65C-EF4D9D8511BE}"/>
              </a:ext>
            </a:extLst>
          </p:cNvPr>
          <p:cNvSpPr>
            <a:spLocks noGrp="1"/>
          </p:cNvSpPr>
          <p:nvPr>
            <p:ph type="body" sz="quarter" idx="17" hasCustomPrompt="1"/>
          </p:nvPr>
        </p:nvSpPr>
        <p:spPr>
          <a:xfrm>
            <a:off x="547689" y="4220308"/>
            <a:ext cx="9586368" cy="351693"/>
          </a:xfrm>
        </p:spPr>
        <p:txBody>
          <a:bodyPr/>
          <a:lstStyle>
            <a:lvl1pPr marL="0" indent="0">
              <a:buNone/>
              <a:defRPr sz="2000" b="1">
                <a:solidFill>
                  <a:schemeClr val="tx2"/>
                </a:solidFill>
              </a:defRPr>
            </a:lvl1pPr>
          </a:lstStyle>
          <a:p>
            <a:pPr lvl="0"/>
            <a:r>
              <a:rPr lang="nl-NL"/>
              <a:t>Plaats hier je subtitel</a:t>
            </a:r>
          </a:p>
        </p:txBody>
      </p:sp>
      <p:grpSp>
        <p:nvGrpSpPr>
          <p:cNvPr id="2" name="Groep 1">
            <a:extLst>
              <a:ext uri="{FF2B5EF4-FFF2-40B4-BE49-F238E27FC236}">
                <a16:creationId xmlns:a16="http://schemas.microsoft.com/office/drawing/2014/main" id="{D3EEA51C-E48B-40B3-B4E6-A082C2DB3F1A}"/>
              </a:ext>
            </a:extLst>
          </p:cNvPr>
          <p:cNvGrpSpPr/>
          <p:nvPr userDrawn="1"/>
        </p:nvGrpSpPr>
        <p:grpSpPr>
          <a:xfrm>
            <a:off x="-3786437" y="6112906"/>
            <a:ext cx="3593091" cy="1535545"/>
            <a:chOff x="-3812167" y="5105400"/>
            <a:chExt cx="3593091" cy="1535545"/>
          </a:xfrm>
        </p:grpSpPr>
        <p:sp>
          <p:nvSpPr>
            <p:cNvPr id="210" name="Rechthoek 209">
              <a:extLst>
                <a:ext uri="{FF2B5EF4-FFF2-40B4-BE49-F238E27FC236}">
                  <a16:creationId xmlns:a16="http://schemas.microsoft.com/office/drawing/2014/main" id="{0E12D28F-0500-4DE6-BC26-0B398A8AC806}"/>
                </a:ext>
              </a:extLst>
            </p:cNvPr>
            <p:cNvSpPr/>
            <p:nvPr userDrawn="1"/>
          </p:nvSpPr>
          <p:spPr>
            <a:xfrm>
              <a:off x="-3812167" y="5105400"/>
              <a:ext cx="3593091" cy="1535545"/>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eesbaarheid titel en subtitel</a:t>
              </a:r>
            </a:p>
          </p:txBody>
        </p:sp>
        <p:sp>
          <p:nvSpPr>
            <p:cNvPr id="211" name="Ovaal 210">
              <a:extLst>
                <a:ext uri="{FF2B5EF4-FFF2-40B4-BE49-F238E27FC236}">
                  <a16:creationId xmlns:a16="http://schemas.microsoft.com/office/drawing/2014/main" id="{32C84309-1028-41F9-BF1F-66848DDB1094}"/>
                </a:ext>
              </a:extLst>
            </p:cNvPr>
            <p:cNvSpPr/>
            <p:nvPr userDrawn="1"/>
          </p:nvSpPr>
          <p:spPr>
            <a:xfrm>
              <a:off x="-3629589" y="55707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2" name="Rechthoek 211">
              <a:extLst>
                <a:ext uri="{FF2B5EF4-FFF2-40B4-BE49-F238E27FC236}">
                  <a16:creationId xmlns:a16="http://schemas.microsoft.com/office/drawing/2014/main" id="{6751367E-B4E9-4F46-BA23-A999456F93A5}"/>
                </a:ext>
              </a:extLst>
            </p:cNvPr>
            <p:cNvSpPr/>
            <p:nvPr userDrawn="1"/>
          </p:nvSpPr>
          <p:spPr>
            <a:xfrm>
              <a:off x="-3345417" y="5570724"/>
              <a:ext cx="2944682" cy="18237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licht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1”.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donker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3”.</a:t>
              </a:r>
            </a:p>
          </p:txBody>
        </p:sp>
      </p:grpSp>
      <p:grpSp>
        <p:nvGrpSpPr>
          <p:cNvPr id="130" name="INSTRUCTIES">
            <a:extLst>
              <a:ext uri="{FF2B5EF4-FFF2-40B4-BE49-F238E27FC236}">
                <a16:creationId xmlns:a16="http://schemas.microsoft.com/office/drawing/2014/main" id="{7DFBC95D-30ED-4043-9189-C1472BD7FA37}"/>
              </a:ext>
            </a:extLst>
          </p:cNvPr>
          <p:cNvGrpSpPr/>
          <p:nvPr userDrawn="1"/>
        </p:nvGrpSpPr>
        <p:grpSpPr>
          <a:xfrm>
            <a:off x="-3786437" y="0"/>
            <a:ext cx="3593091" cy="5936662"/>
            <a:chOff x="-3786437" y="0"/>
            <a:chExt cx="3593091" cy="5936662"/>
          </a:xfrm>
        </p:grpSpPr>
        <p:sp>
          <p:nvSpPr>
            <p:cNvPr id="131" name="Rechthoek 130">
              <a:extLst>
                <a:ext uri="{FF2B5EF4-FFF2-40B4-BE49-F238E27FC236}">
                  <a16:creationId xmlns:a16="http://schemas.microsoft.com/office/drawing/2014/main" id="{6492616E-2171-4169-86B2-AB49E6BAE27B}"/>
                </a:ext>
              </a:extLst>
            </p:cNvPr>
            <p:cNvSpPr/>
            <p:nvPr userDrawn="1"/>
          </p:nvSpPr>
          <p:spPr>
            <a:xfrm>
              <a:off x="-3786437" y="0"/>
              <a:ext cx="3593091" cy="5936662"/>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lvl="0">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ogo invoegen/opmaken</a:t>
              </a:r>
            </a:p>
          </p:txBody>
        </p:sp>
        <p:sp>
          <p:nvSpPr>
            <p:cNvPr id="132" name="Ovaal 131">
              <a:extLst>
                <a:ext uri="{FF2B5EF4-FFF2-40B4-BE49-F238E27FC236}">
                  <a16:creationId xmlns:a16="http://schemas.microsoft.com/office/drawing/2014/main" id="{BAB18270-7EF6-4DC5-96C2-16510C52D69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249E174-E5C8-426E-BE49-2635BB1AD2A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het bestaande logo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 logo in te voegen</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5" name="Groep 134">
              <a:extLst>
                <a:ext uri="{FF2B5EF4-FFF2-40B4-BE49-F238E27FC236}">
                  <a16:creationId xmlns:a16="http://schemas.microsoft.com/office/drawing/2014/main" id="{9D76FE58-2201-4B67-B4EA-8674799D105D}"/>
                </a:ext>
              </a:extLst>
            </p:cNvPr>
            <p:cNvGrpSpPr/>
            <p:nvPr userDrawn="1"/>
          </p:nvGrpSpPr>
          <p:grpSpPr>
            <a:xfrm>
              <a:off x="-3316179" y="1231351"/>
              <a:ext cx="294789" cy="318834"/>
              <a:chOff x="14466489" y="1001522"/>
              <a:chExt cx="290627" cy="314333"/>
            </a:xfrm>
          </p:grpSpPr>
          <p:sp>
            <p:nvSpPr>
              <p:cNvPr id="182" name="Rechthoek 181">
                <a:extLst>
                  <a:ext uri="{FF2B5EF4-FFF2-40B4-BE49-F238E27FC236}">
                    <a16:creationId xmlns:a16="http://schemas.microsoft.com/office/drawing/2014/main" id="{F8472ED0-81A8-4FB9-81E4-346E02156E3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83" name="Ovaal 182">
                <a:extLst>
                  <a:ext uri="{FF2B5EF4-FFF2-40B4-BE49-F238E27FC236}">
                    <a16:creationId xmlns:a16="http://schemas.microsoft.com/office/drawing/2014/main" id="{5404847C-C8DD-4B73-AD41-2FDC6378170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4" name="Vrije vorm: vorm 183">
                <a:extLst>
                  <a:ext uri="{FF2B5EF4-FFF2-40B4-BE49-F238E27FC236}">
                    <a16:creationId xmlns:a16="http://schemas.microsoft.com/office/drawing/2014/main" id="{9C53E5E5-33D7-42D3-9CB2-12CB8B7C158B}"/>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5" name="Rechthoek: afgeronde hoeken 184">
                <a:extLst>
                  <a:ext uri="{FF2B5EF4-FFF2-40B4-BE49-F238E27FC236}">
                    <a16:creationId xmlns:a16="http://schemas.microsoft.com/office/drawing/2014/main" id="{BBA4FD1E-F0F7-47C0-B581-BE08359E7B5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5" name="Rechte verbindingslijn 204">
                <a:extLst>
                  <a:ext uri="{FF2B5EF4-FFF2-40B4-BE49-F238E27FC236}">
                    <a16:creationId xmlns:a16="http://schemas.microsoft.com/office/drawing/2014/main" id="{439C8ED8-6851-4411-8BAB-00CD936B05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Rechte verbindingslijn 212">
                <a:extLst>
                  <a:ext uri="{FF2B5EF4-FFF2-40B4-BE49-F238E27FC236}">
                    <a16:creationId xmlns:a16="http://schemas.microsoft.com/office/drawing/2014/main" id="{498694BE-4616-4A06-B84A-9A504BC8EA14}"/>
                  </a:ext>
                </a:extLst>
              </p:cNvPr>
              <p:cNvCxnSpPr>
                <a:cxnSpLocks/>
                <a:stCxn id="18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36" name="Ovaal 135">
              <a:extLst>
                <a:ext uri="{FF2B5EF4-FFF2-40B4-BE49-F238E27FC236}">
                  <a16:creationId xmlns:a16="http://schemas.microsoft.com/office/drawing/2014/main" id="{9B77C942-C54B-413A-BCE6-C5B0733589C9}"/>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7" name="Rechthoek 136">
              <a:extLst>
                <a:ext uri="{FF2B5EF4-FFF2-40B4-BE49-F238E27FC236}">
                  <a16:creationId xmlns:a16="http://schemas.microsoft.com/office/drawing/2014/main" id="{2E15BB79-CFA6-4655-87B1-E0AC76394DB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het gewenste logo</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8" name="Groep 137">
              <a:extLst>
                <a:ext uri="{FF2B5EF4-FFF2-40B4-BE49-F238E27FC236}">
                  <a16:creationId xmlns:a16="http://schemas.microsoft.com/office/drawing/2014/main" id="{94D1E749-E580-4930-A00A-63BFB090E66E}"/>
                </a:ext>
              </a:extLst>
            </p:cNvPr>
            <p:cNvGrpSpPr/>
            <p:nvPr userDrawn="1"/>
          </p:nvGrpSpPr>
          <p:grpSpPr>
            <a:xfrm>
              <a:off x="-3311319" y="2164285"/>
              <a:ext cx="825500" cy="209550"/>
              <a:chOff x="13504624" y="2482850"/>
              <a:chExt cx="825500" cy="209550"/>
            </a:xfrm>
          </p:grpSpPr>
          <p:sp>
            <p:nvSpPr>
              <p:cNvPr id="179" name="Rechthoek 178">
                <a:extLst>
                  <a:ext uri="{FF2B5EF4-FFF2-40B4-BE49-F238E27FC236}">
                    <a16:creationId xmlns:a16="http://schemas.microsoft.com/office/drawing/2014/main" id="{B2EFEE35-AE29-4701-B137-A856B98926E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80" name="Rechte verbindingslijn 179">
                <a:extLst>
                  <a:ext uri="{FF2B5EF4-FFF2-40B4-BE49-F238E27FC236}">
                    <a16:creationId xmlns:a16="http://schemas.microsoft.com/office/drawing/2014/main" id="{749DC65F-E64C-4B42-89A6-BE8AB1DFBA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81" name="Gelijkbenige driehoek 180">
                <a:extLst>
                  <a:ext uri="{FF2B5EF4-FFF2-40B4-BE49-F238E27FC236}">
                    <a16:creationId xmlns:a16="http://schemas.microsoft.com/office/drawing/2014/main" id="{4255F441-D15E-4E1D-AE45-A63F211B63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139" name="Ovaal 138">
              <a:extLst>
                <a:ext uri="{FF2B5EF4-FFF2-40B4-BE49-F238E27FC236}">
                  <a16:creationId xmlns:a16="http://schemas.microsoft.com/office/drawing/2014/main" id="{54CD15D7-7CC8-4C6D-8A0D-391FE2CEFCBD}"/>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0" name="Rechthoek 139">
              <a:extLst>
                <a:ext uri="{FF2B5EF4-FFF2-40B4-BE49-F238E27FC236}">
                  <a16:creationId xmlns:a16="http://schemas.microsoft.com/office/drawing/2014/main" id="{1E77056D-92DA-4BEF-BEE5-D226A16FBDFC}"/>
                </a:ext>
              </a:extLst>
            </p:cNvPr>
            <p:cNvSpPr/>
            <p:nvPr userDrawn="1"/>
          </p:nvSpPr>
          <p:spPr>
            <a:xfrm>
              <a:off x="-3319415" y="2553360"/>
              <a:ext cx="2944682" cy="8089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het logo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het logo en met de hoekjes het logokader.</a:t>
              </a:r>
            </a:p>
          </p:txBody>
        </p:sp>
        <p:grpSp>
          <p:nvGrpSpPr>
            <p:cNvPr id="141" name="Groep 140">
              <a:extLst>
                <a:ext uri="{FF2B5EF4-FFF2-40B4-BE49-F238E27FC236}">
                  <a16:creationId xmlns:a16="http://schemas.microsoft.com/office/drawing/2014/main" id="{810AB701-F758-4CD5-B317-61A544EBBC50}"/>
                </a:ext>
              </a:extLst>
            </p:cNvPr>
            <p:cNvGrpSpPr/>
            <p:nvPr userDrawn="1"/>
          </p:nvGrpSpPr>
          <p:grpSpPr>
            <a:xfrm>
              <a:off x="-3408294" y="3470504"/>
              <a:ext cx="622283" cy="612920"/>
              <a:chOff x="12617641" y="3403239"/>
              <a:chExt cx="752963" cy="741634"/>
            </a:xfrm>
          </p:grpSpPr>
          <p:grpSp>
            <p:nvGrpSpPr>
              <p:cNvPr id="163" name="Groep 162">
                <a:extLst>
                  <a:ext uri="{FF2B5EF4-FFF2-40B4-BE49-F238E27FC236}">
                    <a16:creationId xmlns:a16="http://schemas.microsoft.com/office/drawing/2014/main" id="{E7C6351F-5C03-4EE4-A255-7CA379B85952}"/>
                  </a:ext>
                </a:extLst>
              </p:cNvPr>
              <p:cNvGrpSpPr/>
              <p:nvPr userDrawn="1"/>
            </p:nvGrpSpPr>
            <p:grpSpPr>
              <a:xfrm>
                <a:off x="12771530" y="3403239"/>
                <a:ext cx="467176" cy="448491"/>
                <a:chOff x="12782157" y="3403239"/>
                <a:chExt cx="467176" cy="448491"/>
              </a:xfrm>
            </p:grpSpPr>
            <p:grpSp>
              <p:nvGrpSpPr>
                <p:cNvPr id="166" name="Groep 165">
                  <a:extLst>
                    <a:ext uri="{FF2B5EF4-FFF2-40B4-BE49-F238E27FC236}">
                      <a16:creationId xmlns:a16="http://schemas.microsoft.com/office/drawing/2014/main" id="{197D61CF-E9B6-4249-A3BA-F3BD06BDC9BD}"/>
                    </a:ext>
                  </a:extLst>
                </p:cNvPr>
                <p:cNvGrpSpPr/>
                <p:nvPr userDrawn="1"/>
              </p:nvGrpSpPr>
              <p:grpSpPr>
                <a:xfrm>
                  <a:off x="12782157" y="3403239"/>
                  <a:ext cx="412976" cy="396132"/>
                  <a:chOff x="13554906" y="3320109"/>
                  <a:chExt cx="443917" cy="425811"/>
                </a:xfrm>
              </p:grpSpPr>
              <p:grpSp>
                <p:nvGrpSpPr>
                  <p:cNvPr id="173" name="Groep 172">
                    <a:extLst>
                      <a:ext uri="{FF2B5EF4-FFF2-40B4-BE49-F238E27FC236}">
                        <a16:creationId xmlns:a16="http://schemas.microsoft.com/office/drawing/2014/main" id="{956B64A8-15A0-4C7F-A3E7-083F778D9617}"/>
                      </a:ext>
                    </a:extLst>
                  </p:cNvPr>
                  <p:cNvGrpSpPr/>
                  <p:nvPr userDrawn="1"/>
                </p:nvGrpSpPr>
                <p:grpSpPr>
                  <a:xfrm>
                    <a:off x="13554906" y="3320109"/>
                    <a:ext cx="443917" cy="425811"/>
                    <a:chOff x="12909684" y="1276143"/>
                    <a:chExt cx="443917" cy="425811"/>
                  </a:xfrm>
                </p:grpSpPr>
                <p:sp>
                  <p:nvSpPr>
                    <p:cNvPr id="176" name="Rechthoek 175">
                      <a:extLst>
                        <a:ext uri="{FF2B5EF4-FFF2-40B4-BE49-F238E27FC236}">
                          <a16:creationId xmlns:a16="http://schemas.microsoft.com/office/drawing/2014/main" id="{881EC470-7E9B-4BA7-89E0-B0332D4CBA8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FC734AB1-87CA-48D3-B057-9021AFCFDFD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8" name="Ovaal 177">
                      <a:extLst>
                        <a:ext uri="{FF2B5EF4-FFF2-40B4-BE49-F238E27FC236}">
                          <a16:creationId xmlns:a16="http://schemas.microsoft.com/office/drawing/2014/main" id="{641ED05B-2B9F-4FC7-9DBB-DBA516AB714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74" name="Afbeelding 173">
                    <a:extLst>
                      <a:ext uri="{FF2B5EF4-FFF2-40B4-BE49-F238E27FC236}">
                        <a16:creationId xmlns:a16="http://schemas.microsoft.com/office/drawing/2014/main" id="{404D7CFA-2A85-4133-8255-FD776E1FAB2E}"/>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75" name="Afbeelding 174">
                    <a:extLst>
                      <a:ext uri="{FF2B5EF4-FFF2-40B4-BE49-F238E27FC236}">
                        <a16:creationId xmlns:a16="http://schemas.microsoft.com/office/drawing/2014/main" id="{2F50EEE3-80B5-4A9F-8032-81B314FA278A}"/>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67" name="Groep 166">
                  <a:extLst>
                    <a:ext uri="{FF2B5EF4-FFF2-40B4-BE49-F238E27FC236}">
                      <a16:creationId xmlns:a16="http://schemas.microsoft.com/office/drawing/2014/main" id="{DA3D8926-52E1-4040-BA45-9B025796EFB9}"/>
                    </a:ext>
                  </a:extLst>
                </p:cNvPr>
                <p:cNvGrpSpPr/>
                <p:nvPr userDrawn="1"/>
              </p:nvGrpSpPr>
              <p:grpSpPr>
                <a:xfrm>
                  <a:off x="13103513" y="3705268"/>
                  <a:ext cx="145820" cy="146462"/>
                  <a:chOff x="13096169" y="3602278"/>
                  <a:chExt cx="145820" cy="146462"/>
                </a:xfrm>
              </p:grpSpPr>
              <p:sp>
                <p:nvSpPr>
                  <p:cNvPr id="171" name="Rechthoek 170">
                    <a:extLst>
                      <a:ext uri="{FF2B5EF4-FFF2-40B4-BE49-F238E27FC236}">
                        <a16:creationId xmlns:a16="http://schemas.microsoft.com/office/drawing/2014/main" id="{AD5ABFEE-5E59-4BC1-8228-289D6BC7B2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BF182378-08D3-4F73-9ECD-FF76CE1B5CC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5805B01-E174-4CA9-8589-5B43E019713A}"/>
                    </a:ext>
                  </a:extLst>
                </p:cNvPr>
                <p:cNvGrpSpPr/>
                <p:nvPr userDrawn="1"/>
              </p:nvGrpSpPr>
              <p:grpSpPr>
                <a:xfrm rot="10800000">
                  <a:off x="13061402" y="3665637"/>
                  <a:ext cx="145820" cy="146462"/>
                  <a:chOff x="13096169" y="3602278"/>
                  <a:chExt cx="145820" cy="146462"/>
                </a:xfrm>
              </p:grpSpPr>
              <p:sp>
                <p:nvSpPr>
                  <p:cNvPr id="169" name="Rechthoek 168">
                    <a:extLst>
                      <a:ext uri="{FF2B5EF4-FFF2-40B4-BE49-F238E27FC236}">
                        <a16:creationId xmlns:a16="http://schemas.microsoft.com/office/drawing/2014/main" id="{8D8A793C-B49B-4BB3-9368-852CAEB7EF8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4BD79D8E-0198-4F0F-9AFB-DDE7F286F57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64" name="Rechthoek 163">
                <a:extLst>
                  <a:ext uri="{FF2B5EF4-FFF2-40B4-BE49-F238E27FC236}">
                    <a16:creationId xmlns:a16="http://schemas.microsoft.com/office/drawing/2014/main" id="{B5E1C03E-2E75-4AAB-837C-89288EA934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65" name="Gelijkbenige driehoek 164">
                <a:extLst>
                  <a:ext uri="{FF2B5EF4-FFF2-40B4-BE49-F238E27FC236}">
                    <a16:creationId xmlns:a16="http://schemas.microsoft.com/office/drawing/2014/main" id="{4CEF352F-7777-44EE-824A-C4380144C74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43" name="Ovaal 142">
              <a:extLst>
                <a:ext uri="{FF2B5EF4-FFF2-40B4-BE49-F238E27FC236}">
                  <a16:creationId xmlns:a16="http://schemas.microsoft.com/office/drawing/2014/main" id="{CDFE5063-2738-4FAF-A81C-7C959CA0D013}"/>
                </a:ext>
              </a:extLst>
            </p:cNvPr>
            <p:cNvSpPr/>
            <p:nvPr userDrawn="1"/>
          </p:nvSpPr>
          <p:spPr>
            <a:xfrm>
              <a:off x="-3603587" y="4267791"/>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4" name="Rechthoek 143">
              <a:extLst>
                <a:ext uri="{FF2B5EF4-FFF2-40B4-BE49-F238E27FC236}">
                  <a16:creationId xmlns:a16="http://schemas.microsoft.com/office/drawing/2014/main" id="{5FB46063-EF1D-4FAB-9321-BCFDF34D3D05}"/>
                </a:ext>
              </a:extLst>
            </p:cNvPr>
            <p:cNvSpPr/>
            <p:nvPr userDrawn="1"/>
          </p:nvSpPr>
          <p:spPr>
            <a:xfrm>
              <a:off x="-3319415" y="4267792"/>
              <a:ext cx="2944682" cy="8127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er voor te zorgen dat het logo in zijn originele verhouding staat,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het pijltje onder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an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5" name="Groep 144">
              <a:extLst>
                <a:ext uri="{FF2B5EF4-FFF2-40B4-BE49-F238E27FC236}">
                  <a16:creationId xmlns:a16="http://schemas.microsoft.com/office/drawing/2014/main" id="{2AE74C18-9D4B-46B5-9042-EF92A6E52533}"/>
                </a:ext>
              </a:extLst>
            </p:cNvPr>
            <p:cNvGrpSpPr/>
            <p:nvPr userDrawn="1"/>
          </p:nvGrpSpPr>
          <p:grpSpPr>
            <a:xfrm>
              <a:off x="-3314821" y="5192208"/>
              <a:ext cx="1108877" cy="563933"/>
              <a:chOff x="-3314821" y="3885197"/>
              <a:chExt cx="1108877" cy="563933"/>
            </a:xfrm>
          </p:grpSpPr>
          <p:sp>
            <p:nvSpPr>
              <p:cNvPr id="146" name="Rechthoek 145">
                <a:extLst>
                  <a:ext uri="{FF2B5EF4-FFF2-40B4-BE49-F238E27FC236}">
                    <a16:creationId xmlns:a16="http://schemas.microsoft.com/office/drawing/2014/main" id="{78F7646B-1CA5-40E1-B094-4DE79EBF2A08}"/>
                  </a:ext>
                </a:extLst>
              </p:cNvPr>
              <p:cNvSpPr/>
              <p:nvPr userDrawn="1"/>
            </p:nvSpPr>
            <p:spPr>
              <a:xfrm>
                <a:off x="-3314821" y="3885197"/>
                <a:ext cx="105560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2DB7306-0A91-4C6D-91D0-4898D35A278C}"/>
                  </a:ext>
                </a:extLst>
              </p:cNvPr>
              <p:cNvSpPr/>
              <p:nvPr userDrawn="1"/>
            </p:nvSpPr>
            <p:spPr>
              <a:xfrm>
                <a:off x="-3304718" y="4138922"/>
                <a:ext cx="1043588"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48" name="Tekstvak 147">
                <a:extLst>
                  <a:ext uri="{FF2B5EF4-FFF2-40B4-BE49-F238E27FC236}">
                    <a16:creationId xmlns:a16="http://schemas.microsoft.com/office/drawing/2014/main" id="{336D641F-F765-4D47-A174-70C9E8D0D404}"/>
                  </a:ext>
                </a:extLst>
              </p:cNvPr>
              <p:cNvSpPr txBox="1"/>
              <p:nvPr userDrawn="1"/>
            </p:nvSpPr>
            <p:spPr>
              <a:xfrm>
                <a:off x="-3069820" y="3949098"/>
                <a:ext cx="794156"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Opvullen</a:t>
                </a:r>
              </a:p>
            </p:txBody>
          </p:sp>
          <p:sp>
            <p:nvSpPr>
              <p:cNvPr id="149" name="Tekstvak 148">
                <a:extLst>
                  <a:ext uri="{FF2B5EF4-FFF2-40B4-BE49-F238E27FC236}">
                    <a16:creationId xmlns:a16="http://schemas.microsoft.com/office/drawing/2014/main" id="{AF81C77F-99F7-4CB0-B58D-09842372DBC3}"/>
                  </a:ext>
                </a:extLst>
              </p:cNvPr>
              <p:cNvSpPr txBox="1"/>
              <p:nvPr userDrawn="1"/>
            </p:nvSpPr>
            <p:spPr>
              <a:xfrm>
                <a:off x="-3069819" y="4199018"/>
                <a:ext cx="800912"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Aanpassen</a:t>
                </a:r>
              </a:p>
            </p:txBody>
          </p:sp>
          <p:sp>
            <p:nvSpPr>
              <p:cNvPr id="150" name="Vrije vorm: vorm 149">
                <a:extLst>
                  <a:ext uri="{FF2B5EF4-FFF2-40B4-BE49-F238E27FC236}">
                    <a16:creationId xmlns:a16="http://schemas.microsoft.com/office/drawing/2014/main" id="{AA1126A4-701F-4B91-B9FB-8084EDEC32CF}"/>
                  </a:ext>
                </a:extLst>
              </p:cNvPr>
              <p:cNvSpPr/>
              <p:nvPr userDrawn="1"/>
            </p:nvSpPr>
            <p:spPr>
              <a:xfrm>
                <a:off x="-2303506" y="426913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483D8FDE-714E-4126-A5C4-4DBBB3EADBCD}"/>
                  </a:ext>
                </a:extLst>
              </p:cNvPr>
              <p:cNvGrpSpPr/>
              <p:nvPr userDrawn="1"/>
            </p:nvGrpSpPr>
            <p:grpSpPr>
              <a:xfrm>
                <a:off x="-3254609" y="3946178"/>
                <a:ext cx="184194" cy="143334"/>
                <a:chOff x="6218544" y="2402421"/>
                <a:chExt cx="144156" cy="112178"/>
              </a:xfrm>
            </p:grpSpPr>
            <p:sp>
              <p:nvSpPr>
                <p:cNvPr id="157" name="Rechthoek 156">
                  <a:extLst>
                    <a:ext uri="{FF2B5EF4-FFF2-40B4-BE49-F238E27FC236}">
                      <a16:creationId xmlns:a16="http://schemas.microsoft.com/office/drawing/2014/main" id="{FED4A7B5-7450-4F69-9F8E-BFBCBC1759AF}"/>
                    </a:ext>
                  </a:extLst>
                </p:cNvPr>
                <p:cNvSpPr/>
                <p:nvPr userDrawn="1"/>
              </p:nvSpPr>
              <p:spPr>
                <a:xfrm>
                  <a:off x="6218544" y="2414588"/>
                  <a:ext cx="144156" cy="100011"/>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8" name="Rechthoek 47">
                  <a:extLst>
                    <a:ext uri="{FF2B5EF4-FFF2-40B4-BE49-F238E27FC236}">
                      <a16:creationId xmlns:a16="http://schemas.microsoft.com/office/drawing/2014/main" id="{0A02F641-6EFC-4E91-A16B-5F9DBE19806E}"/>
                    </a:ext>
                  </a:extLst>
                </p:cNvPr>
                <p:cNvSpPr/>
                <p:nvPr userDrawn="1"/>
              </p:nvSpPr>
              <p:spPr>
                <a:xfrm>
                  <a:off x="6224587" y="2445544"/>
                  <a:ext cx="95251" cy="6480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9" name="Rechthoek 47">
                  <a:extLst>
                    <a:ext uri="{FF2B5EF4-FFF2-40B4-BE49-F238E27FC236}">
                      <a16:creationId xmlns:a16="http://schemas.microsoft.com/office/drawing/2014/main" id="{43686462-68D7-479E-BE26-ADC9A7A3DFF0}"/>
                    </a:ext>
                  </a:extLst>
                </p:cNvPr>
                <p:cNvSpPr/>
                <p:nvPr userDrawn="1"/>
              </p:nvSpPr>
              <p:spPr>
                <a:xfrm>
                  <a:off x="6296025" y="2457450"/>
                  <a:ext cx="64294" cy="52388"/>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60" name="Koorde 159">
                  <a:extLst>
                    <a:ext uri="{FF2B5EF4-FFF2-40B4-BE49-F238E27FC236}">
                      <a16:creationId xmlns:a16="http://schemas.microsoft.com/office/drawing/2014/main" id="{1F887993-4D80-4B1B-9F89-11022EB0A533}"/>
                    </a:ext>
                  </a:extLst>
                </p:cNvPr>
                <p:cNvSpPr/>
                <p:nvPr userDrawn="1"/>
              </p:nvSpPr>
              <p:spPr>
                <a:xfrm>
                  <a:off x="6290536" y="2402421"/>
                  <a:ext cx="37785" cy="37785"/>
                </a:xfrm>
                <a:prstGeom prst="chord">
                  <a:avLst>
                    <a:gd name="adj1" fmla="val 21457318"/>
                    <a:gd name="adj2" fmla="val 11002272"/>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52" name="Groep 151">
                <a:extLst>
                  <a:ext uri="{FF2B5EF4-FFF2-40B4-BE49-F238E27FC236}">
                    <a16:creationId xmlns:a16="http://schemas.microsoft.com/office/drawing/2014/main" id="{AEB2A720-D8E7-462A-A3D9-5A2B1C458B20}"/>
                  </a:ext>
                </a:extLst>
              </p:cNvPr>
              <p:cNvGrpSpPr/>
              <p:nvPr userDrawn="1"/>
            </p:nvGrpSpPr>
            <p:grpSpPr>
              <a:xfrm>
                <a:off x="-3254609" y="4199853"/>
                <a:ext cx="184194" cy="124747"/>
                <a:chOff x="6218544" y="2636044"/>
                <a:chExt cx="144156" cy="97631"/>
              </a:xfrm>
            </p:grpSpPr>
            <p:sp>
              <p:nvSpPr>
                <p:cNvPr id="153" name="Rechthoek 152">
                  <a:extLst>
                    <a:ext uri="{FF2B5EF4-FFF2-40B4-BE49-F238E27FC236}">
                      <a16:creationId xmlns:a16="http://schemas.microsoft.com/office/drawing/2014/main" id="{4A8BAF38-66EE-49CF-9E08-53870CD41C8A}"/>
                    </a:ext>
                  </a:extLst>
                </p:cNvPr>
                <p:cNvSpPr/>
                <p:nvPr userDrawn="1"/>
              </p:nvSpPr>
              <p:spPr>
                <a:xfrm>
                  <a:off x="6218544" y="2636044"/>
                  <a:ext cx="144156" cy="92869"/>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4" name="Rechthoek 153">
                  <a:extLst>
                    <a:ext uri="{FF2B5EF4-FFF2-40B4-BE49-F238E27FC236}">
                      <a16:creationId xmlns:a16="http://schemas.microsoft.com/office/drawing/2014/main" id="{5B37CAA4-55E9-4C6C-A407-24DC8B935EE9}"/>
                    </a:ext>
                  </a:extLst>
                </p:cNvPr>
                <p:cNvSpPr/>
                <p:nvPr userDrawn="1"/>
              </p:nvSpPr>
              <p:spPr>
                <a:xfrm>
                  <a:off x="6249409" y="2636045"/>
                  <a:ext cx="85725" cy="97630"/>
                </a:xfrm>
                <a:prstGeom prst="rect">
                  <a:avLst/>
                </a:prstGeom>
                <a:solidFill>
                  <a:srgbClr val="F0F0F0"/>
                </a:solidFill>
                <a:ln w="9525">
                  <a:solidFill>
                    <a:srgbClr val="B7B4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5" name="Ovaal 154">
                  <a:extLst>
                    <a:ext uri="{FF2B5EF4-FFF2-40B4-BE49-F238E27FC236}">
                      <a16:creationId xmlns:a16="http://schemas.microsoft.com/office/drawing/2014/main" id="{06619973-BFF6-44F8-B734-9D033EFA4A99}"/>
                    </a:ext>
                  </a:extLst>
                </p:cNvPr>
                <p:cNvSpPr/>
                <p:nvPr userDrawn="1"/>
              </p:nvSpPr>
              <p:spPr>
                <a:xfrm>
                  <a:off x="6297938" y="2655636"/>
                  <a:ext cx="21328" cy="21328"/>
                </a:xfrm>
                <a:prstGeom prst="ellipse">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6" name="Rechthoek 47">
                  <a:extLst>
                    <a:ext uri="{FF2B5EF4-FFF2-40B4-BE49-F238E27FC236}">
                      <a16:creationId xmlns:a16="http://schemas.microsoft.com/office/drawing/2014/main" id="{A8C70D0A-5D59-4D31-B60F-60DE6944507A}"/>
                    </a:ext>
                  </a:extLst>
                </p:cNvPr>
                <p:cNvSpPr/>
                <p:nvPr userDrawn="1"/>
              </p:nvSpPr>
              <p:spPr>
                <a:xfrm>
                  <a:off x="6261434" y="2675670"/>
                  <a:ext cx="45896" cy="3778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60297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43">
          <p15:clr>
            <a:srgbClr val="FBAE40"/>
          </p15:clr>
        </p15:guide>
        <p15:guide id="2" pos="7537">
          <p15:clr>
            <a:srgbClr val="FBAE40"/>
          </p15:clr>
        </p15:guide>
        <p15:guide id="3" orient="horz" pos="142">
          <p15:clr>
            <a:srgbClr val="FBAE40"/>
          </p15:clr>
        </p15:guide>
        <p15:guide id="5" orient="horz" pos="417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afsluiting oranje">
    <p:spTree>
      <p:nvGrpSpPr>
        <p:cNvPr id="1" name=""/>
        <p:cNvGrpSpPr/>
        <p:nvPr/>
      </p:nvGrpSpPr>
      <p:grpSpPr>
        <a:xfrm>
          <a:off x="0" y="0"/>
          <a:ext cx="0" cy="0"/>
          <a:chOff x="0" y="0"/>
          <a:chExt cx="0" cy="0"/>
        </a:xfrm>
      </p:grpSpPr>
      <p:pic>
        <p:nvPicPr>
          <p:cNvPr id="2" name="Afbeelding 6">
            <a:extLst>
              <a:ext uri="{FF2B5EF4-FFF2-40B4-BE49-F238E27FC236}">
                <a16:creationId xmlns:a16="http://schemas.microsoft.com/office/drawing/2014/main" id="{B2A2CB06-451F-43A4-8455-C3A56D2B2B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121872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datum 1">
            <a:extLst>
              <a:ext uri="{FF2B5EF4-FFF2-40B4-BE49-F238E27FC236}">
                <a16:creationId xmlns:a16="http://schemas.microsoft.com/office/drawing/2014/main" id="{5ACB0D92-37CB-475E-B11B-8B9B5A90D4CD}"/>
              </a:ext>
            </a:extLst>
          </p:cNvPr>
          <p:cNvSpPr>
            <a:spLocks noGrp="1"/>
          </p:cNvSpPr>
          <p:nvPr>
            <p:ph type="dt" sz="half" idx="10"/>
          </p:nvPr>
        </p:nvSpPr>
        <p:spPr/>
        <p:txBody>
          <a:bodyPr/>
          <a:lstStyle>
            <a:lvl1pPr>
              <a:defRPr/>
            </a:lvl1pPr>
          </a:lstStyle>
          <a:p>
            <a:pPr>
              <a:defRPr/>
            </a:pPr>
            <a:fld id="{A3B7031E-14BD-4D37-927E-160D7FA29787}" type="datetimeFigureOut">
              <a:rPr lang="nl-NL"/>
              <a:pPr>
                <a:defRPr/>
              </a:pPr>
              <a:t>28-9-2022</a:t>
            </a:fld>
            <a:endParaRPr lang="nl-NL"/>
          </a:p>
        </p:txBody>
      </p:sp>
      <p:sp>
        <p:nvSpPr>
          <p:cNvPr id="4" name="Tijdelijke aanduiding voor voettekst 2">
            <a:extLst>
              <a:ext uri="{FF2B5EF4-FFF2-40B4-BE49-F238E27FC236}">
                <a16:creationId xmlns:a16="http://schemas.microsoft.com/office/drawing/2014/main" id="{0E3F1A8A-98F4-4F38-AC9D-E55216802866}"/>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3">
            <a:extLst>
              <a:ext uri="{FF2B5EF4-FFF2-40B4-BE49-F238E27FC236}">
                <a16:creationId xmlns:a16="http://schemas.microsoft.com/office/drawing/2014/main" id="{D330D3EB-8ED8-4F9A-9A53-1CF1209E88F0}"/>
              </a:ext>
            </a:extLst>
          </p:cNvPr>
          <p:cNvSpPr>
            <a:spLocks noGrp="1"/>
          </p:cNvSpPr>
          <p:nvPr>
            <p:ph type="sldNum" sz="quarter" idx="12"/>
          </p:nvPr>
        </p:nvSpPr>
        <p:spPr/>
        <p:txBody>
          <a:bodyPr/>
          <a:lstStyle>
            <a:lvl1pPr>
              <a:defRPr/>
            </a:lvl1pPr>
          </a:lstStyle>
          <a:p>
            <a:pPr>
              <a:defRPr/>
            </a:pPr>
            <a:fld id="{0E2D26B9-B90A-45FA-9DC1-E02332709C4B}" type="slidenum">
              <a:rPr lang="nl-NL"/>
              <a:pPr>
                <a:defRPr/>
              </a:pPr>
              <a:t>‹nr.›</a:t>
            </a:fld>
            <a:endParaRPr lang="nl-NL"/>
          </a:p>
        </p:txBody>
      </p:sp>
    </p:spTree>
    <p:extLst>
      <p:ext uri="{BB962C8B-B14F-4D97-AF65-F5344CB8AC3E}">
        <p14:creationId xmlns:p14="http://schemas.microsoft.com/office/powerpoint/2010/main" val="18256483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Hoofdstukslide + foto #2">
    <p:spTree>
      <p:nvGrpSpPr>
        <p:cNvPr id="1" name=""/>
        <p:cNvGrpSpPr/>
        <p:nvPr/>
      </p:nvGrpSpPr>
      <p:grpSpPr>
        <a:xfrm>
          <a:off x="0" y="0"/>
          <a:ext cx="0" cy="0"/>
          <a:chOff x="0" y="0"/>
          <a:chExt cx="0" cy="0"/>
        </a:xfrm>
      </p:grpSpPr>
      <p:sp>
        <p:nvSpPr>
          <p:cNvPr id="93" name="Vrije vorm: vorm 92">
            <a:extLst>
              <a:ext uri="{FF2B5EF4-FFF2-40B4-BE49-F238E27FC236}">
                <a16:creationId xmlns:a16="http://schemas.microsoft.com/office/drawing/2014/main" id="{2283EC93-D09F-472C-A911-EE2C2FD388B5}"/>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216691" y="214427"/>
            <a:ext cx="11757821" cy="6424498"/>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2" name="Titel 1"/>
          <p:cNvSpPr>
            <a:spLocks noGrp="1"/>
          </p:cNvSpPr>
          <p:nvPr>
            <p:ph type="title" hasCustomPrompt="1"/>
          </p:nvPr>
        </p:nvSpPr>
        <p:spPr>
          <a:xfrm>
            <a:off x="1342800" y="1767900"/>
            <a:ext cx="4743450" cy="2994599"/>
          </a:xfrm>
        </p:spPr>
        <p:txBody>
          <a:bodyPr anchor="t"/>
          <a:lstStyle>
            <a:lvl1pPr>
              <a:defRPr sz="4000">
                <a:solidFill>
                  <a:srgbClr val="002857"/>
                </a:solidFill>
              </a:defRPr>
            </a:lvl1pPr>
          </a:lstStyle>
          <a:p>
            <a:r>
              <a:rPr lang="nl-NL"/>
              <a:t>Plaats hier je hoofdstuktitel,</a:t>
            </a:r>
            <a:br>
              <a:rPr lang="nl-NL"/>
            </a:br>
            <a:r>
              <a:rPr lang="nl-NL"/>
              <a:t>de tekst is altijd links uitgelijnd.</a:t>
            </a:r>
            <a:br>
              <a:rPr lang="nl-NL"/>
            </a:br>
            <a:r>
              <a:rPr lang="nl-NL"/>
              <a:t>Max. 5 regels.</a:t>
            </a:r>
          </a:p>
        </p:txBody>
      </p:sp>
      <p:grpSp>
        <p:nvGrpSpPr>
          <p:cNvPr id="22" name="INSTRUCTIE">
            <a:extLst>
              <a:ext uri="{FF2B5EF4-FFF2-40B4-BE49-F238E27FC236}">
                <a16:creationId xmlns:a16="http://schemas.microsoft.com/office/drawing/2014/main" id="{4CA6877F-9337-446A-B59D-713B197C85CA}"/>
              </a:ext>
            </a:extLst>
          </p:cNvPr>
          <p:cNvGrpSpPr/>
          <p:nvPr userDrawn="1"/>
        </p:nvGrpSpPr>
        <p:grpSpPr>
          <a:xfrm>
            <a:off x="12377867" y="0"/>
            <a:ext cx="3593091" cy="5624863"/>
            <a:chOff x="-3786165" y="0"/>
            <a:chExt cx="3593091" cy="5624863"/>
          </a:xfrm>
        </p:grpSpPr>
        <p:sp>
          <p:nvSpPr>
            <p:cNvPr id="23" name="Rechthoek 22">
              <a:extLst>
                <a:ext uri="{FF2B5EF4-FFF2-40B4-BE49-F238E27FC236}">
                  <a16:creationId xmlns:a16="http://schemas.microsoft.com/office/drawing/2014/main" id="{69940256-B636-407C-A36F-81D10FF02420}"/>
                </a:ext>
              </a:extLst>
            </p:cNvPr>
            <p:cNvSpPr/>
            <p:nvPr userDrawn="1"/>
          </p:nvSpPr>
          <p:spPr>
            <a:xfrm>
              <a:off x="-3786165" y="0"/>
              <a:ext cx="3593091" cy="5624863"/>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4" name="Ovaal 23">
              <a:extLst>
                <a:ext uri="{FF2B5EF4-FFF2-40B4-BE49-F238E27FC236}">
                  <a16:creationId xmlns:a16="http://schemas.microsoft.com/office/drawing/2014/main" id="{B510A22D-7D17-4C78-A04D-2E1ECD03F76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AF310A3B-F35B-406E-9FE0-73854C87FFF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6" name="Groep 25">
              <a:extLst>
                <a:ext uri="{FF2B5EF4-FFF2-40B4-BE49-F238E27FC236}">
                  <a16:creationId xmlns:a16="http://schemas.microsoft.com/office/drawing/2014/main" id="{4FB2E033-AF83-4B97-88B1-2DAA958B33ED}"/>
                </a:ext>
              </a:extLst>
            </p:cNvPr>
            <p:cNvGrpSpPr/>
            <p:nvPr userDrawn="1"/>
          </p:nvGrpSpPr>
          <p:grpSpPr>
            <a:xfrm>
              <a:off x="-3316179" y="1231351"/>
              <a:ext cx="294789" cy="318834"/>
              <a:chOff x="14466489" y="1001522"/>
              <a:chExt cx="290627" cy="314333"/>
            </a:xfrm>
          </p:grpSpPr>
          <p:sp>
            <p:nvSpPr>
              <p:cNvPr id="74" name="Rechthoek 73">
                <a:extLst>
                  <a:ext uri="{FF2B5EF4-FFF2-40B4-BE49-F238E27FC236}">
                    <a16:creationId xmlns:a16="http://schemas.microsoft.com/office/drawing/2014/main" id="{BAF0CD82-B071-4815-B683-AC116B1037C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5" name="Ovaal 74">
                <a:extLst>
                  <a:ext uri="{FF2B5EF4-FFF2-40B4-BE49-F238E27FC236}">
                    <a16:creationId xmlns:a16="http://schemas.microsoft.com/office/drawing/2014/main" id="{8C38C724-F48B-4E83-86D3-0D23020C2D0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6" name="Vrije vorm: vorm 75">
                <a:extLst>
                  <a:ext uri="{FF2B5EF4-FFF2-40B4-BE49-F238E27FC236}">
                    <a16:creationId xmlns:a16="http://schemas.microsoft.com/office/drawing/2014/main" id="{D424F71C-5C99-4C11-A311-2DBAADF3B16A}"/>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7" name="Rechthoek: afgeronde hoeken 76">
                <a:extLst>
                  <a:ext uri="{FF2B5EF4-FFF2-40B4-BE49-F238E27FC236}">
                    <a16:creationId xmlns:a16="http://schemas.microsoft.com/office/drawing/2014/main" id="{679C3995-C8A7-41F1-B591-219B95F99FA2}"/>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78" name="Rechte verbindingslijn 77">
                <a:extLst>
                  <a:ext uri="{FF2B5EF4-FFF2-40B4-BE49-F238E27FC236}">
                    <a16:creationId xmlns:a16="http://schemas.microsoft.com/office/drawing/2014/main" id="{1C921EE2-B7B9-403B-B823-4466B60AF7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id="{2E05EC7C-93A4-4668-860A-CA487197024F}"/>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 name="Ovaal 26">
              <a:extLst>
                <a:ext uri="{FF2B5EF4-FFF2-40B4-BE49-F238E27FC236}">
                  <a16:creationId xmlns:a16="http://schemas.microsoft.com/office/drawing/2014/main" id="{C7495A6D-887C-491F-A93F-0EFA2A3C22A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6BFF9703-A6E8-4AAE-A93A-682F3DE1DFF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9" name="Groep 28">
              <a:extLst>
                <a:ext uri="{FF2B5EF4-FFF2-40B4-BE49-F238E27FC236}">
                  <a16:creationId xmlns:a16="http://schemas.microsoft.com/office/drawing/2014/main" id="{5BA8F0F8-5A12-4CA6-8B5C-ED93E416228A}"/>
                </a:ext>
              </a:extLst>
            </p:cNvPr>
            <p:cNvGrpSpPr/>
            <p:nvPr userDrawn="1"/>
          </p:nvGrpSpPr>
          <p:grpSpPr>
            <a:xfrm>
              <a:off x="-3311319" y="2164285"/>
              <a:ext cx="825500" cy="209550"/>
              <a:chOff x="13504624" y="2482850"/>
              <a:chExt cx="825500" cy="209550"/>
            </a:xfrm>
          </p:grpSpPr>
          <p:sp>
            <p:nvSpPr>
              <p:cNvPr id="71" name="Rechthoek 70">
                <a:extLst>
                  <a:ext uri="{FF2B5EF4-FFF2-40B4-BE49-F238E27FC236}">
                    <a16:creationId xmlns:a16="http://schemas.microsoft.com/office/drawing/2014/main" id="{77018C16-BD44-414B-B906-17BDD073EA5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2" name="Rechte verbindingslijn 71">
                <a:extLst>
                  <a:ext uri="{FF2B5EF4-FFF2-40B4-BE49-F238E27FC236}">
                    <a16:creationId xmlns:a16="http://schemas.microsoft.com/office/drawing/2014/main" id="{382D5ED5-F769-4D7B-8CA1-58F958D3C3E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3" name="Gelijkbenige driehoek 72">
                <a:extLst>
                  <a:ext uri="{FF2B5EF4-FFF2-40B4-BE49-F238E27FC236}">
                    <a16:creationId xmlns:a16="http://schemas.microsoft.com/office/drawing/2014/main" id="{A4B1C29E-B2CC-4980-831F-ED3D9BC6A62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0" name="Ovaal 29">
              <a:extLst>
                <a:ext uri="{FF2B5EF4-FFF2-40B4-BE49-F238E27FC236}">
                  <a16:creationId xmlns:a16="http://schemas.microsoft.com/office/drawing/2014/main" id="{449F8F44-C5A0-4D91-AC44-4C28141291FF}"/>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1" name="Rechthoek 30">
              <a:extLst>
                <a:ext uri="{FF2B5EF4-FFF2-40B4-BE49-F238E27FC236}">
                  <a16:creationId xmlns:a16="http://schemas.microsoft.com/office/drawing/2014/main" id="{02D8F805-FBDC-4060-A5E1-DF2E5948B5A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2" name="Ovaal 31">
              <a:extLst>
                <a:ext uri="{FF2B5EF4-FFF2-40B4-BE49-F238E27FC236}">
                  <a16:creationId xmlns:a16="http://schemas.microsoft.com/office/drawing/2014/main" id="{B3CDF22B-612E-4D95-82FB-21C5220903CE}"/>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3" name="Rechthoek 32">
              <a:extLst>
                <a:ext uri="{FF2B5EF4-FFF2-40B4-BE49-F238E27FC236}">
                  <a16:creationId xmlns:a16="http://schemas.microsoft.com/office/drawing/2014/main" id="{76FAD9A9-55FB-48A8-A61D-A04C8C9A0F3F}"/>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4" name="Groep 33">
              <a:extLst>
                <a:ext uri="{FF2B5EF4-FFF2-40B4-BE49-F238E27FC236}">
                  <a16:creationId xmlns:a16="http://schemas.microsoft.com/office/drawing/2014/main" id="{F95ADA41-7484-4B9E-AB70-4DC9232B9206}"/>
                </a:ext>
              </a:extLst>
            </p:cNvPr>
            <p:cNvGrpSpPr/>
            <p:nvPr userDrawn="1"/>
          </p:nvGrpSpPr>
          <p:grpSpPr>
            <a:xfrm>
              <a:off x="-3408294" y="4834615"/>
              <a:ext cx="622283" cy="612919"/>
              <a:chOff x="12617641" y="3403239"/>
              <a:chExt cx="752963" cy="741634"/>
            </a:xfrm>
          </p:grpSpPr>
          <p:grpSp>
            <p:nvGrpSpPr>
              <p:cNvPr id="54" name="Groep 53">
                <a:extLst>
                  <a:ext uri="{FF2B5EF4-FFF2-40B4-BE49-F238E27FC236}">
                    <a16:creationId xmlns:a16="http://schemas.microsoft.com/office/drawing/2014/main" id="{1C013DC1-7732-4EFD-BA74-0C455355BA59}"/>
                  </a:ext>
                </a:extLst>
              </p:cNvPr>
              <p:cNvGrpSpPr/>
              <p:nvPr userDrawn="1"/>
            </p:nvGrpSpPr>
            <p:grpSpPr>
              <a:xfrm>
                <a:off x="12771550" y="3403239"/>
                <a:ext cx="467156" cy="448491"/>
                <a:chOff x="12782177" y="3403239"/>
                <a:chExt cx="467156" cy="448491"/>
              </a:xfrm>
            </p:grpSpPr>
            <p:grpSp>
              <p:nvGrpSpPr>
                <p:cNvPr id="57" name="Groep 56">
                  <a:extLst>
                    <a:ext uri="{FF2B5EF4-FFF2-40B4-BE49-F238E27FC236}">
                      <a16:creationId xmlns:a16="http://schemas.microsoft.com/office/drawing/2014/main" id="{B60E891D-4367-4DBA-A672-8CB97E861EB5}"/>
                    </a:ext>
                  </a:extLst>
                </p:cNvPr>
                <p:cNvGrpSpPr/>
                <p:nvPr userDrawn="1"/>
              </p:nvGrpSpPr>
              <p:grpSpPr>
                <a:xfrm>
                  <a:off x="12782177" y="3403239"/>
                  <a:ext cx="412972" cy="396132"/>
                  <a:chOff x="13554906" y="3320109"/>
                  <a:chExt cx="443912" cy="425811"/>
                </a:xfrm>
              </p:grpSpPr>
              <p:grpSp>
                <p:nvGrpSpPr>
                  <p:cNvPr id="65" name="Groep 64">
                    <a:extLst>
                      <a:ext uri="{FF2B5EF4-FFF2-40B4-BE49-F238E27FC236}">
                        <a16:creationId xmlns:a16="http://schemas.microsoft.com/office/drawing/2014/main" id="{3C8F1896-0675-4EC0-AF00-B0D3F61DAD67}"/>
                      </a:ext>
                    </a:extLst>
                  </p:cNvPr>
                  <p:cNvGrpSpPr/>
                  <p:nvPr userDrawn="1"/>
                </p:nvGrpSpPr>
                <p:grpSpPr>
                  <a:xfrm>
                    <a:off x="13554906" y="3320109"/>
                    <a:ext cx="443912" cy="425811"/>
                    <a:chOff x="12909684" y="1276143"/>
                    <a:chExt cx="443912" cy="425811"/>
                  </a:xfrm>
                </p:grpSpPr>
                <p:sp>
                  <p:nvSpPr>
                    <p:cNvPr id="68" name="Rechthoek 67">
                      <a:extLst>
                        <a:ext uri="{FF2B5EF4-FFF2-40B4-BE49-F238E27FC236}">
                          <a16:creationId xmlns:a16="http://schemas.microsoft.com/office/drawing/2014/main" id="{E4B1FEE6-A687-4CA2-ACC1-12BDD82792F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CC21C1F0-6E7D-4A72-B5BD-F2EAD55199E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0" name="Ovaal 69">
                      <a:extLst>
                        <a:ext uri="{FF2B5EF4-FFF2-40B4-BE49-F238E27FC236}">
                          <a16:creationId xmlns:a16="http://schemas.microsoft.com/office/drawing/2014/main" id="{28391B96-72C4-47A0-8F5A-00B076E8276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66" name="Afbeelding 65">
                    <a:extLst>
                      <a:ext uri="{FF2B5EF4-FFF2-40B4-BE49-F238E27FC236}">
                        <a16:creationId xmlns:a16="http://schemas.microsoft.com/office/drawing/2014/main" id="{183ADB42-A16A-49FB-8D3D-D4B06B216051}"/>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67" name="Afbeelding 66">
                    <a:extLst>
                      <a:ext uri="{FF2B5EF4-FFF2-40B4-BE49-F238E27FC236}">
                        <a16:creationId xmlns:a16="http://schemas.microsoft.com/office/drawing/2014/main" id="{E458561D-FF11-4EA0-AEAD-51084FFA76C3}"/>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58" name="Groep 57">
                  <a:extLst>
                    <a:ext uri="{FF2B5EF4-FFF2-40B4-BE49-F238E27FC236}">
                      <a16:creationId xmlns:a16="http://schemas.microsoft.com/office/drawing/2014/main" id="{7F0207D8-6C9A-42CC-8A96-4F770025CE0F}"/>
                    </a:ext>
                  </a:extLst>
                </p:cNvPr>
                <p:cNvGrpSpPr/>
                <p:nvPr userDrawn="1"/>
              </p:nvGrpSpPr>
              <p:grpSpPr>
                <a:xfrm>
                  <a:off x="13103513" y="3705268"/>
                  <a:ext cx="145820" cy="146462"/>
                  <a:chOff x="13096169" y="3602278"/>
                  <a:chExt cx="145820" cy="146462"/>
                </a:xfrm>
              </p:grpSpPr>
              <p:sp>
                <p:nvSpPr>
                  <p:cNvPr id="63" name="Rechthoek 62">
                    <a:extLst>
                      <a:ext uri="{FF2B5EF4-FFF2-40B4-BE49-F238E27FC236}">
                        <a16:creationId xmlns:a16="http://schemas.microsoft.com/office/drawing/2014/main" id="{31ACEC3A-2082-4465-AE8A-15751F1D224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BCAA9EE2-0E5A-4C1A-931B-B43DA4C4312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1F2EEB95-0575-4781-B1A4-8A446AE64A13}"/>
                    </a:ext>
                  </a:extLst>
                </p:cNvPr>
                <p:cNvGrpSpPr/>
                <p:nvPr userDrawn="1"/>
              </p:nvGrpSpPr>
              <p:grpSpPr>
                <a:xfrm rot="10800000">
                  <a:off x="13061402" y="3665637"/>
                  <a:ext cx="145820" cy="146462"/>
                  <a:chOff x="13096169" y="3602278"/>
                  <a:chExt cx="145820" cy="146462"/>
                </a:xfrm>
              </p:grpSpPr>
              <p:sp>
                <p:nvSpPr>
                  <p:cNvPr id="60" name="Rechthoek 59">
                    <a:extLst>
                      <a:ext uri="{FF2B5EF4-FFF2-40B4-BE49-F238E27FC236}">
                        <a16:creationId xmlns:a16="http://schemas.microsoft.com/office/drawing/2014/main" id="{2251AB06-5FF1-4959-94C8-E87B83888CB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2" name="Rechthoek 61">
                    <a:extLst>
                      <a:ext uri="{FF2B5EF4-FFF2-40B4-BE49-F238E27FC236}">
                        <a16:creationId xmlns:a16="http://schemas.microsoft.com/office/drawing/2014/main" id="{630914B4-2B5F-4D41-AD5A-D808DAEE600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55" name="Rechthoek 54">
                <a:extLst>
                  <a:ext uri="{FF2B5EF4-FFF2-40B4-BE49-F238E27FC236}">
                    <a16:creationId xmlns:a16="http://schemas.microsoft.com/office/drawing/2014/main" id="{D9DC797A-7966-4787-94FF-F8CEB3CBD0E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56" name="Gelijkbenige driehoek 55">
                <a:extLst>
                  <a:ext uri="{FF2B5EF4-FFF2-40B4-BE49-F238E27FC236}">
                    <a16:creationId xmlns:a16="http://schemas.microsoft.com/office/drawing/2014/main" id="{1239D2EB-07C9-4D19-B9FC-15102DA1CF2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CC35A679-536E-49F0-967B-0310DC20BB25}"/>
                </a:ext>
              </a:extLst>
            </p:cNvPr>
            <p:cNvGrpSpPr/>
            <p:nvPr userDrawn="1"/>
          </p:nvGrpSpPr>
          <p:grpSpPr>
            <a:xfrm>
              <a:off x="-3314821" y="2981448"/>
              <a:ext cx="1558053" cy="563933"/>
              <a:chOff x="-3314821" y="2981448"/>
              <a:chExt cx="1558053" cy="563933"/>
            </a:xfrm>
          </p:grpSpPr>
          <p:sp>
            <p:nvSpPr>
              <p:cNvPr id="39" name="Rechthoek 38">
                <a:extLst>
                  <a:ext uri="{FF2B5EF4-FFF2-40B4-BE49-F238E27FC236}">
                    <a16:creationId xmlns:a16="http://schemas.microsoft.com/office/drawing/2014/main" id="{52171BC1-5E7D-4168-9452-4D61E3EF746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EFF32EFD-2A5A-424F-B93D-09B920E99117}"/>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41" name="Tekstvak 40">
                <a:extLst>
                  <a:ext uri="{FF2B5EF4-FFF2-40B4-BE49-F238E27FC236}">
                    <a16:creationId xmlns:a16="http://schemas.microsoft.com/office/drawing/2014/main" id="{6B2D4BE2-37F4-4627-AF0C-86054AFEC8F6}"/>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voorgrond</a:t>
                </a:r>
              </a:p>
            </p:txBody>
          </p:sp>
          <p:sp>
            <p:nvSpPr>
              <p:cNvPr id="42" name="Tekstvak 41">
                <a:extLst>
                  <a:ext uri="{FF2B5EF4-FFF2-40B4-BE49-F238E27FC236}">
                    <a16:creationId xmlns:a16="http://schemas.microsoft.com/office/drawing/2014/main" id="{2D5041ED-8E0A-4657-8668-376BE4D4ACD2}"/>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achtergrond</a:t>
                </a:r>
              </a:p>
            </p:txBody>
          </p:sp>
          <p:sp>
            <p:nvSpPr>
              <p:cNvPr id="43" name="Vrije vorm: vorm 42">
                <a:extLst>
                  <a:ext uri="{FF2B5EF4-FFF2-40B4-BE49-F238E27FC236}">
                    <a16:creationId xmlns:a16="http://schemas.microsoft.com/office/drawing/2014/main" id="{123B18AC-44BD-490A-A5D3-FD8B4D7CB54C}"/>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sp>
            <p:nvSpPr>
              <p:cNvPr id="44" name="Gelijkbenige driehoek 43">
                <a:extLst>
                  <a:ext uri="{FF2B5EF4-FFF2-40B4-BE49-F238E27FC236}">
                    <a16:creationId xmlns:a16="http://schemas.microsoft.com/office/drawing/2014/main" id="{7838C905-D001-4721-978A-8FC09C9CA63C}"/>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5" name="Groep 44">
                <a:extLst>
                  <a:ext uri="{FF2B5EF4-FFF2-40B4-BE49-F238E27FC236}">
                    <a16:creationId xmlns:a16="http://schemas.microsoft.com/office/drawing/2014/main" id="{E7D93AE8-6CBD-419F-8942-D761BFEC2AEA}"/>
                  </a:ext>
                </a:extLst>
              </p:cNvPr>
              <p:cNvGrpSpPr/>
              <p:nvPr userDrawn="1"/>
            </p:nvGrpSpPr>
            <p:grpSpPr>
              <a:xfrm>
                <a:off x="-3257052" y="3032066"/>
                <a:ext cx="182309" cy="163794"/>
                <a:chOff x="12832541" y="3162395"/>
                <a:chExt cx="219532" cy="197236"/>
              </a:xfrm>
            </p:grpSpPr>
            <p:sp>
              <p:nvSpPr>
                <p:cNvPr id="50" name="Rechthoek 49">
                  <a:extLst>
                    <a:ext uri="{FF2B5EF4-FFF2-40B4-BE49-F238E27FC236}">
                      <a16:creationId xmlns:a16="http://schemas.microsoft.com/office/drawing/2014/main" id="{E1BCC782-D9BC-43C1-93D2-15F738A91674}"/>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969BD097-724A-49AC-B5FE-9AD773098F3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E75175D8-C5CF-4C2F-B069-D21F0402FB6A}"/>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071BFB5A-F3D1-4A59-9601-4AE9FF8D84BF}"/>
                  </a:ext>
                </a:extLst>
              </p:cNvPr>
              <p:cNvGrpSpPr/>
              <p:nvPr userDrawn="1"/>
            </p:nvGrpSpPr>
            <p:grpSpPr>
              <a:xfrm>
                <a:off x="-3257053" y="3276580"/>
                <a:ext cx="182309" cy="163794"/>
                <a:chOff x="12832541" y="3162395"/>
                <a:chExt cx="219532" cy="197236"/>
              </a:xfrm>
            </p:grpSpPr>
            <p:sp>
              <p:nvSpPr>
                <p:cNvPr id="47" name="Rechthoek 46">
                  <a:extLst>
                    <a:ext uri="{FF2B5EF4-FFF2-40B4-BE49-F238E27FC236}">
                      <a16:creationId xmlns:a16="http://schemas.microsoft.com/office/drawing/2014/main" id="{DEC5797C-8773-4073-83FA-773FF5DDD42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4E6DE92-E6AC-4C7F-872D-27D918D4A296}"/>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5B53D6CC-554A-4C04-85B6-506DCD0AC1F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grpSp>
      <p:grpSp>
        <p:nvGrpSpPr>
          <p:cNvPr id="94" name="INSTRUCTIE">
            <a:extLst>
              <a:ext uri="{FF2B5EF4-FFF2-40B4-BE49-F238E27FC236}">
                <a16:creationId xmlns:a16="http://schemas.microsoft.com/office/drawing/2014/main" id="{6C1C8E04-3760-4AA1-88D1-6748526FD888}"/>
              </a:ext>
            </a:extLst>
          </p:cNvPr>
          <p:cNvGrpSpPr/>
          <p:nvPr userDrawn="1"/>
        </p:nvGrpSpPr>
        <p:grpSpPr>
          <a:xfrm>
            <a:off x="8469641" y="7033211"/>
            <a:ext cx="3727954" cy="1728407"/>
            <a:chOff x="5846" y="7033211"/>
            <a:chExt cx="3727954" cy="1728407"/>
          </a:xfrm>
        </p:grpSpPr>
        <p:sp>
          <p:nvSpPr>
            <p:cNvPr id="95" name="Rechthoek 94">
              <a:extLst>
                <a:ext uri="{FF2B5EF4-FFF2-40B4-BE49-F238E27FC236}">
                  <a16:creationId xmlns:a16="http://schemas.microsoft.com/office/drawing/2014/main" id="{1F2DAC61-7685-4BF8-9627-3EE103212A23}"/>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96" name="Ovaal 95">
              <a:extLst>
                <a:ext uri="{FF2B5EF4-FFF2-40B4-BE49-F238E27FC236}">
                  <a16:creationId xmlns:a16="http://schemas.microsoft.com/office/drawing/2014/main" id="{6E6BD4BE-F42A-402E-B206-3CD053E6EB45}"/>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7" name="Rechthoek 96">
              <a:extLst>
                <a:ext uri="{FF2B5EF4-FFF2-40B4-BE49-F238E27FC236}">
                  <a16:creationId xmlns:a16="http://schemas.microsoft.com/office/drawing/2014/main" id="{92CA9016-BBB0-4D75-9285-C30FE33BEB18}"/>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8" name="Ovaal 97">
              <a:extLst>
                <a:ext uri="{FF2B5EF4-FFF2-40B4-BE49-F238E27FC236}">
                  <a16:creationId xmlns:a16="http://schemas.microsoft.com/office/drawing/2014/main" id="{BD4C3DC7-F4F2-4A6B-817E-F84D6BD40C7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9" name="Rechthoek 98">
              <a:extLst>
                <a:ext uri="{FF2B5EF4-FFF2-40B4-BE49-F238E27FC236}">
                  <a16:creationId xmlns:a16="http://schemas.microsoft.com/office/drawing/2014/main" id="{00DE19E0-6433-4C8C-859C-5DB2478B01A0}"/>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00" name="Groep 99">
              <a:extLst>
                <a:ext uri="{FF2B5EF4-FFF2-40B4-BE49-F238E27FC236}">
                  <a16:creationId xmlns:a16="http://schemas.microsoft.com/office/drawing/2014/main" id="{C3FA4AC7-CB8E-419B-ACA3-04C8EBD7213C}"/>
                </a:ext>
              </a:extLst>
            </p:cNvPr>
            <p:cNvGrpSpPr/>
            <p:nvPr userDrawn="1"/>
          </p:nvGrpSpPr>
          <p:grpSpPr>
            <a:xfrm>
              <a:off x="2939884" y="7739834"/>
              <a:ext cx="681133" cy="750023"/>
              <a:chOff x="-910573" y="4987990"/>
              <a:chExt cx="681133" cy="750023"/>
            </a:xfrm>
          </p:grpSpPr>
          <p:grpSp>
            <p:nvGrpSpPr>
              <p:cNvPr id="101" name="Groep 100">
                <a:extLst>
                  <a:ext uri="{FF2B5EF4-FFF2-40B4-BE49-F238E27FC236}">
                    <a16:creationId xmlns:a16="http://schemas.microsoft.com/office/drawing/2014/main" id="{78D5C66C-0B38-4AA3-8AE3-70E64C1C7FCD}"/>
                  </a:ext>
                </a:extLst>
              </p:cNvPr>
              <p:cNvGrpSpPr/>
              <p:nvPr userDrawn="1"/>
            </p:nvGrpSpPr>
            <p:grpSpPr>
              <a:xfrm>
                <a:off x="-713542" y="4987990"/>
                <a:ext cx="287071" cy="379107"/>
                <a:chOff x="-4050578" y="288410"/>
                <a:chExt cx="322125" cy="379107"/>
              </a:xfrm>
            </p:grpSpPr>
            <p:sp>
              <p:nvSpPr>
                <p:cNvPr id="103" name="Rechthoek met één afgeknipte en afgeronde hoek 47">
                  <a:extLst>
                    <a:ext uri="{FF2B5EF4-FFF2-40B4-BE49-F238E27FC236}">
                      <a16:creationId xmlns:a16="http://schemas.microsoft.com/office/drawing/2014/main" id="{B66A13D5-3485-4C9D-BEB2-0DACF286BE2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4" name="Rechthoekige driehoek 103">
                  <a:extLst>
                    <a:ext uri="{FF2B5EF4-FFF2-40B4-BE49-F238E27FC236}">
                      <a16:creationId xmlns:a16="http://schemas.microsoft.com/office/drawing/2014/main" id="{42244468-7363-414D-8161-1DC8E4EE73AE}"/>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5" name="Rechthoek 104">
                  <a:extLst>
                    <a:ext uri="{FF2B5EF4-FFF2-40B4-BE49-F238E27FC236}">
                      <a16:creationId xmlns:a16="http://schemas.microsoft.com/office/drawing/2014/main" id="{7B94AF60-171D-4FFC-A57F-1427FDB5CFD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06" name="Rechthoek 105">
                  <a:extLst>
                    <a:ext uri="{FF2B5EF4-FFF2-40B4-BE49-F238E27FC236}">
                      <a16:creationId xmlns:a16="http://schemas.microsoft.com/office/drawing/2014/main" id="{E8D76091-E1D7-492B-99C8-FE1A54BFA45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02" name="Rechthoek 101">
                <a:extLst>
                  <a:ext uri="{FF2B5EF4-FFF2-40B4-BE49-F238E27FC236}">
                    <a16:creationId xmlns:a16="http://schemas.microsoft.com/office/drawing/2014/main" id="{B3E8EAC5-D751-4230-A44E-DE668613827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81" name="Tijdelijke aanduiding voor verticale tekst 2">
            <a:extLst>
              <a:ext uri="{FF2B5EF4-FFF2-40B4-BE49-F238E27FC236}">
                <a16:creationId xmlns:a16="http://schemas.microsoft.com/office/drawing/2014/main" id="{CAF6FA28-C3A3-4B1E-9A95-10719E0CA843}"/>
              </a:ext>
            </a:extLst>
          </p:cNvPr>
          <p:cNvSpPr>
            <a:spLocks noGrp="1"/>
          </p:cNvSpPr>
          <p:nvPr>
            <p:ph type="body" orient="vert" idx="13" hasCustomPrompt="1"/>
          </p:nvPr>
        </p:nvSpPr>
        <p:spPr>
          <a:xfrm>
            <a:off x="514800" y="511200"/>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313960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46">
          <p15:clr>
            <a:srgbClr val="9FCC3B"/>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Hoofdstukslide #2">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A955C48F-37A2-4992-AF99-D9495BEBD40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D8322E68-65DE-4C3D-920A-6388A674D2C5}"/>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02AFC8D8-BC22-408E-88A4-BAC99A7CA89D}"/>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111450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93A2FC-5DC4-4D80-AAC3-D437DAB4EE8E}"/>
              </a:ext>
            </a:extLst>
          </p:cNvPr>
          <p:cNvGraphicFramePr>
            <a:graphicFrameLocks noChangeAspect="1"/>
          </p:cNvGraphicFramePr>
          <p:nvPr userDrawn="1">
            <p:custDataLst>
              <p:tags r:id="rId1"/>
            </p:custDataLst>
            <p:extLst>
              <p:ext uri="{D42A27DB-BD31-4B8C-83A1-F6EECF244321}">
                <p14:modId xmlns:p14="http://schemas.microsoft.com/office/powerpoint/2010/main" val="360756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13" progId="TCLayout.ActiveDocument.1">
                  <p:embed/>
                </p:oleObj>
              </mc:Choice>
              <mc:Fallback>
                <p:oleObj name="think-cell Slide" r:id="rId3" imgW="327" imgH="313" progId="TCLayout.ActiveDocument.1">
                  <p:embed/>
                  <p:pic>
                    <p:nvPicPr>
                      <p:cNvPr id="4" name="Object 3" hidden="1">
                        <a:extLst>
                          <a:ext uri="{FF2B5EF4-FFF2-40B4-BE49-F238E27FC236}">
                            <a16:creationId xmlns:a16="http://schemas.microsoft.com/office/drawing/2014/main" id="{C893A2FC-5DC4-4D80-AAC3-D437DAB4EE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515938" y="512763"/>
            <a:ext cx="11149004" cy="415498"/>
          </a:xfrm>
        </p:spPr>
        <p:txBody>
          <a:bodyPr vert="horz" lIns="0" tIns="0" rIns="0" bIns="0" anchor="ctr"/>
          <a:lstStyle>
            <a:lvl1pPr algn="l">
              <a:defRPr/>
            </a:lvl1pPr>
          </a:lstStyle>
          <a:p>
            <a:r>
              <a:rPr lang="nl-NL"/>
              <a:t>Plaats hier je titel</a:t>
            </a:r>
          </a:p>
        </p:txBody>
      </p:sp>
      <p:sp>
        <p:nvSpPr>
          <p:cNvPr id="11" name="Text Placeholder 10">
            <a:extLst>
              <a:ext uri="{FF2B5EF4-FFF2-40B4-BE49-F238E27FC236}">
                <a16:creationId xmlns:a16="http://schemas.microsoft.com/office/drawing/2014/main" id="{B4F06695-1263-472C-A992-0DB433015C60}"/>
              </a:ext>
            </a:extLst>
          </p:cNvPr>
          <p:cNvSpPr>
            <a:spLocks noGrp="1"/>
          </p:cNvSpPr>
          <p:nvPr>
            <p:ph type="body" sz="quarter" idx="10" hasCustomPrompt="1"/>
          </p:nvPr>
        </p:nvSpPr>
        <p:spPr>
          <a:xfrm>
            <a:off x="515938" y="6510313"/>
            <a:ext cx="9468000" cy="138499"/>
          </a:xfrm>
        </p:spPr>
        <p:txBody>
          <a:bodyPr wrap="square" lIns="0" tIns="0" rIns="0" bIns="0" anchor="b">
            <a:spAutoFit/>
          </a:bodyPr>
          <a:lstStyle>
            <a:lvl1pPr>
              <a:defRPr sz="900">
                <a:solidFill>
                  <a:schemeClr val="bg2"/>
                </a:solidFill>
              </a:defRPr>
            </a:lvl1pPr>
          </a:lstStyle>
          <a:p>
            <a:pPr lvl="0"/>
            <a:r>
              <a:rPr lang="en-US" err="1"/>
              <a:t>Voetnoten</a:t>
            </a:r>
            <a:endParaRPr lang="en-US"/>
          </a:p>
        </p:txBody>
      </p:sp>
      <p:sp>
        <p:nvSpPr>
          <p:cNvPr id="3" name="pto_graph_layout">
            <a:extLst>
              <a:ext uri="{FF2B5EF4-FFF2-40B4-BE49-F238E27FC236}">
                <a16:creationId xmlns:a16="http://schemas.microsoft.com/office/drawing/2014/main" id="{970A1CF3-1E11-43A9-B2DF-FD45B0454ECC}"/>
              </a:ext>
            </a:extLst>
          </p:cNvPr>
          <p:cNvSpPr>
            <a:spLocks noGrp="1"/>
          </p:cNvSpPr>
          <p:nvPr>
            <p:ph type="body" sz="quarter" idx="11" hasCustomPrompt="1"/>
          </p:nvPr>
        </p:nvSpPr>
        <p:spPr>
          <a:xfrm rot="5400000">
            <a:off x="-1616710" y="3695700"/>
            <a:ext cx="2971800" cy="63500"/>
          </a:xfrm>
          <a:prstGeom prst="rect">
            <a:avLst/>
          </a:prstGeom>
          <a:solidFill>
            <a:srgbClr val="00FF00"/>
          </a:solidFill>
        </p:spPr>
        <p:txBody>
          <a:bodyPr/>
          <a:lstStyle>
            <a:lvl1pPr>
              <a:defRPr sz="100"/>
            </a:lvl1pPr>
          </a:lstStyle>
          <a:p>
            <a:pPr lvl="0"/>
            <a:r>
              <a:rPr lang="en-US"/>
              <a:t>...</a:t>
            </a:r>
          </a:p>
        </p:txBody>
      </p:sp>
      <p:sp>
        <p:nvSpPr>
          <p:cNvPr id="5" name="pto_graph_layout">
            <a:extLst>
              <a:ext uri="{FF2B5EF4-FFF2-40B4-BE49-F238E27FC236}">
                <a16:creationId xmlns:a16="http://schemas.microsoft.com/office/drawing/2014/main" id="{70EC27ED-2B43-49E8-8FA7-3F229791CEC7}"/>
              </a:ext>
            </a:extLst>
          </p:cNvPr>
          <p:cNvSpPr>
            <a:spLocks noGrp="1"/>
          </p:cNvSpPr>
          <p:nvPr>
            <p:ph type="body" sz="quarter" idx="12" hasCustomPrompt="1"/>
          </p:nvPr>
        </p:nvSpPr>
        <p:spPr>
          <a:xfrm>
            <a:off x="837400" y="6906413"/>
            <a:ext cx="3544888" cy="63500"/>
          </a:xfrm>
          <a:prstGeom prst="rect">
            <a:avLst/>
          </a:prstGeom>
          <a:solidFill>
            <a:srgbClr val="00FF00"/>
          </a:solidFill>
        </p:spPr>
        <p:txBody>
          <a:bodyPr/>
          <a:lstStyle>
            <a:lvl1pPr>
              <a:defRPr sz="100"/>
            </a:lvl1pPr>
          </a:lstStyle>
          <a:p>
            <a:pPr lvl="0"/>
            <a:r>
              <a:rPr lang="en-US"/>
              <a:t>...</a:t>
            </a:r>
          </a:p>
        </p:txBody>
      </p:sp>
      <p:sp>
        <p:nvSpPr>
          <p:cNvPr id="6" name="pto_graph_layout">
            <a:extLst>
              <a:ext uri="{FF2B5EF4-FFF2-40B4-BE49-F238E27FC236}">
                <a16:creationId xmlns:a16="http://schemas.microsoft.com/office/drawing/2014/main" id="{B2B8E5D3-C140-42A8-BD53-F0EDFCC64D04}"/>
              </a:ext>
            </a:extLst>
          </p:cNvPr>
          <p:cNvSpPr>
            <a:spLocks noGrp="1"/>
          </p:cNvSpPr>
          <p:nvPr>
            <p:ph type="body" sz="quarter" idx="13" hasCustomPrompt="1"/>
          </p:nvPr>
        </p:nvSpPr>
        <p:spPr>
          <a:xfrm>
            <a:off x="5523700" y="6906413"/>
            <a:ext cx="3544888" cy="63500"/>
          </a:xfrm>
          <a:prstGeom prst="rect">
            <a:avLst/>
          </a:prstGeom>
          <a:solidFill>
            <a:srgbClr val="00FF00"/>
          </a:solidFill>
        </p:spPr>
        <p:txBody>
          <a:bodyPr/>
          <a:lstStyle>
            <a:lvl1pPr>
              <a:defRPr sz="100"/>
            </a:lvl1pPr>
          </a:lstStyle>
          <a:p>
            <a:pPr lvl="0"/>
            <a:r>
              <a:rPr lang="en-US"/>
              <a:t>...</a:t>
            </a:r>
          </a:p>
        </p:txBody>
      </p:sp>
    </p:spTree>
    <p:extLst>
      <p:ext uri="{BB962C8B-B14F-4D97-AF65-F5344CB8AC3E}">
        <p14:creationId xmlns:p14="http://schemas.microsoft.com/office/powerpoint/2010/main" val="37093440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Hoofdstukslide #3">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F6227FD2-B578-478B-A310-03FEBDD94062}"/>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21" name="Titel 1">
            <a:extLst>
              <a:ext uri="{FF2B5EF4-FFF2-40B4-BE49-F238E27FC236}">
                <a16:creationId xmlns:a16="http://schemas.microsoft.com/office/drawing/2014/main" id="{CEEDEE94-BDE2-404D-B28C-200426989E71}"/>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a:t>Plaats hier je titel,</a:t>
            </a:r>
            <a:br>
              <a:rPr lang="nl-NL"/>
            </a:br>
            <a:r>
              <a:rPr lang="nl-NL"/>
              <a:t>de tekst is altijd links uitgelijnd.</a:t>
            </a:r>
            <a:br>
              <a:rPr lang="nl-NL"/>
            </a:br>
            <a:r>
              <a:rPr lang="nl-NL"/>
              <a:t>max. 3 regels</a:t>
            </a:r>
          </a:p>
        </p:txBody>
      </p:sp>
      <p:sp>
        <p:nvSpPr>
          <p:cNvPr id="22" name="Tijdelijke aanduiding voor verticale tekst 2">
            <a:extLst>
              <a:ext uri="{FF2B5EF4-FFF2-40B4-BE49-F238E27FC236}">
                <a16:creationId xmlns:a16="http://schemas.microsoft.com/office/drawing/2014/main" id="{DE713034-7D04-4C46-B4AF-8D21A6C50523}"/>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a:t>Plaats hier een korte omschrijving van het hoofdstuk.</a:t>
            </a:r>
          </a:p>
        </p:txBody>
      </p:sp>
    </p:spTree>
    <p:extLst>
      <p:ext uri="{BB962C8B-B14F-4D97-AF65-F5344CB8AC3E}">
        <p14:creationId xmlns:p14="http://schemas.microsoft.com/office/powerpoint/2010/main" val="182731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29B977-0CED-48AC-8AFC-411B6CA6A6A0}"/>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9A61D48E-5002-4C5D-8AD3-486C16D6F0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1FDBE32E-7294-4C0E-821A-928331548E4C}"/>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D325A23B-8930-44B2-8D4C-3D2389A000B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A23586B-EACA-4FCA-A2F0-F5A634CADD21}"/>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1300795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61E333-94A5-463D-A027-CC49E516FC4E}"/>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B09D0FC-456C-421F-A5F2-FA2875C68230}"/>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EC79065-86ED-4AF7-B2E0-5DCF0F8ECF48}"/>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2FDFAE67-A4EE-4A98-A575-417F82815A80}"/>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AA11DEA-C275-4B35-B0E2-314BA252419E}"/>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8324480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E33033-781D-460D-A063-71CB90AC3EE4}"/>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33A94BBB-6B8E-4B23-BA51-AA855DA5762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D2B7708A-6D59-4273-BC76-033DA7D8E620}"/>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95750CFF-087D-48B9-B3DF-77A9EA83736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8E08919-42ED-4A00-9E89-AAE461501969}"/>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30672660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A6C250-8444-487A-B768-5121B7A2C4F2}"/>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4C5A6A8-31A5-4D38-BCC0-E2C5CF2BF198}"/>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453BC9EC-7F43-4A44-9A35-287C669FD22D}"/>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0B16B78E-8770-443D-A033-CF14035FA254}"/>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6" name="Tijdelijke aanduiding voor voettekst 5">
            <a:extLst>
              <a:ext uri="{FF2B5EF4-FFF2-40B4-BE49-F238E27FC236}">
                <a16:creationId xmlns:a16="http://schemas.microsoft.com/office/drawing/2014/main" id="{0A1575F1-93C2-4DED-A3CF-88C22FD1B61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EFB47AFA-9569-4EB6-86D6-8BBAF69A57A1}"/>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900496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A30380-F245-469E-ACA2-9C574E06917C}"/>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CB50E8BC-8181-4CC1-88F2-C76241BD9C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B43D9992-FBED-4314-A918-41D8EBCB8854}"/>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22585FA9-66CF-4F7B-8028-7381030332E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69E012A2-4315-4223-87DE-6C3DE4EF2AC0}"/>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83F5FE4A-5278-47EA-B93D-13695D8723A1}"/>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8" name="Tijdelijke aanduiding voor voettekst 7">
            <a:extLst>
              <a:ext uri="{FF2B5EF4-FFF2-40B4-BE49-F238E27FC236}">
                <a16:creationId xmlns:a16="http://schemas.microsoft.com/office/drawing/2014/main" id="{C84BE210-FA5F-4ABB-A511-E45AA573C9D3}"/>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4AD29771-F3A0-4D41-90A8-F415968F8052}"/>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135033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1C802C-85C6-45F0-9A0A-695FF9D065E4}"/>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F84E0B6C-B04A-4401-BA5A-2A928D2E61AC}"/>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4" name="Tijdelijke aanduiding voor voettekst 3">
            <a:extLst>
              <a:ext uri="{FF2B5EF4-FFF2-40B4-BE49-F238E27FC236}">
                <a16:creationId xmlns:a16="http://schemas.microsoft.com/office/drawing/2014/main" id="{25F947D9-4A5E-4A7D-A678-771A0C4AF1A9}"/>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73B22945-7524-45FE-8822-5FA8FB00788D}"/>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2481831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ofdstuk geel">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50E1A52C-8827-48C1-828E-B3524C751A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729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1214511" y="3429000"/>
            <a:ext cx="9144000" cy="1909763"/>
          </a:xfrm>
          <a:prstGeom prst="rect">
            <a:avLst/>
          </a:prstGeom>
        </p:spPr>
        <p:txBody>
          <a:bodyPr anchor="t">
            <a:normAutofit/>
          </a:bodyPr>
          <a:lstStyle>
            <a:lvl1pPr algn="l">
              <a:defRPr sz="3600" b="1">
                <a:solidFill>
                  <a:schemeClr val="bg1"/>
                </a:solidFill>
              </a:defRPr>
            </a:lvl1pPr>
          </a:lstStyle>
          <a:p>
            <a:r>
              <a:rPr lang="nl-NL"/>
              <a:t>Klik om stijl te bewerken</a:t>
            </a:r>
            <a:endParaRPr lang="nl-NL" dirty="0"/>
          </a:p>
        </p:txBody>
      </p:sp>
      <p:sp>
        <p:nvSpPr>
          <p:cNvPr id="4" name="Tijdelijke aanduiding voor datum 3">
            <a:extLst>
              <a:ext uri="{FF2B5EF4-FFF2-40B4-BE49-F238E27FC236}">
                <a16:creationId xmlns:a16="http://schemas.microsoft.com/office/drawing/2014/main" id="{5A6F7908-0DF1-4B7C-97D3-4F7E3933DF8A}"/>
              </a:ext>
            </a:extLst>
          </p:cNvPr>
          <p:cNvSpPr>
            <a:spLocks noGrp="1"/>
          </p:cNvSpPr>
          <p:nvPr>
            <p:ph type="dt" sz="half" idx="10"/>
          </p:nvPr>
        </p:nvSpPr>
        <p:spPr/>
        <p:txBody>
          <a:bodyPr/>
          <a:lstStyle>
            <a:lvl1pPr>
              <a:defRPr/>
            </a:lvl1pPr>
          </a:lstStyle>
          <a:p>
            <a:pPr>
              <a:defRPr/>
            </a:pPr>
            <a:fld id="{343E352D-1F56-4956-B365-4ECC96D2C3CA}"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03344915-A647-4642-85D5-010012D2DD7E}"/>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B286D8D0-2F96-4131-8552-CB3DD048EBBD}"/>
              </a:ext>
            </a:extLst>
          </p:cNvPr>
          <p:cNvSpPr>
            <a:spLocks noGrp="1"/>
          </p:cNvSpPr>
          <p:nvPr>
            <p:ph type="sldNum" sz="quarter" idx="12"/>
          </p:nvPr>
        </p:nvSpPr>
        <p:spPr/>
        <p:txBody>
          <a:bodyPr/>
          <a:lstStyle>
            <a:lvl1pPr>
              <a:defRPr/>
            </a:lvl1pPr>
          </a:lstStyle>
          <a:p>
            <a:pPr>
              <a:defRPr/>
            </a:pPr>
            <a:fld id="{D9BBCB40-55F2-4610-ADAE-7093C54BD30C}" type="slidenum">
              <a:rPr lang="nl-NL"/>
              <a:pPr>
                <a:defRPr/>
              </a:pPr>
              <a:t>‹nr.›</a:t>
            </a:fld>
            <a:endParaRPr lang="nl-NL"/>
          </a:p>
        </p:txBody>
      </p:sp>
    </p:spTree>
    <p:extLst>
      <p:ext uri="{BB962C8B-B14F-4D97-AF65-F5344CB8AC3E}">
        <p14:creationId xmlns:p14="http://schemas.microsoft.com/office/powerpoint/2010/main" val="2481026080"/>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70E4597-A614-4D76-95F5-0D2FEFCD76BD}"/>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3" name="Tijdelijke aanduiding voor voettekst 2">
            <a:extLst>
              <a:ext uri="{FF2B5EF4-FFF2-40B4-BE49-F238E27FC236}">
                <a16:creationId xmlns:a16="http://schemas.microsoft.com/office/drawing/2014/main" id="{960EE1D9-AE4F-4B34-94DD-D4496A76E04F}"/>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79271434-A525-4A95-A98B-610DB699C438}"/>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18077968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D0BDBE-9516-4A6F-B734-5D31F14D1E3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A2317AA8-86F9-4D12-8460-CDF2028F45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4BE86A12-7555-4D6D-BB5D-5545B0412BE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29E5ACD-38E1-434A-849D-BA554840AF38}"/>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6" name="Tijdelijke aanduiding voor voettekst 5">
            <a:extLst>
              <a:ext uri="{FF2B5EF4-FFF2-40B4-BE49-F238E27FC236}">
                <a16:creationId xmlns:a16="http://schemas.microsoft.com/office/drawing/2014/main" id="{79D23000-63D7-4B68-8052-E6808D2BCC8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ACCB53B2-B15C-4C07-B941-A9243752F1AD}"/>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24299639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174DC4-B2D7-4FDC-A7F3-CA13C77A16DA}"/>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69D5577F-2BDB-459A-9EB2-CC3FD762FD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F04F6F16-8F5D-4E1E-9AC3-3F1317F6FF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E4C1B1BE-D4D4-45F9-8340-AC966420295C}"/>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6" name="Tijdelijke aanduiding voor voettekst 5">
            <a:extLst>
              <a:ext uri="{FF2B5EF4-FFF2-40B4-BE49-F238E27FC236}">
                <a16:creationId xmlns:a16="http://schemas.microsoft.com/office/drawing/2014/main" id="{95A9B540-43C9-485D-BDB8-BCDCCA6B656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118AFC73-0DA1-434F-9A96-08DB79AEB92C}"/>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16407274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9C9015-A7C0-4252-8AF7-9076D85A3003}"/>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7CEC920A-4C8A-4FEB-AFA6-953C6AEDCDA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44A044E-3AAA-4DB8-B7E5-B686F128BE60}"/>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B89F9B71-CBDE-4157-A8EB-89ACC619B21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9A3E1C1-D104-4C81-9460-15B8809FBF3D}"/>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34205537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3F3B6576-B49B-477E-966B-4EEE2B696FFA}"/>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B33A1DA0-8F7A-45B3-8E7F-746E8A09DDA6}"/>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84266AB-DD41-4947-BDEB-66F341ED5E6A}"/>
              </a:ext>
            </a:extLst>
          </p:cNvPr>
          <p:cNvSpPr>
            <a:spLocks noGrp="1"/>
          </p:cNvSpPr>
          <p:nvPr>
            <p:ph type="dt" sz="half" idx="10"/>
          </p:nvPr>
        </p:nvSpPr>
        <p:spPr/>
        <p:txBody>
          <a:body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9FC5C1EF-2F54-4D9B-96D8-52D9184A751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4E02B71-AEB0-40DF-894B-063F5A998E36}"/>
              </a:ext>
            </a:extLst>
          </p:cNvPr>
          <p:cNvSpPr>
            <a:spLocks noGrp="1"/>
          </p:cNvSpPr>
          <p:nvPr>
            <p:ph type="sldNum" sz="quarter" idx="12"/>
          </p:nvPr>
        </p:nvSpPr>
        <p:spPr/>
        <p:txBody>
          <a:bodyPr/>
          <a:lstStyle/>
          <a:p>
            <a:fld id="{417816D2-3E9D-454F-B6EA-51FA2EB713CD}" type="slidenum">
              <a:rPr lang="nl-NL" smtClean="0"/>
              <a:t>‹nr.›</a:t>
            </a:fld>
            <a:endParaRPr lang="nl-NL"/>
          </a:p>
        </p:txBody>
      </p:sp>
    </p:spTree>
    <p:extLst>
      <p:ext uri="{BB962C8B-B14F-4D97-AF65-F5344CB8AC3E}">
        <p14:creationId xmlns:p14="http://schemas.microsoft.com/office/powerpoint/2010/main" val="29268737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01">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64000" y="528001"/>
            <a:ext cx="10464000" cy="820737"/>
          </a:xfrm>
          <a:prstGeom prst="rect">
            <a:avLst/>
          </a:prstGeom>
        </p:spPr>
        <p:txBody>
          <a:bodyPr wrap="square">
            <a:spAutoFit/>
          </a:bodyPr>
          <a:lstStyle>
            <a:lvl1pPr algn="l">
              <a:defRPr sz="4533" b="1" i="0">
                <a:solidFill>
                  <a:schemeClr val="bg1"/>
                </a:solidFill>
                <a:latin typeface="Verdana"/>
                <a:cs typeface="Verdana"/>
              </a:defRPr>
            </a:lvl1pPr>
          </a:lstStyle>
          <a:p>
            <a:r>
              <a:rPr lang="nl-NL"/>
              <a:t>Klik om de stijl te bewerken</a:t>
            </a:r>
            <a:endParaRPr lang="x-none" dirty="0"/>
          </a:p>
        </p:txBody>
      </p:sp>
      <p:sp>
        <p:nvSpPr>
          <p:cNvPr id="3" name="Subtitle 2"/>
          <p:cNvSpPr>
            <a:spLocks noGrp="1"/>
          </p:cNvSpPr>
          <p:nvPr>
            <p:ph type="subTitle" idx="1"/>
          </p:nvPr>
        </p:nvSpPr>
        <p:spPr>
          <a:xfrm>
            <a:off x="912000" y="1920000"/>
            <a:ext cx="10368000" cy="420564"/>
          </a:xfrm>
          <a:prstGeom prst="rect">
            <a:avLst/>
          </a:prstGeom>
        </p:spPr>
        <p:txBody>
          <a:bodyPr wrap="square">
            <a:spAutoFit/>
          </a:bodyPr>
          <a:lstStyle>
            <a:lvl1pPr marL="0" indent="0" algn="l">
              <a:buNone/>
              <a:defRPr sz="2133">
                <a:solidFill>
                  <a:schemeClr val="bg1"/>
                </a:solidFill>
                <a:latin typeface="Verdana"/>
                <a:cs typeface="Verdan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 om de ondertitelstijl van het model te bewerken</a:t>
            </a:r>
            <a:endParaRPr lang="x-none" dirty="0"/>
          </a:p>
        </p:txBody>
      </p:sp>
    </p:spTree>
    <p:extLst>
      <p:ext uri="{BB962C8B-B14F-4D97-AF65-F5344CB8AC3E}">
        <p14:creationId xmlns:p14="http://schemas.microsoft.com/office/powerpoint/2010/main" val="40928228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ogo slide">
    <p:bg>
      <p:bgPr>
        <a:solidFill>
          <a:schemeClr val="bg1"/>
        </a:solidFill>
        <a:effectLst/>
      </p:bgPr>
    </p:bg>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C55560A7-617C-42BB-A2DA-99C56283E2B4}"/>
              </a:ext>
            </a:extLst>
          </p:cNvPr>
          <p:cNvGrpSpPr>
            <a:grpSpLocks noChangeAspect="1"/>
          </p:cNvGrpSpPr>
          <p:nvPr userDrawn="1"/>
        </p:nvGrpSpPr>
        <p:grpSpPr bwMode="auto">
          <a:xfrm>
            <a:off x="3741738" y="2684463"/>
            <a:ext cx="4708525" cy="1489075"/>
            <a:chOff x="2355" y="1691"/>
            <a:chExt cx="2966" cy="938"/>
          </a:xfrm>
          <a:solidFill>
            <a:schemeClr val="accent1"/>
          </a:solidFill>
        </p:grpSpPr>
        <p:sp>
          <p:nvSpPr>
            <p:cNvPr id="9" name="Freeform 5">
              <a:extLst>
                <a:ext uri="{FF2B5EF4-FFF2-40B4-BE49-F238E27FC236}">
                  <a16:creationId xmlns:a16="http://schemas.microsoft.com/office/drawing/2014/main" id="{730E024F-7881-4E68-93FE-2EDBD495757B}"/>
                </a:ext>
              </a:extLst>
            </p:cNvPr>
            <p:cNvSpPr>
              <a:spLocks/>
            </p:cNvSpPr>
            <p:nvPr userDrawn="1"/>
          </p:nvSpPr>
          <p:spPr bwMode="auto">
            <a:xfrm>
              <a:off x="3467" y="1704"/>
              <a:ext cx="258" cy="392"/>
            </a:xfrm>
            <a:custGeom>
              <a:avLst/>
              <a:gdLst>
                <a:gd name="T0" fmla="*/ 0 w 258"/>
                <a:gd name="T1" fmla="*/ 55 h 392"/>
                <a:gd name="T2" fmla="*/ 0 w 258"/>
                <a:gd name="T3" fmla="*/ 0 h 392"/>
                <a:gd name="T4" fmla="*/ 258 w 258"/>
                <a:gd name="T5" fmla="*/ 0 h 392"/>
                <a:gd name="T6" fmla="*/ 258 w 258"/>
                <a:gd name="T7" fmla="*/ 61 h 392"/>
                <a:gd name="T8" fmla="*/ 76 w 258"/>
                <a:gd name="T9" fmla="*/ 324 h 392"/>
                <a:gd name="T10" fmla="*/ 76 w 258"/>
                <a:gd name="T11" fmla="*/ 337 h 392"/>
                <a:gd name="T12" fmla="*/ 258 w 258"/>
                <a:gd name="T13" fmla="*/ 337 h 392"/>
                <a:gd name="T14" fmla="*/ 258 w 258"/>
                <a:gd name="T15" fmla="*/ 392 h 392"/>
                <a:gd name="T16" fmla="*/ 0 w 258"/>
                <a:gd name="T17" fmla="*/ 392 h 392"/>
                <a:gd name="T18" fmla="*/ 0 w 258"/>
                <a:gd name="T19" fmla="*/ 331 h 392"/>
                <a:gd name="T20" fmla="*/ 180 w 258"/>
                <a:gd name="T21" fmla="*/ 67 h 392"/>
                <a:gd name="T22" fmla="*/ 180 w 258"/>
                <a:gd name="T23" fmla="*/ 55 h 392"/>
                <a:gd name="T24" fmla="*/ 0 w 258"/>
                <a:gd name="T25" fmla="*/ 5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 h="392">
                  <a:moveTo>
                    <a:pt x="0" y="55"/>
                  </a:moveTo>
                  <a:lnTo>
                    <a:pt x="0" y="0"/>
                  </a:lnTo>
                  <a:lnTo>
                    <a:pt x="258" y="0"/>
                  </a:lnTo>
                  <a:lnTo>
                    <a:pt x="258" y="61"/>
                  </a:lnTo>
                  <a:lnTo>
                    <a:pt x="76" y="324"/>
                  </a:lnTo>
                  <a:lnTo>
                    <a:pt x="76" y="337"/>
                  </a:lnTo>
                  <a:lnTo>
                    <a:pt x="258" y="337"/>
                  </a:lnTo>
                  <a:lnTo>
                    <a:pt x="258" y="392"/>
                  </a:lnTo>
                  <a:lnTo>
                    <a:pt x="0" y="392"/>
                  </a:lnTo>
                  <a:lnTo>
                    <a:pt x="0" y="331"/>
                  </a:lnTo>
                  <a:lnTo>
                    <a:pt x="180" y="67"/>
                  </a:lnTo>
                  <a:lnTo>
                    <a:pt x="180" y="55"/>
                  </a:lnTo>
                  <a:lnTo>
                    <a:pt x="0" y="5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CAE8FDAF-F9F0-4C67-AF37-20B3A9523639}"/>
                </a:ext>
              </a:extLst>
            </p:cNvPr>
            <p:cNvSpPr>
              <a:spLocks noEditPoints="1"/>
            </p:cNvSpPr>
            <p:nvPr userDrawn="1"/>
          </p:nvSpPr>
          <p:spPr bwMode="auto">
            <a:xfrm>
              <a:off x="3779" y="1695"/>
              <a:ext cx="63" cy="401"/>
            </a:xfrm>
            <a:custGeom>
              <a:avLst/>
              <a:gdLst>
                <a:gd name="T0" fmla="*/ 0 w 63"/>
                <a:gd name="T1" fmla="*/ 0 h 401"/>
                <a:gd name="T2" fmla="*/ 63 w 63"/>
                <a:gd name="T3" fmla="*/ 0 h 401"/>
                <a:gd name="T4" fmla="*/ 63 w 63"/>
                <a:gd name="T5" fmla="*/ 66 h 401"/>
                <a:gd name="T6" fmla="*/ 0 w 63"/>
                <a:gd name="T7" fmla="*/ 66 h 401"/>
                <a:gd name="T8" fmla="*/ 0 w 63"/>
                <a:gd name="T9" fmla="*/ 0 h 401"/>
                <a:gd name="T10" fmla="*/ 0 w 63"/>
                <a:gd name="T11" fmla="*/ 114 h 401"/>
                <a:gd name="T12" fmla="*/ 63 w 63"/>
                <a:gd name="T13" fmla="*/ 114 h 401"/>
                <a:gd name="T14" fmla="*/ 63 w 63"/>
                <a:gd name="T15" fmla="*/ 401 h 401"/>
                <a:gd name="T16" fmla="*/ 0 w 63"/>
                <a:gd name="T17" fmla="*/ 401 h 401"/>
                <a:gd name="T18" fmla="*/ 0 w 63"/>
                <a:gd name="T19"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6"/>
                  </a:lnTo>
                  <a:lnTo>
                    <a:pt x="0" y="66"/>
                  </a:lnTo>
                  <a:lnTo>
                    <a:pt x="0" y="0"/>
                  </a:lnTo>
                  <a:close/>
                  <a:moveTo>
                    <a:pt x="0" y="114"/>
                  </a:moveTo>
                  <a:lnTo>
                    <a:pt x="63" y="114"/>
                  </a:lnTo>
                  <a:lnTo>
                    <a:pt x="63" y="401"/>
                  </a:lnTo>
                  <a:lnTo>
                    <a:pt x="0" y="401"/>
                  </a:lnTo>
                  <a:lnTo>
                    <a:pt x="0" y="1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4B2C3E07-93FC-4083-BC1C-572440AD51A4}"/>
                </a:ext>
              </a:extLst>
            </p:cNvPr>
            <p:cNvSpPr>
              <a:spLocks noChangeArrowheads="1"/>
            </p:cNvSpPr>
            <p:nvPr userDrawn="1"/>
          </p:nvSpPr>
          <p:spPr bwMode="auto">
            <a:xfrm>
              <a:off x="3913" y="1691"/>
              <a:ext cx="63" cy="40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a:extLst>
                <a:ext uri="{FF2B5EF4-FFF2-40B4-BE49-F238E27FC236}">
                  <a16:creationId xmlns:a16="http://schemas.microsoft.com/office/drawing/2014/main" id="{706BC848-822C-4520-8110-EF2E152A8599}"/>
                </a:ext>
              </a:extLst>
            </p:cNvPr>
            <p:cNvSpPr>
              <a:spLocks/>
            </p:cNvSpPr>
            <p:nvPr userDrawn="1"/>
          </p:nvSpPr>
          <p:spPr bwMode="auto">
            <a:xfrm>
              <a:off x="4022" y="1809"/>
              <a:ext cx="258" cy="287"/>
            </a:xfrm>
            <a:custGeom>
              <a:avLst/>
              <a:gdLst>
                <a:gd name="T0" fmla="*/ 0 w 258"/>
                <a:gd name="T1" fmla="*/ 0 h 287"/>
                <a:gd name="T2" fmla="*/ 65 w 258"/>
                <a:gd name="T3" fmla="*/ 0 h 287"/>
                <a:gd name="T4" fmla="*/ 120 w 258"/>
                <a:gd name="T5" fmla="*/ 234 h 287"/>
                <a:gd name="T6" fmla="*/ 139 w 258"/>
                <a:gd name="T7" fmla="*/ 234 h 287"/>
                <a:gd name="T8" fmla="*/ 195 w 258"/>
                <a:gd name="T9" fmla="*/ 0 h 287"/>
                <a:gd name="T10" fmla="*/ 258 w 258"/>
                <a:gd name="T11" fmla="*/ 0 h 287"/>
                <a:gd name="T12" fmla="*/ 185 w 258"/>
                <a:gd name="T13" fmla="*/ 287 h 287"/>
                <a:gd name="T14" fmla="*/ 74 w 258"/>
                <a:gd name="T15" fmla="*/ 287 h 287"/>
                <a:gd name="T16" fmla="*/ 0 w 258"/>
                <a:gd name="T1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87">
                  <a:moveTo>
                    <a:pt x="0" y="0"/>
                  </a:moveTo>
                  <a:lnTo>
                    <a:pt x="65" y="0"/>
                  </a:lnTo>
                  <a:lnTo>
                    <a:pt x="120" y="234"/>
                  </a:lnTo>
                  <a:lnTo>
                    <a:pt x="139" y="234"/>
                  </a:lnTo>
                  <a:lnTo>
                    <a:pt x="195" y="0"/>
                  </a:lnTo>
                  <a:lnTo>
                    <a:pt x="258" y="0"/>
                  </a:lnTo>
                  <a:lnTo>
                    <a:pt x="185" y="287"/>
                  </a:lnTo>
                  <a:lnTo>
                    <a:pt x="74" y="28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a:extLst>
                <a:ext uri="{FF2B5EF4-FFF2-40B4-BE49-F238E27FC236}">
                  <a16:creationId xmlns:a16="http://schemas.microsoft.com/office/drawing/2014/main" id="{B21F6CD9-AF7A-46B8-80D5-E25DA9669C61}"/>
                </a:ext>
              </a:extLst>
            </p:cNvPr>
            <p:cNvSpPr>
              <a:spLocks noEditPoints="1"/>
            </p:cNvSpPr>
            <p:nvPr userDrawn="1"/>
          </p:nvSpPr>
          <p:spPr bwMode="auto">
            <a:xfrm>
              <a:off x="4305" y="1803"/>
              <a:ext cx="243" cy="299"/>
            </a:xfrm>
            <a:custGeom>
              <a:avLst/>
              <a:gdLst>
                <a:gd name="T0" fmla="*/ 103 w 116"/>
                <a:gd name="T1" fmla="*/ 115 h 142"/>
                <a:gd name="T2" fmla="*/ 110 w 116"/>
                <a:gd name="T3" fmla="*/ 114 h 142"/>
                <a:gd name="T4" fmla="*/ 111 w 116"/>
                <a:gd name="T5" fmla="*/ 136 h 142"/>
                <a:gd name="T6" fmla="*/ 56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3 w 116"/>
                <a:gd name="T23" fmla="*/ 116 h 142"/>
                <a:gd name="T24" fmla="*/ 103 w 116"/>
                <a:gd name="T25" fmla="*/ 115 h 142"/>
                <a:gd name="T26" fmla="*/ 87 w 116"/>
                <a:gd name="T27" fmla="*/ 61 h 142"/>
                <a:gd name="T28" fmla="*/ 80 w 116"/>
                <a:gd name="T29" fmla="*/ 33 h 142"/>
                <a:gd name="T30" fmla="*/ 59 w 116"/>
                <a:gd name="T31" fmla="*/ 25 h 142"/>
                <a:gd name="T32" fmla="*/ 37 w 116"/>
                <a:gd name="T33" fmla="*/ 33 h 142"/>
                <a:gd name="T34" fmla="*/ 29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0" y="114"/>
                    <a:pt x="110" y="114"/>
                    <a:pt x="110" y="114"/>
                  </a:cubicBezTo>
                  <a:cubicBezTo>
                    <a:pt x="111" y="136"/>
                    <a:pt x="111" y="136"/>
                    <a:pt x="111" y="136"/>
                  </a:cubicBezTo>
                  <a:cubicBezTo>
                    <a:pt x="90" y="140"/>
                    <a:pt x="72" y="142"/>
                    <a:pt x="56" y="142"/>
                  </a:cubicBezTo>
                  <a:cubicBezTo>
                    <a:pt x="36" y="142"/>
                    <a:pt x="22" y="136"/>
                    <a:pt x="13" y="125"/>
                  </a:cubicBezTo>
                  <a:cubicBezTo>
                    <a:pt x="4" y="114"/>
                    <a:pt x="0" y="97"/>
                    <a:pt x="0" y="72"/>
                  </a:cubicBezTo>
                  <a:cubicBezTo>
                    <a:pt x="0" y="24"/>
                    <a:pt x="19" y="0"/>
                    <a:pt x="59" y="0"/>
                  </a:cubicBezTo>
                  <a:cubicBezTo>
                    <a:pt x="97" y="0"/>
                    <a:pt x="116" y="21"/>
                    <a:pt x="116" y="62"/>
                  </a:cubicBezTo>
                  <a:cubicBezTo>
                    <a:pt x="114" y="84"/>
                    <a:pt x="114" y="84"/>
                    <a:pt x="114" y="84"/>
                  </a:cubicBezTo>
                  <a:cubicBezTo>
                    <a:pt x="30" y="84"/>
                    <a:pt x="30" y="84"/>
                    <a:pt x="30" y="84"/>
                  </a:cubicBezTo>
                  <a:cubicBezTo>
                    <a:pt x="30" y="95"/>
                    <a:pt x="32" y="103"/>
                    <a:pt x="37" y="108"/>
                  </a:cubicBezTo>
                  <a:cubicBezTo>
                    <a:pt x="42" y="114"/>
                    <a:pt x="50" y="116"/>
                    <a:pt x="63" y="116"/>
                  </a:cubicBezTo>
                  <a:cubicBezTo>
                    <a:pt x="76" y="116"/>
                    <a:pt x="89" y="116"/>
                    <a:pt x="103" y="115"/>
                  </a:cubicBezTo>
                  <a:moveTo>
                    <a:pt x="87" y="61"/>
                  </a:moveTo>
                  <a:cubicBezTo>
                    <a:pt x="87" y="47"/>
                    <a:pt x="84" y="38"/>
                    <a:pt x="80" y="33"/>
                  </a:cubicBezTo>
                  <a:cubicBezTo>
                    <a:pt x="76" y="27"/>
                    <a:pt x="69" y="25"/>
                    <a:pt x="59" y="25"/>
                  </a:cubicBezTo>
                  <a:cubicBezTo>
                    <a:pt x="48" y="25"/>
                    <a:pt x="41" y="27"/>
                    <a:pt x="37" y="33"/>
                  </a:cubicBezTo>
                  <a:cubicBezTo>
                    <a:pt x="32" y="39"/>
                    <a:pt x="29" y="48"/>
                    <a:pt x="29"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a:extLst>
                <a:ext uri="{FF2B5EF4-FFF2-40B4-BE49-F238E27FC236}">
                  <a16:creationId xmlns:a16="http://schemas.microsoft.com/office/drawing/2014/main" id="{23BF059E-0C06-44BF-8D8D-8391FB9BAE79}"/>
                </a:ext>
              </a:extLst>
            </p:cNvPr>
            <p:cNvSpPr>
              <a:spLocks/>
            </p:cNvSpPr>
            <p:nvPr userDrawn="1"/>
          </p:nvSpPr>
          <p:spPr bwMode="auto">
            <a:xfrm>
              <a:off x="4600" y="1803"/>
              <a:ext cx="160" cy="293"/>
            </a:xfrm>
            <a:custGeom>
              <a:avLst/>
              <a:gdLst>
                <a:gd name="T0" fmla="*/ 0 w 76"/>
                <a:gd name="T1" fmla="*/ 139 h 139"/>
                <a:gd name="T2" fmla="*/ 0 w 76"/>
                <a:gd name="T3" fmla="*/ 3 h 139"/>
                <a:gd name="T4" fmla="*/ 30 w 76"/>
                <a:gd name="T5" fmla="*/ 3 h 139"/>
                <a:gd name="T6" fmla="*/ 30 w 76"/>
                <a:gd name="T7" fmla="*/ 20 h 139"/>
                <a:gd name="T8" fmla="*/ 76 w 76"/>
                <a:gd name="T9" fmla="*/ 0 h 139"/>
                <a:gd name="T10" fmla="*/ 76 w 76"/>
                <a:gd name="T11" fmla="*/ 30 h 139"/>
                <a:gd name="T12" fmla="*/ 36 w 76"/>
                <a:gd name="T13" fmla="*/ 42 h 139"/>
                <a:gd name="T14" fmla="*/ 30 w 76"/>
                <a:gd name="T15" fmla="*/ 44 h 139"/>
                <a:gd name="T16" fmla="*/ 30 w 76"/>
                <a:gd name="T17" fmla="*/ 139 h 139"/>
                <a:gd name="T18" fmla="*/ 0 w 76"/>
                <a:gd name="T1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9">
                  <a:moveTo>
                    <a:pt x="0" y="139"/>
                  </a:moveTo>
                  <a:cubicBezTo>
                    <a:pt x="0" y="3"/>
                    <a:pt x="0" y="3"/>
                    <a:pt x="0" y="3"/>
                  </a:cubicBezTo>
                  <a:cubicBezTo>
                    <a:pt x="30" y="3"/>
                    <a:pt x="30" y="3"/>
                    <a:pt x="30" y="3"/>
                  </a:cubicBezTo>
                  <a:cubicBezTo>
                    <a:pt x="30" y="20"/>
                    <a:pt x="30" y="20"/>
                    <a:pt x="30" y="20"/>
                  </a:cubicBezTo>
                  <a:cubicBezTo>
                    <a:pt x="45" y="10"/>
                    <a:pt x="60" y="3"/>
                    <a:pt x="76" y="0"/>
                  </a:cubicBezTo>
                  <a:cubicBezTo>
                    <a:pt x="76" y="30"/>
                    <a:pt x="76" y="30"/>
                    <a:pt x="76" y="30"/>
                  </a:cubicBezTo>
                  <a:cubicBezTo>
                    <a:pt x="60" y="33"/>
                    <a:pt x="47" y="37"/>
                    <a:pt x="36" y="42"/>
                  </a:cubicBezTo>
                  <a:cubicBezTo>
                    <a:pt x="30" y="44"/>
                    <a:pt x="30" y="44"/>
                    <a:pt x="30" y="44"/>
                  </a:cubicBezTo>
                  <a:cubicBezTo>
                    <a:pt x="30" y="139"/>
                    <a:pt x="30" y="139"/>
                    <a:pt x="30" y="139"/>
                  </a:cubicBezTo>
                  <a:lnTo>
                    <a:pt x="0"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a:extLst>
                <a:ext uri="{FF2B5EF4-FFF2-40B4-BE49-F238E27FC236}">
                  <a16:creationId xmlns:a16="http://schemas.microsoft.com/office/drawing/2014/main" id="{2C1EEFF2-94D3-4313-A4A9-04AC06C7D753}"/>
                </a:ext>
              </a:extLst>
            </p:cNvPr>
            <p:cNvSpPr>
              <a:spLocks noEditPoints="1"/>
            </p:cNvSpPr>
            <p:nvPr userDrawn="1"/>
          </p:nvSpPr>
          <p:spPr bwMode="auto">
            <a:xfrm>
              <a:off x="4785" y="1803"/>
              <a:ext cx="243" cy="299"/>
            </a:xfrm>
            <a:custGeom>
              <a:avLst/>
              <a:gdLst>
                <a:gd name="T0" fmla="*/ 103 w 116"/>
                <a:gd name="T1" fmla="*/ 115 h 142"/>
                <a:gd name="T2" fmla="*/ 111 w 116"/>
                <a:gd name="T3" fmla="*/ 114 h 142"/>
                <a:gd name="T4" fmla="*/ 111 w 116"/>
                <a:gd name="T5" fmla="*/ 136 h 142"/>
                <a:gd name="T6" fmla="*/ 57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4 w 116"/>
                <a:gd name="T23" fmla="*/ 116 h 142"/>
                <a:gd name="T24" fmla="*/ 103 w 116"/>
                <a:gd name="T25" fmla="*/ 115 h 142"/>
                <a:gd name="T26" fmla="*/ 87 w 116"/>
                <a:gd name="T27" fmla="*/ 61 h 142"/>
                <a:gd name="T28" fmla="*/ 81 w 116"/>
                <a:gd name="T29" fmla="*/ 33 h 142"/>
                <a:gd name="T30" fmla="*/ 59 w 116"/>
                <a:gd name="T31" fmla="*/ 25 h 142"/>
                <a:gd name="T32" fmla="*/ 37 w 116"/>
                <a:gd name="T33" fmla="*/ 33 h 142"/>
                <a:gd name="T34" fmla="*/ 30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1" y="114"/>
                    <a:pt x="111" y="114"/>
                    <a:pt x="111" y="114"/>
                  </a:cubicBezTo>
                  <a:cubicBezTo>
                    <a:pt x="111" y="136"/>
                    <a:pt x="111" y="136"/>
                    <a:pt x="111" y="136"/>
                  </a:cubicBezTo>
                  <a:cubicBezTo>
                    <a:pt x="91" y="140"/>
                    <a:pt x="72" y="142"/>
                    <a:pt x="57" y="142"/>
                  </a:cubicBezTo>
                  <a:cubicBezTo>
                    <a:pt x="36" y="142"/>
                    <a:pt x="22" y="136"/>
                    <a:pt x="13" y="125"/>
                  </a:cubicBezTo>
                  <a:cubicBezTo>
                    <a:pt x="4" y="114"/>
                    <a:pt x="0" y="97"/>
                    <a:pt x="0" y="72"/>
                  </a:cubicBezTo>
                  <a:cubicBezTo>
                    <a:pt x="0" y="24"/>
                    <a:pt x="20" y="0"/>
                    <a:pt x="59" y="0"/>
                  </a:cubicBezTo>
                  <a:cubicBezTo>
                    <a:pt x="97" y="0"/>
                    <a:pt x="116" y="21"/>
                    <a:pt x="116" y="62"/>
                  </a:cubicBezTo>
                  <a:cubicBezTo>
                    <a:pt x="114" y="84"/>
                    <a:pt x="114" y="84"/>
                    <a:pt x="114" y="84"/>
                  </a:cubicBezTo>
                  <a:cubicBezTo>
                    <a:pt x="30" y="84"/>
                    <a:pt x="30" y="84"/>
                    <a:pt x="30" y="84"/>
                  </a:cubicBezTo>
                  <a:cubicBezTo>
                    <a:pt x="30" y="95"/>
                    <a:pt x="33" y="103"/>
                    <a:pt x="37" y="108"/>
                  </a:cubicBezTo>
                  <a:cubicBezTo>
                    <a:pt x="42" y="114"/>
                    <a:pt x="51" y="116"/>
                    <a:pt x="64" y="116"/>
                  </a:cubicBezTo>
                  <a:cubicBezTo>
                    <a:pt x="76" y="116"/>
                    <a:pt x="90" y="116"/>
                    <a:pt x="103" y="115"/>
                  </a:cubicBezTo>
                  <a:moveTo>
                    <a:pt x="87" y="61"/>
                  </a:moveTo>
                  <a:cubicBezTo>
                    <a:pt x="87" y="47"/>
                    <a:pt x="85" y="38"/>
                    <a:pt x="81" y="33"/>
                  </a:cubicBezTo>
                  <a:cubicBezTo>
                    <a:pt x="76" y="27"/>
                    <a:pt x="69" y="25"/>
                    <a:pt x="59" y="25"/>
                  </a:cubicBezTo>
                  <a:cubicBezTo>
                    <a:pt x="49" y="25"/>
                    <a:pt x="41" y="27"/>
                    <a:pt x="37" y="33"/>
                  </a:cubicBezTo>
                  <a:cubicBezTo>
                    <a:pt x="32" y="39"/>
                    <a:pt x="30" y="48"/>
                    <a:pt x="30" y="61"/>
                  </a:cubicBezTo>
                  <a:lnTo>
                    <a:pt x="87" y="6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4AE128BA-B69F-44AB-875A-5AA57064FED4}"/>
                </a:ext>
              </a:extLst>
            </p:cNvPr>
            <p:cNvSpPr>
              <a:spLocks/>
            </p:cNvSpPr>
            <p:nvPr userDrawn="1"/>
          </p:nvSpPr>
          <p:spPr bwMode="auto">
            <a:xfrm>
              <a:off x="5082" y="1803"/>
              <a:ext cx="239" cy="293"/>
            </a:xfrm>
            <a:custGeom>
              <a:avLst/>
              <a:gdLst>
                <a:gd name="T0" fmla="*/ 29 w 114"/>
                <a:gd name="T1" fmla="*/ 139 h 139"/>
                <a:gd name="T2" fmla="*/ 0 w 114"/>
                <a:gd name="T3" fmla="*/ 139 h 139"/>
                <a:gd name="T4" fmla="*/ 0 w 114"/>
                <a:gd name="T5" fmla="*/ 3 h 139"/>
                <a:gd name="T6" fmla="*/ 29 w 114"/>
                <a:gd name="T7" fmla="*/ 3 h 139"/>
                <a:gd name="T8" fmla="*/ 29 w 114"/>
                <a:gd name="T9" fmla="*/ 12 h 139"/>
                <a:gd name="T10" fmla="*/ 67 w 114"/>
                <a:gd name="T11" fmla="*/ 0 h 139"/>
                <a:gd name="T12" fmla="*/ 104 w 114"/>
                <a:gd name="T13" fmla="*/ 16 h 139"/>
                <a:gd name="T14" fmla="*/ 114 w 114"/>
                <a:gd name="T15" fmla="*/ 66 h 139"/>
                <a:gd name="T16" fmla="*/ 114 w 114"/>
                <a:gd name="T17" fmla="*/ 139 h 139"/>
                <a:gd name="T18" fmla="*/ 84 w 114"/>
                <a:gd name="T19" fmla="*/ 139 h 139"/>
                <a:gd name="T20" fmla="*/ 84 w 114"/>
                <a:gd name="T21" fmla="*/ 67 h 139"/>
                <a:gd name="T22" fmla="*/ 79 w 114"/>
                <a:gd name="T23" fmla="*/ 36 h 139"/>
                <a:gd name="T24" fmla="*/ 60 w 114"/>
                <a:gd name="T25" fmla="*/ 27 h 139"/>
                <a:gd name="T26" fmla="*/ 33 w 114"/>
                <a:gd name="T27" fmla="*/ 32 h 139"/>
                <a:gd name="T28" fmla="*/ 29 w 114"/>
                <a:gd name="T29" fmla="*/ 34 h 139"/>
                <a:gd name="T30" fmla="*/ 29 w 114"/>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39">
                  <a:moveTo>
                    <a:pt x="29" y="139"/>
                  </a:moveTo>
                  <a:cubicBezTo>
                    <a:pt x="0" y="139"/>
                    <a:pt x="0" y="139"/>
                    <a:pt x="0" y="139"/>
                  </a:cubicBezTo>
                  <a:cubicBezTo>
                    <a:pt x="0" y="3"/>
                    <a:pt x="0" y="3"/>
                    <a:pt x="0" y="3"/>
                  </a:cubicBezTo>
                  <a:cubicBezTo>
                    <a:pt x="29" y="3"/>
                    <a:pt x="29" y="3"/>
                    <a:pt x="29" y="3"/>
                  </a:cubicBezTo>
                  <a:cubicBezTo>
                    <a:pt x="29" y="12"/>
                    <a:pt x="29" y="12"/>
                    <a:pt x="29" y="12"/>
                  </a:cubicBezTo>
                  <a:cubicBezTo>
                    <a:pt x="42" y="4"/>
                    <a:pt x="55" y="0"/>
                    <a:pt x="67" y="0"/>
                  </a:cubicBezTo>
                  <a:cubicBezTo>
                    <a:pt x="85" y="0"/>
                    <a:pt x="97" y="5"/>
                    <a:pt x="104" y="16"/>
                  </a:cubicBezTo>
                  <a:cubicBezTo>
                    <a:pt x="110" y="26"/>
                    <a:pt x="114" y="43"/>
                    <a:pt x="114" y="66"/>
                  </a:cubicBezTo>
                  <a:cubicBezTo>
                    <a:pt x="114" y="139"/>
                    <a:pt x="114" y="139"/>
                    <a:pt x="114" y="139"/>
                  </a:cubicBezTo>
                  <a:cubicBezTo>
                    <a:pt x="84" y="139"/>
                    <a:pt x="84" y="139"/>
                    <a:pt x="84" y="139"/>
                  </a:cubicBezTo>
                  <a:cubicBezTo>
                    <a:pt x="84" y="67"/>
                    <a:pt x="84" y="67"/>
                    <a:pt x="84" y="67"/>
                  </a:cubicBezTo>
                  <a:cubicBezTo>
                    <a:pt x="84" y="52"/>
                    <a:pt x="83" y="42"/>
                    <a:pt x="79" y="36"/>
                  </a:cubicBezTo>
                  <a:cubicBezTo>
                    <a:pt x="76" y="30"/>
                    <a:pt x="70" y="27"/>
                    <a:pt x="60" y="27"/>
                  </a:cubicBezTo>
                  <a:cubicBezTo>
                    <a:pt x="51" y="27"/>
                    <a:pt x="42" y="28"/>
                    <a:pt x="33" y="32"/>
                  </a:cubicBezTo>
                  <a:cubicBezTo>
                    <a:pt x="29" y="34"/>
                    <a:pt x="29" y="34"/>
                    <a:pt x="29" y="34"/>
                  </a:cubicBezTo>
                  <a:lnTo>
                    <a:pt x="29"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3">
              <a:extLst>
                <a:ext uri="{FF2B5EF4-FFF2-40B4-BE49-F238E27FC236}">
                  <a16:creationId xmlns:a16="http://schemas.microsoft.com/office/drawing/2014/main" id="{9DD683FC-C7CB-4024-8208-A38FE8261A87}"/>
                </a:ext>
              </a:extLst>
            </p:cNvPr>
            <p:cNvSpPr>
              <a:spLocks/>
            </p:cNvSpPr>
            <p:nvPr userDrawn="1"/>
          </p:nvSpPr>
          <p:spPr bwMode="auto">
            <a:xfrm>
              <a:off x="3467" y="2231"/>
              <a:ext cx="277" cy="392"/>
            </a:xfrm>
            <a:custGeom>
              <a:avLst/>
              <a:gdLst>
                <a:gd name="T0" fmla="*/ 63 w 277"/>
                <a:gd name="T1" fmla="*/ 392 h 392"/>
                <a:gd name="T2" fmla="*/ 0 w 277"/>
                <a:gd name="T3" fmla="*/ 392 h 392"/>
                <a:gd name="T4" fmla="*/ 0 w 277"/>
                <a:gd name="T5" fmla="*/ 0 h 392"/>
                <a:gd name="T6" fmla="*/ 63 w 277"/>
                <a:gd name="T7" fmla="*/ 0 h 392"/>
                <a:gd name="T8" fmla="*/ 63 w 277"/>
                <a:gd name="T9" fmla="*/ 177 h 392"/>
                <a:gd name="T10" fmla="*/ 120 w 277"/>
                <a:gd name="T11" fmla="*/ 172 h 392"/>
                <a:gd name="T12" fmla="*/ 199 w 277"/>
                <a:gd name="T13" fmla="*/ 0 h 392"/>
                <a:gd name="T14" fmla="*/ 273 w 277"/>
                <a:gd name="T15" fmla="*/ 0 h 392"/>
                <a:gd name="T16" fmla="*/ 176 w 277"/>
                <a:gd name="T17" fmla="*/ 198 h 392"/>
                <a:gd name="T18" fmla="*/ 277 w 277"/>
                <a:gd name="T19" fmla="*/ 392 h 392"/>
                <a:gd name="T20" fmla="*/ 203 w 277"/>
                <a:gd name="T21" fmla="*/ 392 h 392"/>
                <a:gd name="T22" fmla="*/ 120 w 277"/>
                <a:gd name="T23" fmla="*/ 229 h 392"/>
                <a:gd name="T24" fmla="*/ 63 w 277"/>
                <a:gd name="T25" fmla="*/ 234 h 392"/>
                <a:gd name="T26" fmla="*/ 63 w 277"/>
                <a:gd name="T2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2">
                  <a:moveTo>
                    <a:pt x="63" y="392"/>
                  </a:moveTo>
                  <a:lnTo>
                    <a:pt x="0" y="392"/>
                  </a:lnTo>
                  <a:lnTo>
                    <a:pt x="0" y="0"/>
                  </a:lnTo>
                  <a:lnTo>
                    <a:pt x="63" y="0"/>
                  </a:lnTo>
                  <a:lnTo>
                    <a:pt x="63" y="177"/>
                  </a:lnTo>
                  <a:lnTo>
                    <a:pt x="120" y="172"/>
                  </a:lnTo>
                  <a:lnTo>
                    <a:pt x="199" y="0"/>
                  </a:lnTo>
                  <a:lnTo>
                    <a:pt x="273" y="0"/>
                  </a:lnTo>
                  <a:lnTo>
                    <a:pt x="176" y="198"/>
                  </a:lnTo>
                  <a:lnTo>
                    <a:pt x="277" y="392"/>
                  </a:lnTo>
                  <a:lnTo>
                    <a:pt x="203" y="392"/>
                  </a:lnTo>
                  <a:lnTo>
                    <a:pt x="120" y="229"/>
                  </a:lnTo>
                  <a:lnTo>
                    <a:pt x="63" y="234"/>
                  </a:lnTo>
                  <a:lnTo>
                    <a:pt x="63" y="3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4">
              <a:extLst>
                <a:ext uri="{FF2B5EF4-FFF2-40B4-BE49-F238E27FC236}">
                  <a16:creationId xmlns:a16="http://schemas.microsoft.com/office/drawing/2014/main" id="{880B0D20-5523-4C7C-8079-F7E29DAEAD9A}"/>
                </a:ext>
              </a:extLst>
            </p:cNvPr>
            <p:cNvSpPr>
              <a:spLocks/>
            </p:cNvSpPr>
            <p:nvPr userDrawn="1"/>
          </p:nvSpPr>
          <p:spPr bwMode="auto">
            <a:xfrm>
              <a:off x="3781" y="2332"/>
              <a:ext cx="160" cy="291"/>
            </a:xfrm>
            <a:custGeom>
              <a:avLst/>
              <a:gdLst>
                <a:gd name="T0" fmla="*/ 0 w 76"/>
                <a:gd name="T1" fmla="*/ 138 h 138"/>
                <a:gd name="T2" fmla="*/ 0 w 76"/>
                <a:gd name="T3" fmla="*/ 3 h 138"/>
                <a:gd name="T4" fmla="*/ 30 w 76"/>
                <a:gd name="T5" fmla="*/ 3 h 138"/>
                <a:gd name="T6" fmla="*/ 30 w 76"/>
                <a:gd name="T7" fmla="*/ 19 h 138"/>
                <a:gd name="T8" fmla="*/ 76 w 76"/>
                <a:gd name="T9" fmla="*/ 0 h 138"/>
                <a:gd name="T10" fmla="*/ 76 w 76"/>
                <a:gd name="T11" fmla="*/ 29 h 138"/>
                <a:gd name="T12" fmla="*/ 36 w 76"/>
                <a:gd name="T13" fmla="*/ 41 h 138"/>
                <a:gd name="T14" fmla="*/ 30 w 76"/>
                <a:gd name="T15" fmla="*/ 44 h 138"/>
                <a:gd name="T16" fmla="*/ 30 w 76"/>
                <a:gd name="T17" fmla="*/ 138 h 138"/>
                <a:gd name="T18" fmla="*/ 0 w 76"/>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8">
                  <a:moveTo>
                    <a:pt x="0" y="138"/>
                  </a:moveTo>
                  <a:cubicBezTo>
                    <a:pt x="0" y="3"/>
                    <a:pt x="0" y="3"/>
                    <a:pt x="0" y="3"/>
                  </a:cubicBezTo>
                  <a:cubicBezTo>
                    <a:pt x="30" y="3"/>
                    <a:pt x="30" y="3"/>
                    <a:pt x="30" y="3"/>
                  </a:cubicBezTo>
                  <a:cubicBezTo>
                    <a:pt x="30" y="19"/>
                    <a:pt x="30" y="19"/>
                    <a:pt x="30" y="19"/>
                  </a:cubicBezTo>
                  <a:cubicBezTo>
                    <a:pt x="45" y="9"/>
                    <a:pt x="60" y="3"/>
                    <a:pt x="76" y="0"/>
                  </a:cubicBezTo>
                  <a:cubicBezTo>
                    <a:pt x="76" y="29"/>
                    <a:pt x="76" y="29"/>
                    <a:pt x="76" y="29"/>
                  </a:cubicBezTo>
                  <a:cubicBezTo>
                    <a:pt x="60" y="32"/>
                    <a:pt x="47" y="36"/>
                    <a:pt x="36" y="41"/>
                  </a:cubicBezTo>
                  <a:cubicBezTo>
                    <a:pt x="30" y="44"/>
                    <a:pt x="30" y="44"/>
                    <a:pt x="30" y="44"/>
                  </a:cubicBezTo>
                  <a:cubicBezTo>
                    <a:pt x="30" y="138"/>
                    <a:pt x="30" y="138"/>
                    <a:pt x="30" y="138"/>
                  </a:cubicBezTo>
                  <a:lnTo>
                    <a:pt x="0" y="1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5">
              <a:extLst>
                <a:ext uri="{FF2B5EF4-FFF2-40B4-BE49-F238E27FC236}">
                  <a16:creationId xmlns:a16="http://schemas.microsoft.com/office/drawing/2014/main" id="{8C598D77-3D19-476A-BBA9-BA701BBD7220}"/>
                </a:ext>
              </a:extLst>
            </p:cNvPr>
            <p:cNvSpPr>
              <a:spLocks/>
            </p:cNvSpPr>
            <p:nvPr userDrawn="1"/>
          </p:nvSpPr>
          <p:spPr bwMode="auto">
            <a:xfrm>
              <a:off x="3978" y="2338"/>
              <a:ext cx="237" cy="291"/>
            </a:xfrm>
            <a:custGeom>
              <a:avLst/>
              <a:gdLst>
                <a:gd name="T0" fmla="*/ 84 w 113"/>
                <a:gd name="T1" fmla="*/ 0 h 138"/>
                <a:gd name="T2" fmla="*/ 113 w 113"/>
                <a:gd name="T3" fmla="*/ 0 h 138"/>
                <a:gd name="T4" fmla="*/ 113 w 113"/>
                <a:gd name="T5" fmla="*/ 135 h 138"/>
                <a:gd name="T6" fmla="*/ 84 w 113"/>
                <a:gd name="T7" fmla="*/ 135 h 138"/>
                <a:gd name="T8" fmla="*/ 84 w 113"/>
                <a:gd name="T9" fmla="*/ 127 h 138"/>
                <a:gd name="T10" fmla="*/ 47 w 113"/>
                <a:gd name="T11" fmla="*/ 138 h 138"/>
                <a:gd name="T12" fmla="*/ 10 w 113"/>
                <a:gd name="T13" fmla="*/ 123 h 138"/>
                <a:gd name="T14" fmla="*/ 0 w 113"/>
                <a:gd name="T15" fmla="*/ 71 h 138"/>
                <a:gd name="T16" fmla="*/ 0 w 113"/>
                <a:gd name="T17" fmla="*/ 0 h 138"/>
                <a:gd name="T18" fmla="*/ 30 w 113"/>
                <a:gd name="T19" fmla="*/ 0 h 138"/>
                <a:gd name="T20" fmla="*/ 30 w 113"/>
                <a:gd name="T21" fmla="*/ 71 h 138"/>
                <a:gd name="T22" fmla="*/ 34 w 113"/>
                <a:gd name="T23" fmla="*/ 104 h 138"/>
                <a:gd name="T24" fmla="*/ 53 w 113"/>
                <a:gd name="T25" fmla="*/ 112 h 138"/>
                <a:gd name="T26" fmla="*/ 80 w 113"/>
                <a:gd name="T27" fmla="*/ 107 h 138"/>
                <a:gd name="T28" fmla="*/ 84 w 113"/>
                <a:gd name="T29" fmla="*/ 105 h 138"/>
                <a:gd name="T30" fmla="*/ 84 w 113"/>
                <a:gd name="T3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8">
                  <a:moveTo>
                    <a:pt x="84" y="0"/>
                  </a:moveTo>
                  <a:cubicBezTo>
                    <a:pt x="113" y="0"/>
                    <a:pt x="113" y="0"/>
                    <a:pt x="113" y="0"/>
                  </a:cubicBezTo>
                  <a:cubicBezTo>
                    <a:pt x="113" y="135"/>
                    <a:pt x="113" y="135"/>
                    <a:pt x="113" y="135"/>
                  </a:cubicBezTo>
                  <a:cubicBezTo>
                    <a:pt x="84" y="135"/>
                    <a:pt x="84" y="135"/>
                    <a:pt x="84" y="135"/>
                  </a:cubicBezTo>
                  <a:cubicBezTo>
                    <a:pt x="84" y="127"/>
                    <a:pt x="84" y="127"/>
                    <a:pt x="84" y="127"/>
                  </a:cubicBezTo>
                  <a:cubicBezTo>
                    <a:pt x="71" y="135"/>
                    <a:pt x="58" y="138"/>
                    <a:pt x="47" y="138"/>
                  </a:cubicBezTo>
                  <a:cubicBezTo>
                    <a:pt x="28" y="138"/>
                    <a:pt x="16" y="133"/>
                    <a:pt x="10" y="123"/>
                  </a:cubicBezTo>
                  <a:cubicBezTo>
                    <a:pt x="3" y="113"/>
                    <a:pt x="0" y="96"/>
                    <a:pt x="0" y="71"/>
                  </a:cubicBezTo>
                  <a:cubicBezTo>
                    <a:pt x="0" y="0"/>
                    <a:pt x="0" y="0"/>
                    <a:pt x="0" y="0"/>
                  </a:cubicBezTo>
                  <a:cubicBezTo>
                    <a:pt x="30" y="0"/>
                    <a:pt x="30" y="0"/>
                    <a:pt x="30" y="0"/>
                  </a:cubicBezTo>
                  <a:cubicBezTo>
                    <a:pt x="30" y="71"/>
                    <a:pt x="30" y="71"/>
                    <a:pt x="30" y="71"/>
                  </a:cubicBezTo>
                  <a:cubicBezTo>
                    <a:pt x="30" y="87"/>
                    <a:pt x="31" y="98"/>
                    <a:pt x="34" y="104"/>
                  </a:cubicBezTo>
                  <a:cubicBezTo>
                    <a:pt x="37" y="109"/>
                    <a:pt x="43" y="112"/>
                    <a:pt x="53" y="112"/>
                  </a:cubicBezTo>
                  <a:cubicBezTo>
                    <a:pt x="63" y="112"/>
                    <a:pt x="72" y="110"/>
                    <a:pt x="80" y="107"/>
                  </a:cubicBezTo>
                  <a:cubicBezTo>
                    <a:pt x="84" y="105"/>
                    <a:pt x="84" y="105"/>
                    <a:pt x="84" y="105"/>
                  </a:cubicBezTo>
                  <a:lnTo>
                    <a:pt x="8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
              <a:extLst>
                <a:ext uri="{FF2B5EF4-FFF2-40B4-BE49-F238E27FC236}">
                  <a16:creationId xmlns:a16="http://schemas.microsoft.com/office/drawing/2014/main" id="{99B0AA94-CD20-454F-9688-BC3727935EAB}"/>
                </a:ext>
              </a:extLst>
            </p:cNvPr>
            <p:cNvSpPr>
              <a:spLocks noEditPoints="1"/>
            </p:cNvSpPr>
            <p:nvPr userDrawn="1"/>
          </p:nvSpPr>
          <p:spPr bwMode="auto">
            <a:xfrm>
              <a:off x="4284" y="2222"/>
              <a:ext cx="63" cy="401"/>
            </a:xfrm>
            <a:custGeom>
              <a:avLst/>
              <a:gdLst>
                <a:gd name="T0" fmla="*/ 0 w 63"/>
                <a:gd name="T1" fmla="*/ 0 h 401"/>
                <a:gd name="T2" fmla="*/ 63 w 63"/>
                <a:gd name="T3" fmla="*/ 0 h 401"/>
                <a:gd name="T4" fmla="*/ 63 w 63"/>
                <a:gd name="T5" fmla="*/ 68 h 401"/>
                <a:gd name="T6" fmla="*/ 0 w 63"/>
                <a:gd name="T7" fmla="*/ 68 h 401"/>
                <a:gd name="T8" fmla="*/ 0 w 63"/>
                <a:gd name="T9" fmla="*/ 0 h 401"/>
                <a:gd name="T10" fmla="*/ 0 w 63"/>
                <a:gd name="T11" fmla="*/ 116 h 401"/>
                <a:gd name="T12" fmla="*/ 63 w 63"/>
                <a:gd name="T13" fmla="*/ 116 h 401"/>
                <a:gd name="T14" fmla="*/ 63 w 63"/>
                <a:gd name="T15" fmla="*/ 401 h 401"/>
                <a:gd name="T16" fmla="*/ 0 w 63"/>
                <a:gd name="T17" fmla="*/ 401 h 401"/>
                <a:gd name="T18" fmla="*/ 0 w 63"/>
                <a:gd name="T19" fmla="*/ 11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8"/>
                  </a:lnTo>
                  <a:lnTo>
                    <a:pt x="0" y="68"/>
                  </a:lnTo>
                  <a:lnTo>
                    <a:pt x="0" y="0"/>
                  </a:lnTo>
                  <a:close/>
                  <a:moveTo>
                    <a:pt x="0" y="116"/>
                  </a:moveTo>
                  <a:lnTo>
                    <a:pt x="63" y="116"/>
                  </a:lnTo>
                  <a:lnTo>
                    <a:pt x="63" y="401"/>
                  </a:lnTo>
                  <a:lnTo>
                    <a:pt x="0" y="401"/>
                  </a:lnTo>
                  <a:lnTo>
                    <a:pt x="0"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7">
              <a:extLst>
                <a:ext uri="{FF2B5EF4-FFF2-40B4-BE49-F238E27FC236}">
                  <a16:creationId xmlns:a16="http://schemas.microsoft.com/office/drawing/2014/main" id="{41E34058-80CB-46DE-8EF7-1C3C57F77172}"/>
                </a:ext>
              </a:extLst>
            </p:cNvPr>
            <p:cNvSpPr>
              <a:spLocks/>
            </p:cNvSpPr>
            <p:nvPr userDrawn="1"/>
          </p:nvSpPr>
          <p:spPr bwMode="auto">
            <a:xfrm>
              <a:off x="4401" y="2332"/>
              <a:ext cx="222" cy="297"/>
            </a:xfrm>
            <a:custGeom>
              <a:avLst/>
              <a:gdLst>
                <a:gd name="T0" fmla="*/ 101 w 106"/>
                <a:gd name="T1" fmla="*/ 31 h 141"/>
                <a:gd name="T2" fmla="*/ 55 w 106"/>
                <a:gd name="T3" fmla="*/ 26 h 141"/>
                <a:gd name="T4" fmla="*/ 35 w 106"/>
                <a:gd name="T5" fmla="*/ 30 h 141"/>
                <a:gd name="T6" fmla="*/ 29 w 106"/>
                <a:gd name="T7" fmla="*/ 40 h 141"/>
                <a:gd name="T8" fmla="*/ 35 w 106"/>
                <a:gd name="T9" fmla="*/ 51 h 141"/>
                <a:gd name="T10" fmla="*/ 64 w 106"/>
                <a:gd name="T11" fmla="*/ 58 h 141"/>
                <a:gd name="T12" fmla="*/ 96 w 106"/>
                <a:gd name="T13" fmla="*/ 70 h 141"/>
                <a:gd name="T14" fmla="*/ 106 w 106"/>
                <a:gd name="T15" fmla="*/ 100 h 141"/>
                <a:gd name="T16" fmla="*/ 92 w 106"/>
                <a:gd name="T17" fmla="*/ 131 h 141"/>
                <a:gd name="T18" fmla="*/ 52 w 106"/>
                <a:gd name="T19" fmla="*/ 141 h 141"/>
                <a:gd name="T20" fmla="*/ 10 w 106"/>
                <a:gd name="T21" fmla="*/ 137 h 141"/>
                <a:gd name="T22" fmla="*/ 2 w 106"/>
                <a:gd name="T23" fmla="*/ 135 h 141"/>
                <a:gd name="T24" fmla="*/ 3 w 106"/>
                <a:gd name="T25" fmla="*/ 111 h 141"/>
                <a:gd name="T26" fmla="*/ 50 w 106"/>
                <a:gd name="T27" fmla="*/ 115 h 141"/>
                <a:gd name="T28" fmla="*/ 70 w 106"/>
                <a:gd name="T29" fmla="*/ 112 h 141"/>
                <a:gd name="T30" fmla="*/ 76 w 106"/>
                <a:gd name="T31" fmla="*/ 100 h 141"/>
                <a:gd name="T32" fmla="*/ 71 w 106"/>
                <a:gd name="T33" fmla="*/ 89 h 141"/>
                <a:gd name="T34" fmla="*/ 43 w 106"/>
                <a:gd name="T35" fmla="*/ 82 h 141"/>
                <a:gd name="T36" fmla="*/ 10 w 106"/>
                <a:gd name="T37" fmla="*/ 70 h 141"/>
                <a:gd name="T38" fmla="*/ 0 w 106"/>
                <a:gd name="T39" fmla="*/ 41 h 141"/>
                <a:gd name="T40" fmla="*/ 14 w 106"/>
                <a:gd name="T41" fmla="*/ 10 h 141"/>
                <a:gd name="T42" fmla="*/ 51 w 106"/>
                <a:gd name="T43" fmla="*/ 0 h 141"/>
                <a:gd name="T44" fmla="*/ 93 w 106"/>
                <a:gd name="T45" fmla="*/ 4 h 141"/>
                <a:gd name="T46" fmla="*/ 102 w 106"/>
                <a:gd name="T47" fmla="*/ 6 h 141"/>
                <a:gd name="T48" fmla="*/ 101 w 106"/>
                <a:gd name="T49" fmla="*/ 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41">
                  <a:moveTo>
                    <a:pt x="101" y="31"/>
                  </a:moveTo>
                  <a:cubicBezTo>
                    <a:pt x="80" y="28"/>
                    <a:pt x="64" y="26"/>
                    <a:pt x="55" y="26"/>
                  </a:cubicBezTo>
                  <a:cubicBezTo>
                    <a:pt x="45" y="26"/>
                    <a:pt x="38" y="27"/>
                    <a:pt x="35" y="30"/>
                  </a:cubicBezTo>
                  <a:cubicBezTo>
                    <a:pt x="31" y="32"/>
                    <a:pt x="29" y="36"/>
                    <a:pt x="29" y="40"/>
                  </a:cubicBezTo>
                  <a:cubicBezTo>
                    <a:pt x="29" y="45"/>
                    <a:pt x="31" y="49"/>
                    <a:pt x="35" y="51"/>
                  </a:cubicBezTo>
                  <a:cubicBezTo>
                    <a:pt x="39" y="53"/>
                    <a:pt x="49" y="55"/>
                    <a:pt x="64" y="58"/>
                  </a:cubicBezTo>
                  <a:cubicBezTo>
                    <a:pt x="79" y="60"/>
                    <a:pt x="90" y="64"/>
                    <a:pt x="96" y="70"/>
                  </a:cubicBezTo>
                  <a:cubicBezTo>
                    <a:pt x="103" y="76"/>
                    <a:pt x="106" y="86"/>
                    <a:pt x="106" y="100"/>
                  </a:cubicBezTo>
                  <a:cubicBezTo>
                    <a:pt x="106" y="114"/>
                    <a:pt x="101" y="125"/>
                    <a:pt x="92" y="131"/>
                  </a:cubicBezTo>
                  <a:cubicBezTo>
                    <a:pt x="83" y="138"/>
                    <a:pt x="70" y="141"/>
                    <a:pt x="52" y="141"/>
                  </a:cubicBezTo>
                  <a:cubicBezTo>
                    <a:pt x="41" y="141"/>
                    <a:pt x="27" y="140"/>
                    <a:pt x="10" y="137"/>
                  </a:cubicBezTo>
                  <a:cubicBezTo>
                    <a:pt x="2" y="135"/>
                    <a:pt x="2" y="135"/>
                    <a:pt x="2" y="135"/>
                  </a:cubicBezTo>
                  <a:cubicBezTo>
                    <a:pt x="3" y="111"/>
                    <a:pt x="3" y="111"/>
                    <a:pt x="3" y="111"/>
                  </a:cubicBezTo>
                  <a:cubicBezTo>
                    <a:pt x="25" y="114"/>
                    <a:pt x="40" y="115"/>
                    <a:pt x="50" y="115"/>
                  </a:cubicBezTo>
                  <a:cubicBezTo>
                    <a:pt x="59" y="115"/>
                    <a:pt x="66" y="114"/>
                    <a:pt x="70" y="112"/>
                  </a:cubicBezTo>
                  <a:cubicBezTo>
                    <a:pt x="74" y="109"/>
                    <a:pt x="76" y="105"/>
                    <a:pt x="76" y="100"/>
                  </a:cubicBezTo>
                  <a:cubicBezTo>
                    <a:pt x="76" y="94"/>
                    <a:pt x="74" y="91"/>
                    <a:pt x="71" y="89"/>
                  </a:cubicBezTo>
                  <a:cubicBezTo>
                    <a:pt x="67" y="87"/>
                    <a:pt x="57" y="84"/>
                    <a:pt x="43" y="82"/>
                  </a:cubicBezTo>
                  <a:cubicBezTo>
                    <a:pt x="28" y="79"/>
                    <a:pt x="17" y="76"/>
                    <a:pt x="10" y="70"/>
                  </a:cubicBezTo>
                  <a:cubicBezTo>
                    <a:pt x="3" y="65"/>
                    <a:pt x="0" y="55"/>
                    <a:pt x="0" y="41"/>
                  </a:cubicBezTo>
                  <a:cubicBezTo>
                    <a:pt x="0" y="28"/>
                    <a:pt x="5" y="17"/>
                    <a:pt x="14" y="10"/>
                  </a:cubicBezTo>
                  <a:cubicBezTo>
                    <a:pt x="24" y="3"/>
                    <a:pt x="36" y="0"/>
                    <a:pt x="51" y="0"/>
                  </a:cubicBezTo>
                  <a:cubicBezTo>
                    <a:pt x="62" y="0"/>
                    <a:pt x="76" y="1"/>
                    <a:pt x="93" y="4"/>
                  </a:cubicBezTo>
                  <a:cubicBezTo>
                    <a:pt x="102" y="6"/>
                    <a:pt x="102" y="6"/>
                    <a:pt x="102" y="6"/>
                  </a:cubicBezTo>
                  <a:lnTo>
                    <a:pt x="101"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a:extLst>
                <a:ext uri="{FF2B5EF4-FFF2-40B4-BE49-F238E27FC236}">
                  <a16:creationId xmlns:a16="http://schemas.microsoft.com/office/drawing/2014/main" id="{108F29F8-F753-476C-B26B-DE8CC77897E0}"/>
                </a:ext>
              </a:extLst>
            </p:cNvPr>
            <p:cNvSpPr>
              <a:spLocks/>
            </p:cNvSpPr>
            <p:nvPr userDrawn="1"/>
          </p:nvSpPr>
          <p:spPr bwMode="auto">
            <a:xfrm>
              <a:off x="2640" y="1887"/>
              <a:ext cx="356" cy="91"/>
            </a:xfrm>
            <a:custGeom>
              <a:avLst/>
              <a:gdLst>
                <a:gd name="T0" fmla="*/ 111 w 170"/>
                <a:gd name="T1" fmla="*/ 40 h 43"/>
                <a:gd name="T2" fmla="*/ 170 w 170"/>
                <a:gd name="T3" fmla="*/ 43 h 43"/>
                <a:gd name="T4" fmla="*/ 170 w 170"/>
                <a:gd name="T5" fmla="*/ 28 h 43"/>
                <a:gd name="T6" fmla="*/ 114 w 170"/>
                <a:gd name="T7" fmla="*/ 23 h 43"/>
                <a:gd name="T8" fmla="*/ 0 w 170"/>
                <a:gd name="T9" fmla="*/ 0 h 43"/>
                <a:gd name="T10" fmla="*/ 0 w 170"/>
                <a:gd name="T11" fmla="*/ 21 h 43"/>
                <a:gd name="T12" fmla="*/ 111 w 170"/>
                <a:gd name="T13" fmla="*/ 40 h 43"/>
              </a:gdLst>
              <a:ahLst/>
              <a:cxnLst>
                <a:cxn ang="0">
                  <a:pos x="T0" y="T1"/>
                </a:cxn>
                <a:cxn ang="0">
                  <a:pos x="T2" y="T3"/>
                </a:cxn>
                <a:cxn ang="0">
                  <a:pos x="T4" y="T5"/>
                </a:cxn>
                <a:cxn ang="0">
                  <a:pos x="T6" y="T7"/>
                </a:cxn>
                <a:cxn ang="0">
                  <a:pos x="T8" y="T9"/>
                </a:cxn>
                <a:cxn ang="0">
                  <a:pos x="T10" y="T11"/>
                </a:cxn>
                <a:cxn ang="0">
                  <a:pos x="T12" y="T13"/>
                </a:cxn>
              </a:cxnLst>
              <a:rect l="0" t="0" r="r" b="b"/>
              <a:pathLst>
                <a:path w="170" h="43">
                  <a:moveTo>
                    <a:pt x="111" y="40"/>
                  </a:moveTo>
                  <a:cubicBezTo>
                    <a:pt x="132" y="42"/>
                    <a:pt x="151" y="43"/>
                    <a:pt x="170" y="43"/>
                  </a:cubicBezTo>
                  <a:cubicBezTo>
                    <a:pt x="170" y="28"/>
                    <a:pt x="170" y="28"/>
                    <a:pt x="170" y="28"/>
                  </a:cubicBezTo>
                  <a:cubicBezTo>
                    <a:pt x="151" y="27"/>
                    <a:pt x="133" y="26"/>
                    <a:pt x="114" y="23"/>
                  </a:cubicBezTo>
                  <a:cubicBezTo>
                    <a:pt x="77" y="19"/>
                    <a:pt x="38" y="11"/>
                    <a:pt x="0" y="0"/>
                  </a:cubicBezTo>
                  <a:cubicBezTo>
                    <a:pt x="0" y="21"/>
                    <a:pt x="0" y="21"/>
                    <a:pt x="0" y="21"/>
                  </a:cubicBezTo>
                  <a:cubicBezTo>
                    <a:pt x="40" y="31"/>
                    <a:pt x="77" y="37"/>
                    <a:pt x="111" y="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a:extLst>
                <a:ext uri="{FF2B5EF4-FFF2-40B4-BE49-F238E27FC236}">
                  <a16:creationId xmlns:a16="http://schemas.microsoft.com/office/drawing/2014/main" id="{439F0E8C-968E-4CEB-BBE6-A090F9AA4AB1}"/>
                </a:ext>
              </a:extLst>
            </p:cNvPr>
            <p:cNvSpPr>
              <a:spLocks/>
            </p:cNvSpPr>
            <p:nvPr userDrawn="1"/>
          </p:nvSpPr>
          <p:spPr bwMode="auto">
            <a:xfrm>
              <a:off x="2640" y="1811"/>
              <a:ext cx="356" cy="104"/>
            </a:xfrm>
            <a:custGeom>
              <a:avLst/>
              <a:gdLst>
                <a:gd name="T0" fmla="*/ 128 w 170"/>
                <a:gd name="T1" fmla="*/ 46 h 49"/>
                <a:gd name="T2" fmla="*/ 170 w 170"/>
                <a:gd name="T3" fmla="*/ 49 h 49"/>
                <a:gd name="T4" fmla="*/ 170 w 170"/>
                <a:gd name="T5" fmla="*/ 34 h 49"/>
                <a:gd name="T6" fmla="*/ 114 w 170"/>
                <a:gd name="T7" fmla="*/ 27 h 49"/>
                <a:gd name="T8" fmla="*/ 0 w 170"/>
                <a:gd name="T9" fmla="*/ 0 h 49"/>
                <a:gd name="T10" fmla="*/ 0 w 170"/>
                <a:gd name="T11" fmla="*/ 21 h 49"/>
                <a:gd name="T12" fmla="*/ 128 w 170"/>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170" h="49">
                  <a:moveTo>
                    <a:pt x="128" y="46"/>
                  </a:moveTo>
                  <a:cubicBezTo>
                    <a:pt x="142" y="47"/>
                    <a:pt x="156" y="48"/>
                    <a:pt x="170" y="49"/>
                  </a:cubicBezTo>
                  <a:cubicBezTo>
                    <a:pt x="170" y="34"/>
                    <a:pt x="170" y="34"/>
                    <a:pt x="170" y="34"/>
                  </a:cubicBezTo>
                  <a:cubicBezTo>
                    <a:pt x="151" y="32"/>
                    <a:pt x="133" y="30"/>
                    <a:pt x="114" y="27"/>
                  </a:cubicBezTo>
                  <a:cubicBezTo>
                    <a:pt x="77" y="21"/>
                    <a:pt x="38" y="12"/>
                    <a:pt x="0" y="0"/>
                  </a:cubicBezTo>
                  <a:cubicBezTo>
                    <a:pt x="0" y="21"/>
                    <a:pt x="0" y="21"/>
                    <a:pt x="0" y="21"/>
                  </a:cubicBezTo>
                  <a:cubicBezTo>
                    <a:pt x="46" y="34"/>
                    <a:pt x="89" y="42"/>
                    <a:pt x="128" y="4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a:extLst>
                <a:ext uri="{FF2B5EF4-FFF2-40B4-BE49-F238E27FC236}">
                  <a16:creationId xmlns:a16="http://schemas.microsoft.com/office/drawing/2014/main" id="{50287170-DF6C-4612-8E0C-1CA865A58A75}"/>
                </a:ext>
              </a:extLst>
            </p:cNvPr>
            <p:cNvSpPr>
              <a:spLocks/>
            </p:cNvSpPr>
            <p:nvPr userDrawn="1"/>
          </p:nvSpPr>
          <p:spPr bwMode="auto">
            <a:xfrm>
              <a:off x="2640" y="1735"/>
              <a:ext cx="356" cy="114"/>
            </a:xfrm>
            <a:custGeom>
              <a:avLst/>
              <a:gdLst>
                <a:gd name="T0" fmla="*/ 0 w 170"/>
                <a:gd name="T1" fmla="*/ 21 h 54"/>
                <a:gd name="T2" fmla="*/ 144 w 170"/>
                <a:gd name="T3" fmla="*/ 52 h 54"/>
                <a:gd name="T4" fmla="*/ 170 w 170"/>
                <a:gd name="T5" fmla="*/ 54 h 54"/>
                <a:gd name="T6" fmla="*/ 170 w 170"/>
                <a:gd name="T7" fmla="*/ 39 h 54"/>
                <a:gd name="T8" fmla="*/ 114 w 170"/>
                <a:gd name="T9" fmla="*/ 31 h 54"/>
                <a:gd name="T10" fmla="*/ 0 w 170"/>
                <a:gd name="T11" fmla="*/ 0 h 54"/>
                <a:gd name="T12" fmla="*/ 0 w 170"/>
                <a:gd name="T13" fmla="*/ 21 h 54"/>
              </a:gdLst>
              <a:ahLst/>
              <a:cxnLst>
                <a:cxn ang="0">
                  <a:pos x="T0" y="T1"/>
                </a:cxn>
                <a:cxn ang="0">
                  <a:pos x="T2" y="T3"/>
                </a:cxn>
                <a:cxn ang="0">
                  <a:pos x="T4" y="T5"/>
                </a:cxn>
                <a:cxn ang="0">
                  <a:pos x="T6" y="T7"/>
                </a:cxn>
                <a:cxn ang="0">
                  <a:pos x="T8" y="T9"/>
                </a:cxn>
                <a:cxn ang="0">
                  <a:pos x="T10" y="T11"/>
                </a:cxn>
                <a:cxn ang="0">
                  <a:pos x="T12" y="T13"/>
                </a:cxn>
              </a:cxnLst>
              <a:rect l="0" t="0" r="r" b="b"/>
              <a:pathLst>
                <a:path w="170" h="54">
                  <a:moveTo>
                    <a:pt x="0" y="21"/>
                  </a:moveTo>
                  <a:cubicBezTo>
                    <a:pt x="53" y="37"/>
                    <a:pt x="101" y="47"/>
                    <a:pt x="144" y="52"/>
                  </a:cubicBezTo>
                  <a:cubicBezTo>
                    <a:pt x="153" y="53"/>
                    <a:pt x="161" y="54"/>
                    <a:pt x="170" y="54"/>
                  </a:cubicBezTo>
                  <a:cubicBezTo>
                    <a:pt x="170" y="39"/>
                    <a:pt x="170" y="39"/>
                    <a:pt x="170" y="39"/>
                  </a:cubicBezTo>
                  <a:cubicBezTo>
                    <a:pt x="151" y="37"/>
                    <a:pt x="133" y="34"/>
                    <a:pt x="114" y="31"/>
                  </a:cubicBezTo>
                  <a:cubicBezTo>
                    <a:pt x="77" y="24"/>
                    <a:pt x="38" y="13"/>
                    <a:pt x="0" y="0"/>
                  </a:cubicBezTo>
                  <a:lnTo>
                    <a:pt x="0"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a:extLst>
                <a:ext uri="{FF2B5EF4-FFF2-40B4-BE49-F238E27FC236}">
                  <a16:creationId xmlns:a16="http://schemas.microsoft.com/office/drawing/2014/main" id="{D6ECA75F-E520-4953-9E3D-F802B34777DB}"/>
                </a:ext>
              </a:extLst>
            </p:cNvPr>
            <p:cNvSpPr>
              <a:spLocks/>
            </p:cNvSpPr>
            <p:nvPr userDrawn="1"/>
          </p:nvSpPr>
          <p:spPr bwMode="auto">
            <a:xfrm>
              <a:off x="2535" y="1963"/>
              <a:ext cx="746" cy="112"/>
            </a:xfrm>
            <a:custGeom>
              <a:avLst/>
              <a:gdLst>
                <a:gd name="T0" fmla="*/ 356 w 356"/>
                <a:gd name="T1" fmla="*/ 16 h 53"/>
                <a:gd name="T2" fmla="*/ 356 w 356"/>
                <a:gd name="T3" fmla="*/ 14 h 53"/>
                <a:gd name="T4" fmla="*/ 351 w 356"/>
                <a:gd name="T5" fmla="*/ 10 h 53"/>
                <a:gd name="T6" fmla="*/ 350 w 356"/>
                <a:gd name="T7" fmla="*/ 10 h 53"/>
                <a:gd name="T8" fmla="*/ 342 w 356"/>
                <a:gd name="T9" fmla="*/ 10 h 53"/>
                <a:gd name="T10" fmla="*/ 50 w 356"/>
                <a:gd name="T11" fmla="*/ 0 h 53"/>
                <a:gd name="T12" fmla="*/ 50 w 356"/>
                <a:gd name="T13" fmla="*/ 10 h 53"/>
                <a:gd name="T14" fmla="*/ 50 w 356"/>
                <a:gd name="T15" fmla="*/ 10 h 53"/>
                <a:gd name="T16" fmla="*/ 0 w 356"/>
                <a:gd name="T17" fmla="*/ 10 h 53"/>
                <a:gd name="T18" fmla="*/ 356 w 356"/>
                <a:gd name="T1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53">
                  <a:moveTo>
                    <a:pt x="356" y="16"/>
                  </a:moveTo>
                  <a:cubicBezTo>
                    <a:pt x="356" y="14"/>
                    <a:pt x="356" y="14"/>
                    <a:pt x="356" y="14"/>
                  </a:cubicBezTo>
                  <a:cubicBezTo>
                    <a:pt x="355" y="12"/>
                    <a:pt x="353" y="11"/>
                    <a:pt x="351" y="10"/>
                  </a:cubicBezTo>
                  <a:cubicBezTo>
                    <a:pt x="351" y="10"/>
                    <a:pt x="350" y="10"/>
                    <a:pt x="350" y="10"/>
                  </a:cubicBezTo>
                  <a:cubicBezTo>
                    <a:pt x="342" y="10"/>
                    <a:pt x="342" y="10"/>
                    <a:pt x="342" y="10"/>
                  </a:cubicBezTo>
                  <a:cubicBezTo>
                    <a:pt x="251" y="31"/>
                    <a:pt x="151" y="25"/>
                    <a:pt x="50" y="0"/>
                  </a:cubicBezTo>
                  <a:cubicBezTo>
                    <a:pt x="50" y="10"/>
                    <a:pt x="50" y="10"/>
                    <a:pt x="50" y="10"/>
                  </a:cubicBezTo>
                  <a:cubicBezTo>
                    <a:pt x="50" y="10"/>
                    <a:pt x="50" y="10"/>
                    <a:pt x="50" y="10"/>
                  </a:cubicBezTo>
                  <a:cubicBezTo>
                    <a:pt x="0" y="10"/>
                    <a:pt x="0" y="10"/>
                    <a:pt x="0" y="10"/>
                  </a:cubicBezTo>
                  <a:cubicBezTo>
                    <a:pt x="157" y="53"/>
                    <a:pt x="279" y="39"/>
                    <a:pt x="356" y="1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a:extLst>
                <a:ext uri="{FF2B5EF4-FFF2-40B4-BE49-F238E27FC236}">
                  <a16:creationId xmlns:a16="http://schemas.microsoft.com/office/drawing/2014/main" id="{F67C081B-928D-4716-932A-D0BFBA8752BC}"/>
                </a:ext>
              </a:extLst>
            </p:cNvPr>
            <p:cNvSpPr>
              <a:spLocks/>
            </p:cNvSpPr>
            <p:nvPr userDrawn="1"/>
          </p:nvSpPr>
          <p:spPr bwMode="auto">
            <a:xfrm>
              <a:off x="2355" y="2125"/>
              <a:ext cx="926" cy="173"/>
            </a:xfrm>
            <a:custGeom>
              <a:avLst/>
              <a:gdLst>
                <a:gd name="T0" fmla="*/ 442 w 442"/>
                <a:gd name="T1" fmla="*/ 17 h 82"/>
                <a:gd name="T2" fmla="*/ 442 w 442"/>
                <a:gd name="T3" fmla="*/ 8 h 82"/>
                <a:gd name="T4" fmla="*/ 229 w 442"/>
                <a:gd name="T5" fmla="*/ 40 h 82"/>
                <a:gd name="T6" fmla="*/ 0 w 442"/>
                <a:gd name="T7" fmla="*/ 0 h 82"/>
                <a:gd name="T8" fmla="*/ 0 w 442"/>
                <a:gd name="T9" fmla="*/ 24 h 82"/>
                <a:gd name="T10" fmla="*/ 442 w 442"/>
                <a:gd name="T11" fmla="*/ 17 h 82"/>
              </a:gdLst>
              <a:ahLst/>
              <a:cxnLst>
                <a:cxn ang="0">
                  <a:pos x="T0" y="T1"/>
                </a:cxn>
                <a:cxn ang="0">
                  <a:pos x="T2" y="T3"/>
                </a:cxn>
                <a:cxn ang="0">
                  <a:pos x="T4" y="T5"/>
                </a:cxn>
                <a:cxn ang="0">
                  <a:pos x="T6" y="T7"/>
                </a:cxn>
                <a:cxn ang="0">
                  <a:pos x="T8" y="T9"/>
                </a:cxn>
                <a:cxn ang="0">
                  <a:pos x="T10" y="T11"/>
                </a:cxn>
              </a:cxnLst>
              <a:rect l="0" t="0" r="r" b="b"/>
              <a:pathLst>
                <a:path w="442" h="82">
                  <a:moveTo>
                    <a:pt x="442" y="17"/>
                  </a:moveTo>
                  <a:cubicBezTo>
                    <a:pt x="442" y="8"/>
                    <a:pt x="442" y="8"/>
                    <a:pt x="442" y="8"/>
                  </a:cubicBezTo>
                  <a:cubicBezTo>
                    <a:pt x="374" y="32"/>
                    <a:pt x="303" y="42"/>
                    <a:pt x="229" y="40"/>
                  </a:cubicBezTo>
                  <a:cubicBezTo>
                    <a:pt x="154" y="38"/>
                    <a:pt x="77" y="24"/>
                    <a:pt x="0" y="0"/>
                  </a:cubicBezTo>
                  <a:cubicBezTo>
                    <a:pt x="0" y="24"/>
                    <a:pt x="0" y="24"/>
                    <a:pt x="0" y="24"/>
                  </a:cubicBezTo>
                  <a:cubicBezTo>
                    <a:pt x="204" y="82"/>
                    <a:pt x="351" y="54"/>
                    <a:pt x="442"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a:extLst>
                <a:ext uri="{FF2B5EF4-FFF2-40B4-BE49-F238E27FC236}">
                  <a16:creationId xmlns:a16="http://schemas.microsoft.com/office/drawing/2014/main" id="{027829CF-3388-44A0-A16C-CD5EA77B6D25}"/>
                </a:ext>
              </a:extLst>
            </p:cNvPr>
            <p:cNvSpPr>
              <a:spLocks/>
            </p:cNvSpPr>
            <p:nvPr userDrawn="1"/>
          </p:nvSpPr>
          <p:spPr bwMode="auto">
            <a:xfrm>
              <a:off x="2355" y="2041"/>
              <a:ext cx="926" cy="139"/>
            </a:xfrm>
            <a:custGeom>
              <a:avLst/>
              <a:gdLst>
                <a:gd name="T0" fmla="*/ 442 w 442"/>
                <a:gd name="T1" fmla="*/ 31 h 66"/>
                <a:gd name="T2" fmla="*/ 442 w 442"/>
                <a:gd name="T3" fmla="*/ 22 h 66"/>
                <a:gd name="T4" fmla="*/ 255 w 442"/>
                <a:gd name="T5" fmla="*/ 48 h 66"/>
                <a:gd name="T6" fmla="*/ 0 w 442"/>
                <a:gd name="T7" fmla="*/ 0 h 66"/>
                <a:gd name="T8" fmla="*/ 0 w 442"/>
                <a:gd name="T9" fmla="*/ 23 h 66"/>
                <a:gd name="T10" fmla="*/ 235 w 442"/>
                <a:gd name="T11" fmla="*/ 64 h 66"/>
                <a:gd name="T12" fmla="*/ 442 w 442"/>
                <a:gd name="T13" fmla="*/ 31 h 66"/>
              </a:gdLst>
              <a:ahLst/>
              <a:cxnLst>
                <a:cxn ang="0">
                  <a:pos x="T0" y="T1"/>
                </a:cxn>
                <a:cxn ang="0">
                  <a:pos x="T2" y="T3"/>
                </a:cxn>
                <a:cxn ang="0">
                  <a:pos x="T4" y="T5"/>
                </a:cxn>
                <a:cxn ang="0">
                  <a:pos x="T6" y="T7"/>
                </a:cxn>
                <a:cxn ang="0">
                  <a:pos x="T8" y="T9"/>
                </a:cxn>
                <a:cxn ang="0">
                  <a:pos x="T10" y="T11"/>
                </a:cxn>
                <a:cxn ang="0">
                  <a:pos x="T12" y="T13"/>
                </a:cxn>
              </a:cxnLst>
              <a:rect l="0" t="0" r="r" b="b"/>
              <a:pathLst>
                <a:path w="442" h="66">
                  <a:moveTo>
                    <a:pt x="442" y="31"/>
                  </a:moveTo>
                  <a:cubicBezTo>
                    <a:pt x="442" y="22"/>
                    <a:pt x="442" y="22"/>
                    <a:pt x="442" y="22"/>
                  </a:cubicBezTo>
                  <a:cubicBezTo>
                    <a:pt x="382" y="41"/>
                    <a:pt x="320" y="49"/>
                    <a:pt x="255" y="48"/>
                  </a:cubicBezTo>
                  <a:cubicBezTo>
                    <a:pt x="172" y="46"/>
                    <a:pt x="86" y="29"/>
                    <a:pt x="0" y="0"/>
                  </a:cubicBezTo>
                  <a:cubicBezTo>
                    <a:pt x="0" y="23"/>
                    <a:pt x="0" y="23"/>
                    <a:pt x="0" y="23"/>
                  </a:cubicBezTo>
                  <a:cubicBezTo>
                    <a:pt x="89" y="52"/>
                    <a:pt x="168" y="63"/>
                    <a:pt x="235" y="64"/>
                  </a:cubicBezTo>
                  <a:cubicBezTo>
                    <a:pt x="322" y="66"/>
                    <a:pt x="391" y="50"/>
                    <a:pt x="442" y="3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a:extLst>
                <a:ext uri="{FF2B5EF4-FFF2-40B4-BE49-F238E27FC236}">
                  <a16:creationId xmlns:a16="http://schemas.microsoft.com/office/drawing/2014/main" id="{CDCF9890-E587-4F5C-A83B-1F7C58FA3D53}"/>
                </a:ext>
              </a:extLst>
            </p:cNvPr>
            <p:cNvSpPr>
              <a:spLocks/>
            </p:cNvSpPr>
            <p:nvPr userDrawn="1"/>
          </p:nvSpPr>
          <p:spPr bwMode="auto">
            <a:xfrm>
              <a:off x="2355" y="2294"/>
              <a:ext cx="188" cy="36"/>
            </a:xfrm>
            <a:custGeom>
              <a:avLst/>
              <a:gdLst>
                <a:gd name="T0" fmla="*/ 6 w 90"/>
                <a:gd name="T1" fmla="*/ 17 h 17"/>
                <a:gd name="T2" fmla="*/ 90 w 90"/>
                <a:gd name="T3" fmla="*/ 17 h 17"/>
                <a:gd name="T4" fmla="*/ 14 w 90"/>
                <a:gd name="T5" fmla="*/ 3 h 17"/>
                <a:gd name="T6" fmla="*/ 0 w 90"/>
                <a:gd name="T7" fmla="*/ 0 h 17"/>
                <a:gd name="T8" fmla="*/ 0 w 90"/>
                <a:gd name="T9" fmla="*/ 11 h 17"/>
                <a:gd name="T10" fmla="*/ 0 w 90"/>
                <a:gd name="T11" fmla="*/ 13 h 17"/>
                <a:gd name="T12" fmla="*/ 6 w 9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0" h="17">
                  <a:moveTo>
                    <a:pt x="6" y="17"/>
                  </a:moveTo>
                  <a:cubicBezTo>
                    <a:pt x="90" y="17"/>
                    <a:pt x="90" y="17"/>
                    <a:pt x="90" y="17"/>
                  </a:cubicBezTo>
                  <a:cubicBezTo>
                    <a:pt x="67" y="14"/>
                    <a:pt x="39" y="9"/>
                    <a:pt x="14" y="3"/>
                  </a:cubicBezTo>
                  <a:cubicBezTo>
                    <a:pt x="9" y="2"/>
                    <a:pt x="4" y="1"/>
                    <a:pt x="0" y="0"/>
                  </a:cubicBezTo>
                  <a:cubicBezTo>
                    <a:pt x="0" y="11"/>
                    <a:pt x="0" y="11"/>
                    <a:pt x="0" y="11"/>
                  </a:cubicBezTo>
                  <a:cubicBezTo>
                    <a:pt x="0" y="12"/>
                    <a:pt x="0" y="13"/>
                    <a:pt x="0" y="13"/>
                  </a:cubicBezTo>
                  <a:cubicBezTo>
                    <a:pt x="1" y="16"/>
                    <a:pt x="3" y="17"/>
                    <a:pt x="6" y="1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a:extLst>
                <a:ext uri="{FF2B5EF4-FFF2-40B4-BE49-F238E27FC236}">
                  <a16:creationId xmlns:a16="http://schemas.microsoft.com/office/drawing/2014/main" id="{6100225C-4DAE-4446-9AB2-705B57A820E7}"/>
                </a:ext>
              </a:extLst>
            </p:cNvPr>
            <p:cNvSpPr>
              <a:spLocks/>
            </p:cNvSpPr>
            <p:nvPr userDrawn="1"/>
          </p:nvSpPr>
          <p:spPr bwMode="auto">
            <a:xfrm>
              <a:off x="2355" y="2197"/>
              <a:ext cx="926" cy="141"/>
            </a:xfrm>
            <a:custGeom>
              <a:avLst/>
              <a:gdLst>
                <a:gd name="T0" fmla="*/ 442 w 442"/>
                <a:gd name="T1" fmla="*/ 9 h 67"/>
                <a:gd name="T2" fmla="*/ 442 w 442"/>
                <a:gd name="T3" fmla="*/ 0 h 67"/>
                <a:gd name="T4" fmla="*/ 228 w 442"/>
                <a:gd name="T5" fmla="*/ 39 h 67"/>
                <a:gd name="T6" fmla="*/ 0 w 442"/>
                <a:gd name="T7" fmla="*/ 7 h 67"/>
                <a:gd name="T8" fmla="*/ 0 w 442"/>
                <a:gd name="T9" fmla="*/ 30 h 67"/>
                <a:gd name="T10" fmla="*/ 126 w 442"/>
                <a:gd name="T11" fmla="*/ 53 h 67"/>
                <a:gd name="T12" fmla="*/ 442 w 442"/>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442" h="67">
                  <a:moveTo>
                    <a:pt x="442" y="9"/>
                  </a:moveTo>
                  <a:cubicBezTo>
                    <a:pt x="442" y="0"/>
                    <a:pt x="442" y="0"/>
                    <a:pt x="442" y="0"/>
                  </a:cubicBezTo>
                  <a:cubicBezTo>
                    <a:pt x="374" y="26"/>
                    <a:pt x="302" y="38"/>
                    <a:pt x="228" y="39"/>
                  </a:cubicBezTo>
                  <a:cubicBezTo>
                    <a:pt x="153" y="39"/>
                    <a:pt x="76" y="27"/>
                    <a:pt x="0" y="7"/>
                  </a:cubicBezTo>
                  <a:cubicBezTo>
                    <a:pt x="0" y="30"/>
                    <a:pt x="0" y="30"/>
                    <a:pt x="0" y="30"/>
                  </a:cubicBezTo>
                  <a:cubicBezTo>
                    <a:pt x="45" y="42"/>
                    <a:pt x="87" y="49"/>
                    <a:pt x="126" y="53"/>
                  </a:cubicBezTo>
                  <a:cubicBezTo>
                    <a:pt x="266" y="67"/>
                    <a:pt x="371" y="40"/>
                    <a:pt x="442"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a:extLst>
                <a:ext uri="{FF2B5EF4-FFF2-40B4-BE49-F238E27FC236}">
                  <a16:creationId xmlns:a16="http://schemas.microsoft.com/office/drawing/2014/main" id="{6FDF4628-D975-455E-A94D-7C0F5FF64998}"/>
                </a:ext>
              </a:extLst>
            </p:cNvPr>
            <p:cNvSpPr>
              <a:spLocks/>
            </p:cNvSpPr>
            <p:nvPr userDrawn="1"/>
          </p:nvSpPr>
          <p:spPr bwMode="auto">
            <a:xfrm>
              <a:off x="2355" y="1984"/>
              <a:ext cx="926" cy="127"/>
            </a:xfrm>
            <a:custGeom>
              <a:avLst/>
              <a:gdLst>
                <a:gd name="T0" fmla="*/ 260 w 442"/>
                <a:gd name="T1" fmla="*/ 59 h 60"/>
                <a:gd name="T2" fmla="*/ 263 w 442"/>
                <a:gd name="T3" fmla="*/ 59 h 60"/>
                <a:gd name="T4" fmla="*/ 265 w 442"/>
                <a:gd name="T5" fmla="*/ 59 h 60"/>
                <a:gd name="T6" fmla="*/ 442 w 442"/>
                <a:gd name="T7" fmla="*/ 32 h 60"/>
                <a:gd name="T8" fmla="*/ 442 w 442"/>
                <a:gd name="T9" fmla="*/ 23 h 60"/>
                <a:gd name="T10" fmla="*/ 297 w 442"/>
                <a:gd name="T11" fmla="*/ 43 h 60"/>
                <a:gd name="T12" fmla="*/ 272 w 442"/>
                <a:gd name="T13" fmla="*/ 43 h 60"/>
                <a:gd name="T14" fmla="*/ 118 w 442"/>
                <a:gd name="T15" fmla="*/ 22 h 60"/>
                <a:gd name="T16" fmla="*/ 39 w 442"/>
                <a:gd name="T17" fmla="*/ 0 h 60"/>
                <a:gd name="T18" fmla="*/ 6 w 442"/>
                <a:gd name="T19" fmla="*/ 0 h 60"/>
                <a:gd name="T20" fmla="*/ 0 w 442"/>
                <a:gd name="T21" fmla="*/ 6 h 60"/>
                <a:gd name="T22" fmla="*/ 0 w 442"/>
                <a:gd name="T23" fmla="*/ 10 h 60"/>
                <a:gd name="T24" fmla="*/ 260 w 442"/>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 h="60">
                  <a:moveTo>
                    <a:pt x="260" y="59"/>
                  </a:moveTo>
                  <a:cubicBezTo>
                    <a:pt x="261" y="59"/>
                    <a:pt x="262" y="59"/>
                    <a:pt x="263" y="59"/>
                  </a:cubicBezTo>
                  <a:cubicBezTo>
                    <a:pt x="264" y="59"/>
                    <a:pt x="264" y="59"/>
                    <a:pt x="265" y="59"/>
                  </a:cubicBezTo>
                  <a:cubicBezTo>
                    <a:pt x="338" y="60"/>
                    <a:pt x="397" y="47"/>
                    <a:pt x="442" y="32"/>
                  </a:cubicBezTo>
                  <a:cubicBezTo>
                    <a:pt x="442" y="23"/>
                    <a:pt x="442" y="23"/>
                    <a:pt x="442" y="23"/>
                  </a:cubicBezTo>
                  <a:cubicBezTo>
                    <a:pt x="395" y="36"/>
                    <a:pt x="347" y="43"/>
                    <a:pt x="297" y="43"/>
                  </a:cubicBezTo>
                  <a:cubicBezTo>
                    <a:pt x="289" y="43"/>
                    <a:pt x="280" y="43"/>
                    <a:pt x="272" y="43"/>
                  </a:cubicBezTo>
                  <a:cubicBezTo>
                    <a:pt x="222" y="42"/>
                    <a:pt x="170" y="34"/>
                    <a:pt x="118" y="22"/>
                  </a:cubicBezTo>
                  <a:cubicBezTo>
                    <a:pt x="92" y="16"/>
                    <a:pt x="65" y="8"/>
                    <a:pt x="39" y="0"/>
                  </a:cubicBezTo>
                  <a:cubicBezTo>
                    <a:pt x="6" y="0"/>
                    <a:pt x="6" y="0"/>
                    <a:pt x="6" y="0"/>
                  </a:cubicBezTo>
                  <a:cubicBezTo>
                    <a:pt x="2" y="0"/>
                    <a:pt x="0" y="3"/>
                    <a:pt x="0" y="6"/>
                  </a:cubicBezTo>
                  <a:cubicBezTo>
                    <a:pt x="0" y="10"/>
                    <a:pt x="0" y="10"/>
                    <a:pt x="0" y="10"/>
                  </a:cubicBezTo>
                  <a:cubicBezTo>
                    <a:pt x="100" y="45"/>
                    <a:pt x="187" y="58"/>
                    <a:pt x="260" y="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7">
              <a:extLst>
                <a:ext uri="{FF2B5EF4-FFF2-40B4-BE49-F238E27FC236}">
                  <a16:creationId xmlns:a16="http://schemas.microsoft.com/office/drawing/2014/main" id="{B3F1D1A1-0622-49B7-9D75-542664B7A8BF}"/>
                </a:ext>
              </a:extLst>
            </p:cNvPr>
            <p:cNvSpPr>
              <a:spLocks/>
            </p:cNvSpPr>
            <p:nvPr userDrawn="1"/>
          </p:nvSpPr>
          <p:spPr bwMode="auto">
            <a:xfrm>
              <a:off x="2812" y="1691"/>
              <a:ext cx="184" cy="32"/>
            </a:xfrm>
            <a:custGeom>
              <a:avLst/>
              <a:gdLst>
                <a:gd name="T0" fmla="*/ 88 w 88"/>
                <a:gd name="T1" fmla="*/ 6 h 15"/>
                <a:gd name="T2" fmla="*/ 86 w 88"/>
                <a:gd name="T3" fmla="*/ 2 h 15"/>
                <a:gd name="T4" fmla="*/ 84 w 88"/>
                <a:gd name="T5" fmla="*/ 0 h 15"/>
                <a:gd name="T6" fmla="*/ 81 w 88"/>
                <a:gd name="T7" fmla="*/ 0 h 15"/>
                <a:gd name="T8" fmla="*/ 0 w 88"/>
                <a:gd name="T9" fmla="*/ 0 h 15"/>
                <a:gd name="T10" fmla="*/ 88 w 88"/>
                <a:gd name="T11" fmla="*/ 15 h 15"/>
                <a:gd name="T12" fmla="*/ 88 w 88"/>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88" h="15">
                  <a:moveTo>
                    <a:pt x="88" y="6"/>
                  </a:moveTo>
                  <a:cubicBezTo>
                    <a:pt x="88" y="5"/>
                    <a:pt x="87" y="3"/>
                    <a:pt x="86" y="2"/>
                  </a:cubicBezTo>
                  <a:cubicBezTo>
                    <a:pt x="86" y="1"/>
                    <a:pt x="85" y="1"/>
                    <a:pt x="84" y="0"/>
                  </a:cubicBezTo>
                  <a:cubicBezTo>
                    <a:pt x="83" y="0"/>
                    <a:pt x="82" y="0"/>
                    <a:pt x="81" y="0"/>
                  </a:cubicBezTo>
                  <a:cubicBezTo>
                    <a:pt x="0" y="0"/>
                    <a:pt x="0" y="0"/>
                    <a:pt x="0" y="0"/>
                  </a:cubicBezTo>
                  <a:cubicBezTo>
                    <a:pt x="27" y="6"/>
                    <a:pt x="65" y="12"/>
                    <a:pt x="88" y="15"/>
                  </a:cubicBezTo>
                  <a:lnTo>
                    <a:pt x="88" y="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a:extLst>
                <a:ext uri="{FF2B5EF4-FFF2-40B4-BE49-F238E27FC236}">
                  <a16:creationId xmlns:a16="http://schemas.microsoft.com/office/drawing/2014/main" id="{96967A2D-D5EF-4340-BE72-0924081A849A}"/>
                </a:ext>
              </a:extLst>
            </p:cNvPr>
            <p:cNvSpPr>
              <a:spLocks/>
            </p:cNvSpPr>
            <p:nvPr userDrawn="1"/>
          </p:nvSpPr>
          <p:spPr bwMode="auto">
            <a:xfrm>
              <a:off x="2640" y="2332"/>
              <a:ext cx="356" cy="57"/>
            </a:xfrm>
            <a:custGeom>
              <a:avLst/>
              <a:gdLst>
                <a:gd name="T0" fmla="*/ 167 w 170"/>
                <a:gd name="T1" fmla="*/ 1 h 27"/>
                <a:gd name="T2" fmla="*/ 15 w 170"/>
                <a:gd name="T3" fmla="*/ 6 h 27"/>
                <a:gd name="T4" fmla="*/ 0 w 170"/>
                <a:gd name="T5" fmla="*/ 5 h 27"/>
                <a:gd name="T6" fmla="*/ 0 w 170"/>
                <a:gd name="T7" fmla="*/ 26 h 27"/>
                <a:gd name="T8" fmla="*/ 47 w 170"/>
                <a:gd name="T9" fmla="*/ 27 h 27"/>
                <a:gd name="T10" fmla="*/ 170 w 170"/>
                <a:gd name="T11" fmla="*/ 15 h 27"/>
                <a:gd name="T12" fmla="*/ 170 w 170"/>
                <a:gd name="T13" fmla="*/ 0 h 27"/>
                <a:gd name="T14" fmla="*/ 167 w 170"/>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7">
                  <a:moveTo>
                    <a:pt x="167" y="1"/>
                  </a:moveTo>
                  <a:cubicBezTo>
                    <a:pt x="118" y="8"/>
                    <a:pt x="67" y="10"/>
                    <a:pt x="15" y="6"/>
                  </a:cubicBezTo>
                  <a:cubicBezTo>
                    <a:pt x="10" y="6"/>
                    <a:pt x="5" y="6"/>
                    <a:pt x="0" y="5"/>
                  </a:cubicBezTo>
                  <a:cubicBezTo>
                    <a:pt x="0" y="26"/>
                    <a:pt x="0" y="26"/>
                    <a:pt x="0" y="26"/>
                  </a:cubicBezTo>
                  <a:cubicBezTo>
                    <a:pt x="16" y="27"/>
                    <a:pt x="31" y="27"/>
                    <a:pt x="47" y="27"/>
                  </a:cubicBezTo>
                  <a:cubicBezTo>
                    <a:pt x="92" y="27"/>
                    <a:pt x="133" y="22"/>
                    <a:pt x="170" y="15"/>
                  </a:cubicBezTo>
                  <a:cubicBezTo>
                    <a:pt x="170" y="0"/>
                    <a:pt x="170" y="0"/>
                    <a:pt x="170" y="0"/>
                  </a:cubicBezTo>
                  <a:cubicBezTo>
                    <a:pt x="169" y="0"/>
                    <a:pt x="168" y="0"/>
                    <a:pt x="16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a:extLst>
                <a:ext uri="{FF2B5EF4-FFF2-40B4-BE49-F238E27FC236}">
                  <a16:creationId xmlns:a16="http://schemas.microsoft.com/office/drawing/2014/main" id="{F1B89C83-1998-41F5-9619-6437E0847781}"/>
                </a:ext>
              </a:extLst>
            </p:cNvPr>
            <p:cNvSpPr>
              <a:spLocks/>
            </p:cNvSpPr>
            <p:nvPr userDrawn="1"/>
          </p:nvSpPr>
          <p:spPr bwMode="auto">
            <a:xfrm>
              <a:off x="2856" y="2589"/>
              <a:ext cx="140" cy="34"/>
            </a:xfrm>
            <a:custGeom>
              <a:avLst/>
              <a:gdLst>
                <a:gd name="T0" fmla="*/ 67 w 67"/>
                <a:gd name="T1" fmla="*/ 10 h 16"/>
                <a:gd name="T2" fmla="*/ 67 w 67"/>
                <a:gd name="T3" fmla="*/ 0 h 16"/>
                <a:gd name="T4" fmla="*/ 54 w 67"/>
                <a:gd name="T5" fmla="*/ 3 h 16"/>
                <a:gd name="T6" fmla="*/ 14 w 67"/>
                <a:gd name="T7" fmla="*/ 13 h 16"/>
                <a:gd name="T8" fmla="*/ 0 w 67"/>
                <a:gd name="T9" fmla="*/ 16 h 16"/>
                <a:gd name="T10" fmla="*/ 63 w 67"/>
                <a:gd name="T11" fmla="*/ 16 h 16"/>
                <a:gd name="T12" fmla="*/ 67 w 67"/>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7" y="10"/>
                  </a:moveTo>
                  <a:cubicBezTo>
                    <a:pt x="67" y="0"/>
                    <a:pt x="67" y="0"/>
                    <a:pt x="67" y="0"/>
                  </a:cubicBezTo>
                  <a:cubicBezTo>
                    <a:pt x="63" y="1"/>
                    <a:pt x="58" y="2"/>
                    <a:pt x="54" y="3"/>
                  </a:cubicBezTo>
                  <a:cubicBezTo>
                    <a:pt x="41" y="7"/>
                    <a:pt x="27" y="10"/>
                    <a:pt x="14" y="13"/>
                  </a:cubicBezTo>
                  <a:cubicBezTo>
                    <a:pt x="9" y="14"/>
                    <a:pt x="5" y="15"/>
                    <a:pt x="0" y="16"/>
                  </a:cubicBezTo>
                  <a:cubicBezTo>
                    <a:pt x="63" y="16"/>
                    <a:pt x="63" y="16"/>
                    <a:pt x="63" y="16"/>
                  </a:cubicBezTo>
                  <a:cubicBezTo>
                    <a:pt x="65" y="15"/>
                    <a:pt x="67" y="13"/>
                    <a:pt x="67"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0">
              <a:extLst>
                <a:ext uri="{FF2B5EF4-FFF2-40B4-BE49-F238E27FC236}">
                  <a16:creationId xmlns:a16="http://schemas.microsoft.com/office/drawing/2014/main" id="{01525A25-9E72-4EB7-8C68-3E58D1B456B5}"/>
                </a:ext>
              </a:extLst>
            </p:cNvPr>
            <p:cNvSpPr>
              <a:spLocks/>
            </p:cNvSpPr>
            <p:nvPr userDrawn="1"/>
          </p:nvSpPr>
          <p:spPr bwMode="auto">
            <a:xfrm>
              <a:off x="2640" y="1691"/>
              <a:ext cx="356" cy="95"/>
            </a:xfrm>
            <a:custGeom>
              <a:avLst/>
              <a:gdLst>
                <a:gd name="T0" fmla="*/ 4 w 170"/>
                <a:gd name="T1" fmla="*/ 0 h 45"/>
                <a:gd name="T2" fmla="*/ 3 w 170"/>
                <a:gd name="T3" fmla="*/ 1 h 45"/>
                <a:gd name="T4" fmla="*/ 2 w 170"/>
                <a:gd name="T5" fmla="*/ 1 h 45"/>
                <a:gd name="T6" fmla="*/ 1 w 170"/>
                <a:gd name="T7" fmla="*/ 2 h 45"/>
                <a:gd name="T8" fmla="*/ 1 w 170"/>
                <a:gd name="T9" fmla="*/ 3 h 45"/>
                <a:gd name="T10" fmla="*/ 0 w 170"/>
                <a:gd name="T11" fmla="*/ 5 h 45"/>
                <a:gd name="T12" fmla="*/ 111 w 170"/>
                <a:gd name="T13" fmla="*/ 36 h 45"/>
                <a:gd name="T14" fmla="*/ 170 w 170"/>
                <a:gd name="T15" fmla="*/ 45 h 45"/>
                <a:gd name="T16" fmla="*/ 170 w 170"/>
                <a:gd name="T17" fmla="*/ 30 h 45"/>
                <a:gd name="T18" fmla="*/ 124 w 170"/>
                <a:gd name="T19" fmla="*/ 22 h 45"/>
                <a:gd name="T20" fmla="*/ 42 w 170"/>
                <a:gd name="T21" fmla="*/ 0 h 45"/>
                <a:gd name="T22" fmla="*/ 6 w 170"/>
                <a:gd name="T23" fmla="*/ 0 h 45"/>
                <a:gd name="T24" fmla="*/ 4 w 170"/>
                <a:gd name="T25" fmla="*/ 0 h 45"/>
                <a:gd name="T26" fmla="*/ 4 w 170"/>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5">
                  <a:moveTo>
                    <a:pt x="4" y="0"/>
                  </a:moveTo>
                  <a:cubicBezTo>
                    <a:pt x="4" y="0"/>
                    <a:pt x="3" y="1"/>
                    <a:pt x="3" y="1"/>
                  </a:cubicBezTo>
                  <a:cubicBezTo>
                    <a:pt x="3" y="1"/>
                    <a:pt x="2" y="1"/>
                    <a:pt x="2" y="1"/>
                  </a:cubicBezTo>
                  <a:cubicBezTo>
                    <a:pt x="2" y="2"/>
                    <a:pt x="2" y="2"/>
                    <a:pt x="1" y="2"/>
                  </a:cubicBezTo>
                  <a:cubicBezTo>
                    <a:pt x="1" y="3"/>
                    <a:pt x="1" y="3"/>
                    <a:pt x="1" y="3"/>
                  </a:cubicBezTo>
                  <a:cubicBezTo>
                    <a:pt x="0" y="4"/>
                    <a:pt x="0" y="5"/>
                    <a:pt x="0" y="5"/>
                  </a:cubicBezTo>
                  <a:cubicBezTo>
                    <a:pt x="40" y="19"/>
                    <a:pt x="77" y="29"/>
                    <a:pt x="111" y="36"/>
                  </a:cubicBezTo>
                  <a:cubicBezTo>
                    <a:pt x="132" y="40"/>
                    <a:pt x="151" y="43"/>
                    <a:pt x="170" y="45"/>
                  </a:cubicBezTo>
                  <a:cubicBezTo>
                    <a:pt x="170" y="30"/>
                    <a:pt x="170" y="30"/>
                    <a:pt x="170" y="30"/>
                  </a:cubicBezTo>
                  <a:cubicBezTo>
                    <a:pt x="155" y="28"/>
                    <a:pt x="140" y="25"/>
                    <a:pt x="124" y="22"/>
                  </a:cubicBezTo>
                  <a:cubicBezTo>
                    <a:pt x="97" y="16"/>
                    <a:pt x="70" y="9"/>
                    <a:pt x="42" y="0"/>
                  </a:cubicBezTo>
                  <a:cubicBezTo>
                    <a:pt x="6" y="0"/>
                    <a:pt x="6" y="0"/>
                    <a:pt x="6" y="0"/>
                  </a:cubicBezTo>
                  <a:cubicBezTo>
                    <a:pt x="6" y="0"/>
                    <a:pt x="5" y="0"/>
                    <a:pt x="4" y="0"/>
                  </a:cubicBezTo>
                  <a:cubicBezTo>
                    <a:pt x="4" y="0"/>
                    <a:pt x="4"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1">
              <a:extLst>
                <a:ext uri="{FF2B5EF4-FFF2-40B4-BE49-F238E27FC236}">
                  <a16:creationId xmlns:a16="http://schemas.microsoft.com/office/drawing/2014/main" id="{73E7CB31-1DC9-4592-99BE-C9275472EA3A}"/>
                </a:ext>
              </a:extLst>
            </p:cNvPr>
            <p:cNvSpPr>
              <a:spLocks/>
            </p:cNvSpPr>
            <p:nvPr userDrawn="1"/>
          </p:nvSpPr>
          <p:spPr bwMode="auto">
            <a:xfrm>
              <a:off x="3011" y="2252"/>
              <a:ext cx="270" cy="78"/>
            </a:xfrm>
            <a:custGeom>
              <a:avLst/>
              <a:gdLst>
                <a:gd name="T0" fmla="*/ 129 w 129"/>
                <a:gd name="T1" fmla="*/ 0 h 37"/>
                <a:gd name="T2" fmla="*/ 0 w 129"/>
                <a:gd name="T3" fmla="*/ 37 h 37"/>
                <a:gd name="T4" fmla="*/ 57 w 129"/>
                <a:gd name="T5" fmla="*/ 37 h 37"/>
                <a:gd name="T6" fmla="*/ 129 w 129"/>
                <a:gd name="T7" fmla="*/ 10 h 37"/>
                <a:gd name="T8" fmla="*/ 129 w 129"/>
                <a:gd name="T9" fmla="*/ 0 h 37"/>
              </a:gdLst>
              <a:ahLst/>
              <a:cxnLst>
                <a:cxn ang="0">
                  <a:pos x="T0" y="T1"/>
                </a:cxn>
                <a:cxn ang="0">
                  <a:pos x="T2" y="T3"/>
                </a:cxn>
                <a:cxn ang="0">
                  <a:pos x="T4" y="T5"/>
                </a:cxn>
                <a:cxn ang="0">
                  <a:pos x="T6" y="T7"/>
                </a:cxn>
                <a:cxn ang="0">
                  <a:pos x="T8" y="T9"/>
                </a:cxn>
              </a:cxnLst>
              <a:rect l="0" t="0" r="r" b="b"/>
              <a:pathLst>
                <a:path w="129" h="37">
                  <a:moveTo>
                    <a:pt x="129" y="0"/>
                  </a:moveTo>
                  <a:cubicBezTo>
                    <a:pt x="87" y="18"/>
                    <a:pt x="44" y="30"/>
                    <a:pt x="0" y="37"/>
                  </a:cubicBezTo>
                  <a:cubicBezTo>
                    <a:pt x="57" y="37"/>
                    <a:pt x="57" y="37"/>
                    <a:pt x="57" y="37"/>
                  </a:cubicBezTo>
                  <a:cubicBezTo>
                    <a:pt x="84" y="29"/>
                    <a:pt x="108" y="19"/>
                    <a:pt x="129" y="10"/>
                  </a:cubicBezTo>
                  <a:lnTo>
                    <a:pt x="12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2">
              <a:extLst>
                <a:ext uri="{FF2B5EF4-FFF2-40B4-BE49-F238E27FC236}">
                  <a16:creationId xmlns:a16="http://schemas.microsoft.com/office/drawing/2014/main" id="{AFD328DF-43F5-477A-B82F-8AB589EC79F0}"/>
                </a:ext>
              </a:extLst>
            </p:cNvPr>
            <p:cNvSpPr>
              <a:spLocks/>
            </p:cNvSpPr>
            <p:nvPr userDrawn="1"/>
          </p:nvSpPr>
          <p:spPr bwMode="auto">
            <a:xfrm>
              <a:off x="2640" y="2460"/>
              <a:ext cx="356" cy="78"/>
            </a:xfrm>
            <a:custGeom>
              <a:avLst/>
              <a:gdLst>
                <a:gd name="T0" fmla="*/ 114 w 170"/>
                <a:gd name="T1" fmla="*/ 10 h 37"/>
                <a:gd name="T2" fmla="*/ 22 w 170"/>
                <a:gd name="T3" fmla="*/ 17 h 37"/>
                <a:gd name="T4" fmla="*/ 0 w 170"/>
                <a:gd name="T5" fmla="*/ 16 h 37"/>
                <a:gd name="T6" fmla="*/ 0 w 170"/>
                <a:gd name="T7" fmla="*/ 37 h 37"/>
                <a:gd name="T8" fmla="*/ 170 w 170"/>
                <a:gd name="T9" fmla="*/ 15 h 37"/>
                <a:gd name="T10" fmla="*/ 170 w 170"/>
                <a:gd name="T11" fmla="*/ 0 h 37"/>
                <a:gd name="T12" fmla="*/ 114 w 170"/>
                <a:gd name="T13" fmla="*/ 10 h 37"/>
              </a:gdLst>
              <a:ahLst/>
              <a:cxnLst>
                <a:cxn ang="0">
                  <a:pos x="T0" y="T1"/>
                </a:cxn>
                <a:cxn ang="0">
                  <a:pos x="T2" y="T3"/>
                </a:cxn>
                <a:cxn ang="0">
                  <a:pos x="T4" y="T5"/>
                </a:cxn>
                <a:cxn ang="0">
                  <a:pos x="T6" y="T7"/>
                </a:cxn>
                <a:cxn ang="0">
                  <a:pos x="T8" y="T9"/>
                </a:cxn>
                <a:cxn ang="0">
                  <a:pos x="T10" y="T11"/>
                </a:cxn>
                <a:cxn ang="0">
                  <a:pos x="T12" y="T13"/>
                </a:cxn>
              </a:cxnLst>
              <a:rect l="0" t="0" r="r" b="b"/>
              <a:pathLst>
                <a:path w="170" h="37">
                  <a:moveTo>
                    <a:pt x="114" y="10"/>
                  </a:moveTo>
                  <a:cubicBezTo>
                    <a:pt x="84" y="14"/>
                    <a:pt x="53" y="16"/>
                    <a:pt x="22" y="17"/>
                  </a:cubicBezTo>
                  <a:cubicBezTo>
                    <a:pt x="14" y="17"/>
                    <a:pt x="7" y="17"/>
                    <a:pt x="0" y="16"/>
                  </a:cubicBezTo>
                  <a:cubicBezTo>
                    <a:pt x="0" y="37"/>
                    <a:pt x="0" y="37"/>
                    <a:pt x="0" y="37"/>
                  </a:cubicBezTo>
                  <a:cubicBezTo>
                    <a:pt x="64" y="36"/>
                    <a:pt x="121" y="28"/>
                    <a:pt x="170" y="15"/>
                  </a:cubicBezTo>
                  <a:cubicBezTo>
                    <a:pt x="170" y="0"/>
                    <a:pt x="170" y="0"/>
                    <a:pt x="170" y="0"/>
                  </a:cubicBezTo>
                  <a:cubicBezTo>
                    <a:pt x="151" y="4"/>
                    <a:pt x="133" y="7"/>
                    <a:pt x="114"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33">
              <a:extLst>
                <a:ext uri="{FF2B5EF4-FFF2-40B4-BE49-F238E27FC236}">
                  <a16:creationId xmlns:a16="http://schemas.microsoft.com/office/drawing/2014/main" id="{69F4783C-22D1-49FE-AD1C-136E0EBD3AEF}"/>
                </a:ext>
              </a:extLst>
            </p:cNvPr>
            <p:cNvSpPr>
              <a:spLocks/>
            </p:cNvSpPr>
            <p:nvPr userDrawn="1"/>
          </p:nvSpPr>
          <p:spPr bwMode="auto">
            <a:xfrm>
              <a:off x="3210" y="2302"/>
              <a:ext cx="71" cy="28"/>
            </a:xfrm>
            <a:custGeom>
              <a:avLst/>
              <a:gdLst>
                <a:gd name="T0" fmla="*/ 28 w 34"/>
                <a:gd name="T1" fmla="*/ 13 h 13"/>
                <a:gd name="T2" fmla="*/ 34 w 34"/>
                <a:gd name="T3" fmla="*/ 9 h 13"/>
                <a:gd name="T4" fmla="*/ 34 w 34"/>
                <a:gd name="T5" fmla="*/ 0 h 13"/>
                <a:gd name="T6" fmla="*/ 33 w 34"/>
                <a:gd name="T7" fmla="*/ 0 h 13"/>
                <a:gd name="T8" fmla="*/ 9 w 34"/>
                <a:gd name="T9" fmla="*/ 10 h 13"/>
                <a:gd name="T10" fmla="*/ 0 w 34"/>
                <a:gd name="T11" fmla="*/ 13 h 13"/>
                <a:gd name="T12" fmla="*/ 28 w 3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4" h="13">
                  <a:moveTo>
                    <a:pt x="28" y="13"/>
                  </a:moveTo>
                  <a:cubicBezTo>
                    <a:pt x="30" y="13"/>
                    <a:pt x="33" y="12"/>
                    <a:pt x="34" y="9"/>
                  </a:cubicBezTo>
                  <a:cubicBezTo>
                    <a:pt x="34" y="0"/>
                    <a:pt x="34" y="0"/>
                    <a:pt x="34" y="0"/>
                  </a:cubicBezTo>
                  <a:cubicBezTo>
                    <a:pt x="33" y="0"/>
                    <a:pt x="33" y="0"/>
                    <a:pt x="33" y="0"/>
                  </a:cubicBezTo>
                  <a:cubicBezTo>
                    <a:pt x="27" y="3"/>
                    <a:pt x="17" y="7"/>
                    <a:pt x="9" y="10"/>
                  </a:cubicBezTo>
                  <a:cubicBezTo>
                    <a:pt x="5" y="11"/>
                    <a:pt x="2" y="12"/>
                    <a:pt x="0" y="13"/>
                  </a:cubicBezTo>
                  <a:lnTo>
                    <a:pt x="28"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4">
              <a:extLst>
                <a:ext uri="{FF2B5EF4-FFF2-40B4-BE49-F238E27FC236}">
                  <a16:creationId xmlns:a16="http://schemas.microsoft.com/office/drawing/2014/main" id="{F38A966D-06F1-4BE6-A5CC-0D7D4411D2F8}"/>
                </a:ext>
              </a:extLst>
            </p:cNvPr>
            <p:cNvSpPr>
              <a:spLocks/>
            </p:cNvSpPr>
            <p:nvPr userDrawn="1"/>
          </p:nvSpPr>
          <p:spPr bwMode="auto">
            <a:xfrm>
              <a:off x="2640" y="2526"/>
              <a:ext cx="356" cy="88"/>
            </a:xfrm>
            <a:custGeom>
              <a:avLst/>
              <a:gdLst>
                <a:gd name="T0" fmla="*/ 170 w 170"/>
                <a:gd name="T1" fmla="*/ 0 h 42"/>
                <a:gd name="T2" fmla="*/ 0 w 170"/>
                <a:gd name="T3" fmla="*/ 21 h 42"/>
                <a:gd name="T4" fmla="*/ 0 w 170"/>
                <a:gd name="T5" fmla="*/ 40 h 42"/>
                <a:gd name="T6" fmla="*/ 0 w 170"/>
                <a:gd name="T7" fmla="*/ 41 h 42"/>
                <a:gd name="T8" fmla="*/ 0 w 170"/>
                <a:gd name="T9" fmla="*/ 42 h 42"/>
                <a:gd name="T10" fmla="*/ 66 w 170"/>
                <a:gd name="T11" fmla="*/ 36 h 42"/>
                <a:gd name="T12" fmla="*/ 170 w 170"/>
                <a:gd name="T13" fmla="*/ 15 h 42"/>
                <a:gd name="T14" fmla="*/ 170 w 170"/>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42">
                  <a:moveTo>
                    <a:pt x="170" y="0"/>
                  </a:moveTo>
                  <a:cubicBezTo>
                    <a:pt x="115" y="14"/>
                    <a:pt x="58" y="21"/>
                    <a:pt x="0" y="21"/>
                  </a:cubicBezTo>
                  <a:cubicBezTo>
                    <a:pt x="0" y="40"/>
                    <a:pt x="0" y="40"/>
                    <a:pt x="0" y="40"/>
                  </a:cubicBezTo>
                  <a:cubicBezTo>
                    <a:pt x="0" y="40"/>
                    <a:pt x="0" y="41"/>
                    <a:pt x="0" y="41"/>
                  </a:cubicBezTo>
                  <a:cubicBezTo>
                    <a:pt x="0" y="41"/>
                    <a:pt x="0" y="42"/>
                    <a:pt x="0" y="42"/>
                  </a:cubicBezTo>
                  <a:cubicBezTo>
                    <a:pt x="23" y="41"/>
                    <a:pt x="45" y="39"/>
                    <a:pt x="66" y="36"/>
                  </a:cubicBezTo>
                  <a:cubicBezTo>
                    <a:pt x="104" y="31"/>
                    <a:pt x="138" y="24"/>
                    <a:pt x="170" y="15"/>
                  </a:cubicBezTo>
                  <a:lnTo>
                    <a:pt x="17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5">
              <a:extLst>
                <a:ext uri="{FF2B5EF4-FFF2-40B4-BE49-F238E27FC236}">
                  <a16:creationId xmlns:a16="http://schemas.microsoft.com/office/drawing/2014/main" id="{B7AB077C-A4B2-4260-B6EC-2B990E1C1169}"/>
                </a:ext>
              </a:extLst>
            </p:cNvPr>
            <p:cNvSpPr>
              <a:spLocks/>
            </p:cNvSpPr>
            <p:nvPr userDrawn="1"/>
          </p:nvSpPr>
          <p:spPr bwMode="auto">
            <a:xfrm>
              <a:off x="2640" y="2397"/>
              <a:ext cx="356" cy="68"/>
            </a:xfrm>
            <a:custGeom>
              <a:avLst/>
              <a:gdLst>
                <a:gd name="T0" fmla="*/ 0 w 170"/>
                <a:gd name="T1" fmla="*/ 10 h 32"/>
                <a:gd name="T2" fmla="*/ 0 w 170"/>
                <a:gd name="T3" fmla="*/ 31 h 32"/>
                <a:gd name="T4" fmla="*/ 170 w 170"/>
                <a:gd name="T5" fmla="*/ 15 h 32"/>
                <a:gd name="T6" fmla="*/ 170 w 170"/>
                <a:gd name="T7" fmla="*/ 0 h 32"/>
                <a:gd name="T8" fmla="*/ 129 w 170"/>
                <a:gd name="T9" fmla="*/ 6 h 32"/>
                <a:gd name="T10" fmla="*/ 0 w 170"/>
                <a:gd name="T11" fmla="*/ 10 h 32"/>
              </a:gdLst>
              <a:ahLst/>
              <a:cxnLst>
                <a:cxn ang="0">
                  <a:pos x="T0" y="T1"/>
                </a:cxn>
                <a:cxn ang="0">
                  <a:pos x="T2" y="T3"/>
                </a:cxn>
                <a:cxn ang="0">
                  <a:pos x="T4" y="T5"/>
                </a:cxn>
                <a:cxn ang="0">
                  <a:pos x="T6" y="T7"/>
                </a:cxn>
                <a:cxn ang="0">
                  <a:pos x="T8" y="T9"/>
                </a:cxn>
                <a:cxn ang="0">
                  <a:pos x="T10" y="T11"/>
                </a:cxn>
              </a:cxnLst>
              <a:rect l="0" t="0" r="r" b="b"/>
              <a:pathLst>
                <a:path w="170" h="32">
                  <a:moveTo>
                    <a:pt x="0" y="10"/>
                  </a:moveTo>
                  <a:cubicBezTo>
                    <a:pt x="0" y="31"/>
                    <a:pt x="0" y="31"/>
                    <a:pt x="0" y="31"/>
                  </a:cubicBezTo>
                  <a:cubicBezTo>
                    <a:pt x="64" y="32"/>
                    <a:pt x="121" y="26"/>
                    <a:pt x="170" y="15"/>
                  </a:cubicBezTo>
                  <a:cubicBezTo>
                    <a:pt x="170" y="0"/>
                    <a:pt x="170" y="0"/>
                    <a:pt x="170" y="0"/>
                  </a:cubicBezTo>
                  <a:cubicBezTo>
                    <a:pt x="156" y="2"/>
                    <a:pt x="143" y="4"/>
                    <a:pt x="129" y="6"/>
                  </a:cubicBezTo>
                  <a:cubicBezTo>
                    <a:pt x="87" y="11"/>
                    <a:pt x="44" y="13"/>
                    <a:pt x="0"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669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ro slide">
    <p:bg>
      <p:bgRef idx="1001">
        <a:schemeClr val="bg1"/>
      </p:bgRef>
    </p:bg>
    <p:spTree>
      <p:nvGrpSpPr>
        <p:cNvPr id="1" name=""/>
        <p:cNvGrpSpPr/>
        <p:nvPr/>
      </p:nvGrpSpPr>
      <p:grpSpPr>
        <a:xfrm>
          <a:off x="0" y="0"/>
          <a:ext cx="0" cy="0"/>
          <a:chOff x="0" y="0"/>
          <a:chExt cx="0" cy="0"/>
        </a:xfrm>
      </p:grpSpPr>
      <p:sp>
        <p:nvSpPr>
          <p:cNvPr id="56" name="Vrije vorm: vorm 55">
            <a:extLst>
              <a:ext uri="{FF2B5EF4-FFF2-40B4-BE49-F238E27FC236}">
                <a16:creationId xmlns:a16="http://schemas.microsoft.com/office/drawing/2014/main" id="{38A4960D-E7E3-41FD-911E-F45DC9FFE60C}"/>
              </a:ext>
            </a:extLst>
          </p:cNvPr>
          <p:cNvSpPr/>
          <p:nvPr userDrawn="1"/>
        </p:nvSpPr>
        <p:spPr>
          <a:xfrm>
            <a:off x="214313" y="5822950"/>
            <a:ext cx="11758611"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1" name="Tijdelijke aanduiding voor afbeelding 90">
            <a:extLst>
              <a:ext uri="{FF2B5EF4-FFF2-40B4-BE49-F238E27FC236}">
                <a16:creationId xmlns:a16="http://schemas.microsoft.com/office/drawing/2014/main" id="{83CFC00C-DFE6-4B7F-8B82-DD6396BE3ECC}"/>
              </a:ext>
            </a:extLst>
          </p:cNvPr>
          <p:cNvSpPr>
            <a:spLocks noGrp="1"/>
          </p:cNvSpPr>
          <p:nvPr>
            <p:ph type="pic" sz="quarter" idx="14" hasCustomPrompt="1"/>
          </p:nvPr>
        </p:nvSpPr>
        <p:spPr>
          <a:xfrm>
            <a:off x="214313" y="219075"/>
            <a:ext cx="11758612"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
        <p:nvSpPr>
          <p:cNvPr id="6" name="Titel 5"/>
          <p:cNvSpPr>
            <a:spLocks noGrp="1"/>
          </p:cNvSpPr>
          <p:nvPr>
            <p:ph type="title" hasCustomPrompt="1"/>
          </p:nvPr>
        </p:nvSpPr>
        <p:spPr>
          <a:xfrm>
            <a:off x="710506" y="2018745"/>
            <a:ext cx="9482420" cy="2288285"/>
          </a:xfrm>
        </p:spPr>
        <p:txBody>
          <a:bodyPr anchor="ctr" anchorCtr="0"/>
          <a:lstStyle>
            <a:lvl1pPr algn="l">
              <a:defRPr sz="6000">
                <a:solidFill>
                  <a:schemeClr val="bg1"/>
                </a:solidFill>
              </a:defRPr>
            </a:lvl1pPr>
          </a:lstStyle>
          <a:p>
            <a:r>
              <a:rPr lang="nl-NL" dirty="0"/>
              <a:t>Plaats hier naam presentatie, max. 2 regels</a:t>
            </a:r>
          </a:p>
        </p:txBody>
      </p:sp>
      <p:sp>
        <p:nvSpPr>
          <p:cNvPr id="89" name="Ondertitel 2">
            <a:extLst>
              <a:ext uri="{FF2B5EF4-FFF2-40B4-BE49-F238E27FC236}">
                <a16:creationId xmlns:a16="http://schemas.microsoft.com/office/drawing/2014/main" id="{A7C0A800-829B-4A19-894F-F8B162F70D83}"/>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van de spreker / Datum</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5" name="Tijdelijke aanduiding voor verticale tekst 2">
            <a:extLst>
              <a:ext uri="{FF2B5EF4-FFF2-40B4-BE49-F238E27FC236}">
                <a16:creationId xmlns:a16="http://schemas.microsoft.com/office/drawing/2014/main" id="{7E418CF6-FDC7-49EC-88E1-0273D7F67C42}"/>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93" name="Vrije vorm: vorm 92">
            <a:extLst>
              <a:ext uri="{FF2B5EF4-FFF2-40B4-BE49-F238E27FC236}">
                <a16:creationId xmlns:a16="http://schemas.microsoft.com/office/drawing/2014/main" id="{E2545A05-A70A-432F-A89D-3DA2B8DAA1B1}"/>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 name="Groep 7">
            <a:extLst>
              <a:ext uri="{FF2B5EF4-FFF2-40B4-BE49-F238E27FC236}">
                <a16:creationId xmlns:a16="http://schemas.microsoft.com/office/drawing/2014/main" id="{DCBF13BD-7B11-4CA6-BF2C-646B9EAD8428}"/>
              </a:ext>
            </a:extLst>
          </p:cNvPr>
          <p:cNvGrpSpPr/>
          <p:nvPr userDrawn="1"/>
        </p:nvGrpSpPr>
        <p:grpSpPr>
          <a:xfrm>
            <a:off x="12377867" y="0"/>
            <a:ext cx="3593091" cy="6025208"/>
            <a:chOff x="12377867" y="0"/>
            <a:chExt cx="3593091" cy="6025208"/>
          </a:xfrm>
        </p:grpSpPr>
        <p:sp>
          <p:nvSpPr>
            <p:cNvPr id="17" name="Rechthoek 16">
              <a:extLst>
                <a:ext uri="{FF2B5EF4-FFF2-40B4-BE49-F238E27FC236}">
                  <a16:creationId xmlns:a16="http://schemas.microsoft.com/office/drawing/2014/main" id="{BA3BA1A8-F78B-42E9-BD03-9CE324025AEC}"/>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18" name="Ovaal 17">
              <a:extLst>
                <a:ext uri="{FF2B5EF4-FFF2-40B4-BE49-F238E27FC236}">
                  <a16:creationId xmlns:a16="http://schemas.microsoft.com/office/drawing/2014/main" id="{CE76B605-77FD-4A17-AE17-5426870F515C}"/>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 name="Rechthoek 18">
              <a:extLst>
                <a:ext uri="{FF2B5EF4-FFF2-40B4-BE49-F238E27FC236}">
                  <a16:creationId xmlns:a16="http://schemas.microsoft.com/office/drawing/2014/main" id="{C43FB312-766A-46A8-994D-704E76415489}"/>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0" name="Groep 19">
              <a:extLst>
                <a:ext uri="{FF2B5EF4-FFF2-40B4-BE49-F238E27FC236}">
                  <a16:creationId xmlns:a16="http://schemas.microsoft.com/office/drawing/2014/main" id="{0A831FD8-1618-43B6-8F7B-FFE8F8939F37}"/>
                </a:ext>
              </a:extLst>
            </p:cNvPr>
            <p:cNvGrpSpPr/>
            <p:nvPr userDrawn="1"/>
          </p:nvGrpSpPr>
          <p:grpSpPr>
            <a:xfrm>
              <a:off x="12847853" y="1231351"/>
              <a:ext cx="294789" cy="318834"/>
              <a:chOff x="14466489" y="1001522"/>
              <a:chExt cx="290627" cy="314333"/>
            </a:xfrm>
          </p:grpSpPr>
          <p:sp>
            <p:nvSpPr>
              <p:cNvPr id="81" name="Rechthoek 80">
                <a:extLst>
                  <a:ext uri="{FF2B5EF4-FFF2-40B4-BE49-F238E27FC236}">
                    <a16:creationId xmlns:a16="http://schemas.microsoft.com/office/drawing/2014/main" id="{9346272A-DBFE-4395-9653-D28552D6269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5308930D-8011-4456-B4FC-0C829A232C96}"/>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3" name="Vrije vorm: vorm 82">
                <a:extLst>
                  <a:ext uri="{FF2B5EF4-FFF2-40B4-BE49-F238E27FC236}">
                    <a16:creationId xmlns:a16="http://schemas.microsoft.com/office/drawing/2014/main" id="{ADEAAB21-888B-467D-B12B-3630505F7F9A}"/>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4" name="Rechthoek: afgeronde hoeken 83">
                <a:extLst>
                  <a:ext uri="{FF2B5EF4-FFF2-40B4-BE49-F238E27FC236}">
                    <a16:creationId xmlns:a16="http://schemas.microsoft.com/office/drawing/2014/main" id="{484F4980-8CCB-4803-B7F7-5FF50E64C7E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85" name="Rechte verbindingslijn 84">
                <a:extLst>
                  <a:ext uri="{FF2B5EF4-FFF2-40B4-BE49-F238E27FC236}">
                    <a16:creationId xmlns:a16="http://schemas.microsoft.com/office/drawing/2014/main" id="{9BFE9B91-21DE-4C8F-AE4C-DC3A8B862BDD}"/>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6" name="Rechte verbindingslijn 85">
                <a:extLst>
                  <a:ext uri="{FF2B5EF4-FFF2-40B4-BE49-F238E27FC236}">
                    <a16:creationId xmlns:a16="http://schemas.microsoft.com/office/drawing/2014/main" id="{B0008ADB-DEA8-4ADF-8E1C-892BB14E8D4D}"/>
                  </a:ext>
                </a:extLst>
              </p:cNvPr>
              <p:cNvCxnSpPr>
                <a:cxnSpLocks/>
                <a:stCxn id="8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 name="Ovaal 20">
              <a:extLst>
                <a:ext uri="{FF2B5EF4-FFF2-40B4-BE49-F238E27FC236}">
                  <a16:creationId xmlns:a16="http://schemas.microsoft.com/office/drawing/2014/main" id="{4A50AF5F-077F-4088-B43D-B89C60BC092E}"/>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2" name="Rechthoek 21">
              <a:extLst>
                <a:ext uri="{FF2B5EF4-FFF2-40B4-BE49-F238E27FC236}">
                  <a16:creationId xmlns:a16="http://schemas.microsoft.com/office/drawing/2014/main" id="{CC14D0D3-3C27-4A37-8C59-28285B6EEDE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3" name="Groep 22">
              <a:extLst>
                <a:ext uri="{FF2B5EF4-FFF2-40B4-BE49-F238E27FC236}">
                  <a16:creationId xmlns:a16="http://schemas.microsoft.com/office/drawing/2014/main" id="{0C089C27-0DD3-4572-98EF-F15E0E11E241}"/>
                </a:ext>
              </a:extLst>
            </p:cNvPr>
            <p:cNvGrpSpPr/>
            <p:nvPr userDrawn="1"/>
          </p:nvGrpSpPr>
          <p:grpSpPr>
            <a:xfrm>
              <a:off x="12852713" y="2164285"/>
              <a:ext cx="825500" cy="209550"/>
              <a:chOff x="13504624" y="2482850"/>
              <a:chExt cx="825500" cy="209550"/>
            </a:xfrm>
          </p:grpSpPr>
          <p:sp>
            <p:nvSpPr>
              <p:cNvPr id="77" name="Rechthoek 76">
                <a:extLst>
                  <a:ext uri="{FF2B5EF4-FFF2-40B4-BE49-F238E27FC236}">
                    <a16:creationId xmlns:a16="http://schemas.microsoft.com/office/drawing/2014/main" id="{7FDA307D-137B-44B6-8412-A6389D02613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9" name="Rechte verbindingslijn 78">
                <a:extLst>
                  <a:ext uri="{FF2B5EF4-FFF2-40B4-BE49-F238E27FC236}">
                    <a16:creationId xmlns:a16="http://schemas.microsoft.com/office/drawing/2014/main" id="{0358CE32-F986-456C-A930-C71A7ACBC3DE}"/>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0" name="Gelijkbenige driehoek 79">
                <a:extLst>
                  <a:ext uri="{FF2B5EF4-FFF2-40B4-BE49-F238E27FC236}">
                    <a16:creationId xmlns:a16="http://schemas.microsoft.com/office/drawing/2014/main" id="{666F7FC8-C97D-4085-BB94-40B94A9A31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24" name="Ovaal 23">
              <a:extLst>
                <a:ext uri="{FF2B5EF4-FFF2-40B4-BE49-F238E27FC236}">
                  <a16:creationId xmlns:a16="http://schemas.microsoft.com/office/drawing/2014/main" id="{D13E6B15-7186-4851-99FB-3AA6010EE580}"/>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5" name="Rechthoek 24">
              <a:extLst>
                <a:ext uri="{FF2B5EF4-FFF2-40B4-BE49-F238E27FC236}">
                  <a16:creationId xmlns:a16="http://schemas.microsoft.com/office/drawing/2014/main" id="{6E388BC4-102B-45F7-AA82-726E262CD67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6" name="Ovaal 25">
              <a:extLst>
                <a:ext uri="{FF2B5EF4-FFF2-40B4-BE49-F238E27FC236}">
                  <a16:creationId xmlns:a16="http://schemas.microsoft.com/office/drawing/2014/main" id="{19019366-34DE-4743-84CB-BF82DA5E4776}"/>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7" name="Rechthoek 26">
              <a:extLst>
                <a:ext uri="{FF2B5EF4-FFF2-40B4-BE49-F238E27FC236}">
                  <a16:creationId xmlns:a16="http://schemas.microsoft.com/office/drawing/2014/main" id="{0D75150D-66C3-4B22-913C-7286EF6A0DAB}"/>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28" name="Groep 27">
              <a:extLst>
                <a:ext uri="{FF2B5EF4-FFF2-40B4-BE49-F238E27FC236}">
                  <a16:creationId xmlns:a16="http://schemas.microsoft.com/office/drawing/2014/main" id="{ADD6184A-1D69-41FA-A241-86DBD04B6863}"/>
                </a:ext>
              </a:extLst>
            </p:cNvPr>
            <p:cNvGrpSpPr/>
            <p:nvPr userDrawn="1"/>
          </p:nvGrpSpPr>
          <p:grpSpPr>
            <a:xfrm>
              <a:off x="12755738" y="5236167"/>
              <a:ext cx="622283" cy="612919"/>
              <a:chOff x="12617641" y="3403239"/>
              <a:chExt cx="752963" cy="741634"/>
            </a:xfrm>
          </p:grpSpPr>
          <p:grpSp>
            <p:nvGrpSpPr>
              <p:cNvPr id="61" name="Groep 60">
                <a:extLst>
                  <a:ext uri="{FF2B5EF4-FFF2-40B4-BE49-F238E27FC236}">
                    <a16:creationId xmlns:a16="http://schemas.microsoft.com/office/drawing/2014/main" id="{F9179DF7-ECD8-4C3C-BA00-DAC8D03E9365}"/>
                  </a:ext>
                </a:extLst>
              </p:cNvPr>
              <p:cNvGrpSpPr/>
              <p:nvPr userDrawn="1"/>
            </p:nvGrpSpPr>
            <p:grpSpPr>
              <a:xfrm>
                <a:off x="12771550" y="3403239"/>
                <a:ext cx="467156" cy="448491"/>
                <a:chOff x="12782177" y="3403239"/>
                <a:chExt cx="467156" cy="448491"/>
              </a:xfrm>
            </p:grpSpPr>
            <p:grpSp>
              <p:nvGrpSpPr>
                <p:cNvPr id="64" name="Groep 63">
                  <a:extLst>
                    <a:ext uri="{FF2B5EF4-FFF2-40B4-BE49-F238E27FC236}">
                      <a16:creationId xmlns:a16="http://schemas.microsoft.com/office/drawing/2014/main" id="{3C7C72E8-B836-4299-990B-636F0D44455E}"/>
                    </a:ext>
                  </a:extLst>
                </p:cNvPr>
                <p:cNvGrpSpPr/>
                <p:nvPr userDrawn="1"/>
              </p:nvGrpSpPr>
              <p:grpSpPr>
                <a:xfrm>
                  <a:off x="12782177" y="3403239"/>
                  <a:ext cx="412972" cy="396132"/>
                  <a:chOff x="13554906" y="3320109"/>
                  <a:chExt cx="443912" cy="425811"/>
                </a:xfrm>
              </p:grpSpPr>
              <p:grpSp>
                <p:nvGrpSpPr>
                  <p:cNvPr id="71" name="Groep 70">
                    <a:extLst>
                      <a:ext uri="{FF2B5EF4-FFF2-40B4-BE49-F238E27FC236}">
                        <a16:creationId xmlns:a16="http://schemas.microsoft.com/office/drawing/2014/main" id="{2CF705E6-0301-465F-A2F8-D8DC83356942}"/>
                      </a:ext>
                    </a:extLst>
                  </p:cNvPr>
                  <p:cNvGrpSpPr/>
                  <p:nvPr userDrawn="1"/>
                </p:nvGrpSpPr>
                <p:grpSpPr>
                  <a:xfrm>
                    <a:off x="13554906" y="3320109"/>
                    <a:ext cx="443912" cy="425811"/>
                    <a:chOff x="12909684" y="1276143"/>
                    <a:chExt cx="443912" cy="425811"/>
                  </a:xfrm>
                </p:grpSpPr>
                <p:sp>
                  <p:nvSpPr>
                    <p:cNvPr id="74" name="Rechthoek 73">
                      <a:extLst>
                        <a:ext uri="{FF2B5EF4-FFF2-40B4-BE49-F238E27FC236}">
                          <a16:creationId xmlns:a16="http://schemas.microsoft.com/office/drawing/2014/main" id="{16E3C124-BA09-4694-A697-71314B20DDBF}"/>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6AD2EFE6-51E8-4DB0-9ADA-4DA1E23C9C4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6" name="Ovaal 75">
                      <a:extLst>
                        <a:ext uri="{FF2B5EF4-FFF2-40B4-BE49-F238E27FC236}">
                          <a16:creationId xmlns:a16="http://schemas.microsoft.com/office/drawing/2014/main" id="{08F3F84B-43F6-450A-9D4A-FF0C19A6A54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72" name="Afbeelding 71">
                    <a:extLst>
                      <a:ext uri="{FF2B5EF4-FFF2-40B4-BE49-F238E27FC236}">
                        <a16:creationId xmlns:a16="http://schemas.microsoft.com/office/drawing/2014/main" id="{EEFBB7EC-0B41-4879-BB49-B254DC646155}"/>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2"/>
                    <a:ext cx="173367" cy="140220"/>
                  </a:xfrm>
                  <a:prstGeom prst="rect">
                    <a:avLst/>
                  </a:prstGeom>
                </p:spPr>
              </p:pic>
              <p:pic>
                <p:nvPicPr>
                  <p:cNvPr id="73" name="Afbeelding 72">
                    <a:extLst>
                      <a:ext uri="{FF2B5EF4-FFF2-40B4-BE49-F238E27FC236}">
                        <a16:creationId xmlns:a16="http://schemas.microsoft.com/office/drawing/2014/main" id="{D55571D9-A290-4678-BB3B-252D11C56423}"/>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5" name="Groep 64">
                  <a:extLst>
                    <a:ext uri="{FF2B5EF4-FFF2-40B4-BE49-F238E27FC236}">
                      <a16:creationId xmlns:a16="http://schemas.microsoft.com/office/drawing/2014/main" id="{8E7D004D-F308-4412-9795-107FDA5A5F3D}"/>
                    </a:ext>
                  </a:extLst>
                </p:cNvPr>
                <p:cNvGrpSpPr/>
                <p:nvPr userDrawn="1"/>
              </p:nvGrpSpPr>
              <p:grpSpPr>
                <a:xfrm>
                  <a:off x="13103513" y="3705268"/>
                  <a:ext cx="145820" cy="146462"/>
                  <a:chOff x="13096169" y="3602278"/>
                  <a:chExt cx="145820" cy="146462"/>
                </a:xfrm>
              </p:grpSpPr>
              <p:sp>
                <p:nvSpPr>
                  <p:cNvPr id="69" name="Rechthoek 68">
                    <a:extLst>
                      <a:ext uri="{FF2B5EF4-FFF2-40B4-BE49-F238E27FC236}">
                        <a16:creationId xmlns:a16="http://schemas.microsoft.com/office/drawing/2014/main" id="{754CE14B-5480-4A9D-8364-8B8BF1E456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4B383B5F-EC2B-4994-BD73-69A8578A3F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66" name="Groep 65">
                  <a:extLst>
                    <a:ext uri="{FF2B5EF4-FFF2-40B4-BE49-F238E27FC236}">
                      <a16:creationId xmlns:a16="http://schemas.microsoft.com/office/drawing/2014/main" id="{A22A91B1-597B-40D5-AA69-3AAB0CFD382C}"/>
                    </a:ext>
                  </a:extLst>
                </p:cNvPr>
                <p:cNvGrpSpPr/>
                <p:nvPr userDrawn="1"/>
              </p:nvGrpSpPr>
              <p:grpSpPr>
                <a:xfrm rot="10800000">
                  <a:off x="13061402" y="3665637"/>
                  <a:ext cx="145820" cy="146462"/>
                  <a:chOff x="13096169" y="3602278"/>
                  <a:chExt cx="145820" cy="146462"/>
                </a:xfrm>
              </p:grpSpPr>
              <p:sp>
                <p:nvSpPr>
                  <p:cNvPr id="67" name="Rechthoek 66">
                    <a:extLst>
                      <a:ext uri="{FF2B5EF4-FFF2-40B4-BE49-F238E27FC236}">
                        <a16:creationId xmlns:a16="http://schemas.microsoft.com/office/drawing/2014/main" id="{FCC7E69D-2657-44C5-9690-89FCDED452F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60BBB5B9-EDDF-429B-99DE-BF7950D3A17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62" name="Rechthoek 61">
                <a:extLst>
                  <a:ext uri="{FF2B5EF4-FFF2-40B4-BE49-F238E27FC236}">
                    <a16:creationId xmlns:a16="http://schemas.microsoft.com/office/drawing/2014/main" id="{5F714493-C815-45B5-8EF6-96BAE30F3D8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63" name="Gelijkbenige driehoek 62">
                <a:extLst>
                  <a:ext uri="{FF2B5EF4-FFF2-40B4-BE49-F238E27FC236}">
                    <a16:creationId xmlns:a16="http://schemas.microsoft.com/office/drawing/2014/main" id="{708BF506-D060-4FDA-AE1E-0793BE670CE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5" name="Rechthoek 94">
              <a:extLst>
                <a:ext uri="{FF2B5EF4-FFF2-40B4-BE49-F238E27FC236}">
                  <a16:creationId xmlns:a16="http://schemas.microsoft.com/office/drawing/2014/main" id="{4199638F-3349-4D59-9E7D-3905ACC3E712}"/>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35" name="Groep 34">
              <a:extLst>
                <a:ext uri="{FF2B5EF4-FFF2-40B4-BE49-F238E27FC236}">
                  <a16:creationId xmlns:a16="http://schemas.microsoft.com/office/drawing/2014/main" id="{96D2ADE8-E569-4AEC-95BF-A8ED00A03233}"/>
                </a:ext>
              </a:extLst>
            </p:cNvPr>
            <p:cNvGrpSpPr/>
            <p:nvPr userDrawn="1"/>
          </p:nvGrpSpPr>
          <p:grpSpPr>
            <a:xfrm>
              <a:off x="13678213" y="3399207"/>
              <a:ext cx="1222990" cy="563933"/>
              <a:chOff x="-2485819" y="3399207"/>
              <a:chExt cx="1222990" cy="563933"/>
            </a:xfrm>
          </p:grpSpPr>
          <p:sp>
            <p:nvSpPr>
              <p:cNvPr id="36" name="Rechthoek 35">
                <a:extLst>
                  <a:ext uri="{FF2B5EF4-FFF2-40B4-BE49-F238E27FC236}">
                    <a16:creationId xmlns:a16="http://schemas.microsoft.com/office/drawing/2014/main" id="{5E7216BA-6EAC-4FB4-85AA-FE34096CF766}"/>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A2A1D33C-61DD-430F-BE6C-1E5C7401E84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85D49B85-EDCF-47C1-BA2A-823353BCDC46}"/>
                  </a:ext>
                </a:extLst>
              </p:cNvPr>
              <p:cNvGrpSpPr/>
              <p:nvPr userDrawn="1"/>
            </p:nvGrpSpPr>
            <p:grpSpPr>
              <a:xfrm>
                <a:off x="-2403869" y="3460544"/>
                <a:ext cx="155951" cy="131922"/>
                <a:chOff x="12968836" y="3354170"/>
                <a:chExt cx="404806" cy="342433"/>
              </a:xfrm>
            </p:grpSpPr>
            <p:sp>
              <p:nvSpPr>
                <p:cNvPr id="54" name="Rechthoek: afgeronde hoeken 53">
                  <a:extLst>
                    <a:ext uri="{FF2B5EF4-FFF2-40B4-BE49-F238E27FC236}">
                      <a16:creationId xmlns:a16="http://schemas.microsoft.com/office/drawing/2014/main" id="{8D020DE7-CF05-4D0B-BFCD-24CA477044F1}"/>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EEBB4C98-E2F6-4822-92C8-1C766E710A5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75E52C6F-27D8-401E-A5D1-30CE5292266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8" name="Rechthoek 57">
                  <a:extLst>
                    <a:ext uri="{FF2B5EF4-FFF2-40B4-BE49-F238E27FC236}">
                      <a16:creationId xmlns:a16="http://schemas.microsoft.com/office/drawing/2014/main" id="{F5FD327F-95E0-47DE-A54B-84E327FE00A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9DD0B40F-29B6-41BF-9A4D-8D2A61FF898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0" name="Rechthoek 59">
                  <a:extLst>
                    <a:ext uri="{FF2B5EF4-FFF2-40B4-BE49-F238E27FC236}">
                      <a16:creationId xmlns:a16="http://schemas.microsoft.com/office/drawing/2014/main" id="{8D24B7A4-E3D1-4A43-9598-1371C994129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A0321A32-96EF-4997-88FB-2D10299F26FC}"/>
                  </a:ext>
                </a:extLst>
              </p:cNvPr>
              <p:cNvGrpSpPr/>
              <p:nvPr userDrawn="1"/>
            </p:nvGrpSpPr>
            <p:grpSpPr>
              <a:xfrm>
                <a:off x="-2423424" y="3690208"/>
                <a:ext cx="166739" cy="218963"/>
                <a:chOff x="12940828" y="3950597"/>
                <a:chExt cx="432813" cy="568367"/>
              </a:xfrm>
            </p:grpSpPr>
            <p:grpSp>
              <p:nvGrpSpPr>
                <p:cNvPr id="43" name="Groep 42">
                  <a:extLst>
                    <a:ext uri="{FF2B5EF4-FFF2-40B4-BE49-F238E27FC236}">
                      <a16:creationId xmlns:a16="http://schemas.microsoft.com/office/drawing/2014/main" id="{D2132162-3ABD-4DDF-817D-65FFFD17722D}"/>
                    </a:ext>
                  </a:extLst>
                </p:cNvPr>
                <p:cNvGrpSpPr/>
                <p:nvPr userDrawn="1"/>
              </p:nvGrpSpPr>
              <p:grpSpPr>
                <a:xfrm>
                  <a:off x="13000382" y="4006891"/>
                  <a:ext cx="373259" cy="315747"/>
                  <a:chOff x="12968836" y="3354170"/>
                  <a:chExt cx="404806" cy="342433"/>
                </a:xfrm>
              </p:grpSpPr>
              <p:sp>
                <p:nvSpPr>
                  <p:cNvPr id="47" name="Rechthoek: afgeronde hoeken 46">
                    <a:extLst>
                      <a:ext uri="{FF2B5EF4-FFF2-40B4-BE49-F238E27FC236}">
                        <a16:creationId xmlns:a16="http://schemas.microsoft.com/office/drawing/2014/main" id="{2528F069-2FAA-4517-8284-23A7810B820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2B938A59-AD51-4888-A9A9-FD6BD3CC101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C63EE33F-1D0F-4898-A56C-B50665BC442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54149DA7-F931-4BFF-A7D8-4861A1A9A2F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B4761158-0E45-4148-99A6-68908FE3E37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3F5E6348-DFEE-489F-B1B5-981DCDB06C6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44" name="Boog 43">
                  <a:extLst>
                    <a:ext uri="{FF2B5EF4-FFF2-40B4-BE49-F238E27FC236}">
                      <a16:creationId xmlns:a16="http://schemas.microsoft.com/office/drawing/2014/main" id="{CD568D4F-61A3-45F7-8757-8F58C3D2FD7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40" name="Tekstvak 39">
                <a:extLst>
                  <a:ext uri="{FF2B5EF4-FFF2-40B4-BE49-F238E27FC236}">
                    <a16:creationId xmlns:a16="http://schemas.microsoft.com/office/drawing/2014/main" id="{B1C54369-69E1-4FB5-8EF6-D873D4C6E4AA}"/>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41" name="Tekstvak 40">
                <a:extLst>
                  <a:ext uri="{FF2B5EF4-FFF2-40B4-BE49-F238E27FC236}">
                    <a16:creationId xmlns:a16="http://schemas.microsoft.com/office/drawing/2014/main" id="{5F3487D0-DF9F-46CB-9B4D-E9AB69AC3F27}"/>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42" name="Vrije vorm: vorm 41">
                <a:extLst>
                  <a:ext uri="{FF2B5EF4-FFF2-40B4-BE49-F238E27FC236}">
                    <a16:creationId xmlns:a16="http://schemas.microsoft.com/office/drawing/2014/main" id="{AF222BDE-F022-4FD9-AE3A-FC023AA4861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9746132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8">
          <p15:clr>
            <a:srgbClr val="FBAE40"/>
          </p15:clr>
        </p15:guide>
        <p15:guide id="5" orient="horz" pos="4182">
          <p15:clr>
            <a:srgbClr val="FBAE40"/>
          </p15:clr>
        </p15:guide>
        <p15:guide id="6" pos="3840">
          <p15:clr>
            <a:srgbClr val="FBAE40"/>
          </p15:clr>
        </p15:guide>
        <p15:guide id="7"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ro slide #2">
    <p:spTree>
      <p:nvGrpSpPr>
        <p:cNvPr id="1" name=""/>
        <p:cNvGrpSpPr/>
        <p:nvPr/>
      </p:nvGrpSpPr>
      <p:grpSpPr>
        <a:xfrm>
          <a:off x="0" y="0"/>
          <a:ext cx="0" cy="0"/>
          <a:chOff x="0" y="0"/>
          <a:chExt cx="0" cy="0"/>
        </a:xfrm>
      </p:grpSpPr>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671651" y="2056048"/>
            <a:ext cx="9482420" cy="2288285"/>
          </a:xfrm>
        </p:spPr>
        <p:txBody>
          <a:bodyPr anchor="ctr" anchorCtr="0"/>
          <a:lstStyle>
            <a:lvl1pPr algn="l">
              <a:defRPr sz="6000">
                <a:solidFill>
                  <a:schemeClr val="tx2"/>
                </a:solidFill>
              </a:defRPr>
            </a:lvl1pPr>
          </a:lstStyle>
          <a:p>
            <a:r>
              <a:rPr lang="nl-NL" dirty="0"/>
              <a:t>Plaats hier naam presentatie, max. 2 regels</a:t>
            </a:r>
          </a:p>
        </p:txBody>
      </p:sp>
    </p:spTree>
    <p:extLst>
      <p:ext uri="{BB962C8B-B14F-4D97-AF65-F5344CB8AC3E}">
        <p14:creationId xmlns:p14="http://schemas.microsoft.com/office/powerpoint/2010/main" val="391058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houdsopgave">
    <p:bg>
      <p:bgPr>
        <a:solidFill>
          <a:schemeClr val="bg2"/>
        </a:solidFill>
        <a:effectLst/>
      </p:bgPr>
    </p:bg>
    <p:spTree>
      <p:nvGrpSpPr>
        <p:cNvPr id="1" name=""/>
        <p:cNvGrpSpPr/>
        <p:nvPr/>
      </p:nvGrpSpPr>
      <p:grpSpPr>
        <a:xfrm>
          <a:off x="0" y="0"/>
          <a:ext cx="0" cy="0"/>
          <a:chOff x="0" y="0"/>
          <a:chExt cx="0" cy="0"/>
        </a:xfrm>
      </p:grpSpPr>
      <p:sp>
        <p:nvSpPr>
          <p:cNvPr id="24" name="Rechthoek 23">
            <a:extLst>
              <a:ext uri="{FF2B5EF4-FFF2-40B4-BE49-F238E27FC236}">
                <a16:creationId xmlns:a16="http://schemas.microsoft.com/office/drawing/2014/main" id="{61A31FCC-0FC1-4096-92ED-1692E728521B}"/>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Vrije vorm: vorm 24">
            <a:extLst>
              <a:ext uri="{FF2B5EF4-FFF2-40B4-BE49-F238E27FC236}">
                <a16:creationId xmlns:a16="http://schemas.microsoft.com/office/drawing/2014/main" id="{B27B40E8-A3BB-409D-A7C6-C9AA7C5B3291}"/>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Tijdelijke aanduiding voor verticale tekst 2">
            <a:extLst>
              <a:ext uri="{FF2B5EF4-FFF2-40B4-BE49-F238E27FC236}">
                <a16:creationId xmlns:a16="http://schemas.microsoft.com/office/drawing/2014/main" id="{F4C6136B-8AB8-41CE-88F4-44F938EA17A2}"/>
              </a:ext>
            </a:extLst>
          </p:cNvPr>
          <p:cNvSpPr>
            <a:spLocks noGrp="1"/>
          </p:cNvSpPr>
          <p:nvPr>
            <p:ph type="body" orient="vert" idx="13" hasCustomPrompt="1"/>
          </p:nvPr>
        </p:nvSpPr>
        <p:spPr>
          <a:xfrm>
            <a:off x="515937" y="1341439"/>
            <a:ext cx="6724637" cy="4983161"/>
          </a:xfrm>
        </p:spPr>
        <p:txBody>
          <a:bodyPr vert="horz" lIns="0" tIns="0" rIns="0" bIns="0"/>
          <a:lstStyle>
            <a:lvl1pPr marL="342900" marR="0" indent="-342900" algn="l" defTabSz="719138" rtl="0" eaLnBrk="1" fontAlgn="auto" latinLnBrk="0" hangingPunct="1">
              <a:lnSpc>
                <a:spcPct val="90000"/>
              </a:lnSpc>
              <a:spcBef>
                <a:spcPts val="0"/>
              </a:spcBef>
              <a:spcAft>
                <a:spcPts val="1200"/>
              </a:spcAft>
              <a:buClrTx/>
              <a:buSzPct val="100000"/>
              <a:buFontTx/>
              <a:buAutoNum type="arabicPlain"/>
              <a:tabLst/>
              <a:defRPr b="1"/>
            </a:lvl1pPr>
            <a:lvl2pPr marL="0" indent="0">
              <a:buFontTx/>
              <a:buNone/>
              <a:defRPr b="1"/>
            </a:lvl2pPr>
            <a:lvl3pPr>
              <a:defRPr b="1"/>
            </a:lvl3pPr>
            <a:lvl4pPr>
              <a:defRPr sz="1600" b="1"/>
            </a:lvl4pPr>
            <a:lvl5pPr marL="0" indent="0">
              <a:buFontTx/>
              <a:buNone/>
              <a:defRPr b="1"/>
            </a:lvl5pPr>
            <a:lvl6pPr marL="0" indent="0">
              <a:buFontTx/>
              <a:buNone/>
              <a:defRPr b="1"/>
            </a:lvl6pPr>
            <a:lvl7pPr marL="0" indent="0">
              <a:buFontTx/>
              <a:buNone/>
              <a:defRPr b="1"/>
            </a:lvl7pPr>
            <a:lvl8pPr marL="0" indent="0">
              <a:buFontTx/>
              <a:buNone/>
              <a:defRPr b="1"/>
            </a:lvl8pPr>
            <a:lvl9pPr marL="0" indent="0">
              <a:buFontTx/>
              <a:buNone/>
              <a:defRPr b="1"/>
            </a:lvl9pPr>
          </a:lstStyle>
          <a:p>
            <a:pPr lvl="0"/>
            <a:r>
              <a:rPr lang="nl-NL" dirty="0"/>
              <a:t>Hoofdstuktitel</a:t>
            </a:r>
          </a:p>
          <a:p>
            <a:pPr lvl="0"/>
            <a:r>
              <a:rPr lang="nl-NL" dirty="0"/>
              <a:t>Hoofdstuktitel</a:t>
            </a:r>
          </a:p>
          <a:p>
            <a:pPr lvl="0"/>
            <a:r>
              <a:rPr lang="nl-NL" dirty="0"/>
              <a:t>Hoofdstuktitel</a:t>
            </a:r>
          </a:p>
          <a:p>
            <a:pPr lvl="0"/>
            <a:r>
              <a:rPr lang="nl-NL" dirty="0"/>
              <a:t>Hoofdstuktitel</a:t>
            </a:r>
          </a:p>
          <a:p>
            <a:pPr lvl="0"/>
            <a:r>
              <a:rPr lang="nl-NL" dirty="0"/>
              <a:t>Hoofdstuktitel</a:t>
            </a:r>
          </a:p>
          <a:p>
            <a:pPr lvl="0"/>
            <a:endParaRPr lang="nl-NL" dirty="0"/>
          </a:p>
        </p:txBody>
      </p:sp>
      <p:sp>
        <p:nvSpPr>
          <p:cNvPr id="7" name="Titel 6">
            <a:extLst>
              <a:ext uri="{FF2B5EF4-FFF2-40B4-BE49-F238E27FC236}">
                <a16:creationId xmlns:a16="http://schemas.microsoft.com/office/drawing/2014/main" id="{89B48D64-159D-4B53-AB38-BBF4EB3813DA}"/>
              </a:ext>
            </a:extLst>
          </p:cNvPr>
          <p:cNvSpPr>
            <a:spLocks noGrp="1"/>
          </p:cNvSpPr>
          <p:nvPr>
            <p:ph type="title" hasCustomPrompt="1"/>
          </p:nvPr>
        </p:nvSpPr>
        <p:spPr>
          <a:xfrm>
            <a:off x="515941" y="517525"/>
            <a:ext cx="6724638" cy="488950"/>
          </a:xfrm>
        </p:spPr>
        <p:txBody>
          <a:bodyPr/>
          <a:lstStyle>
            <a:lvl1pPr>
              <a:defRPr/>
            </a:lvl1pPr>
          </a:lstStyle>
          <a:p>
            <a:r>
              <a:rPr lang="nl-NL" dirty="0"/>
              <a:t>Inhoudsgave</a:t>
            </a:r>
          </a:p>
        </p:txBody>
      </p:sp>
      <p:grpSp>
        <p:nvGrpSpPr>
          <p:cNvPr id="8" name="INSTRUCTIE">
            <a:extLst>
              <a:ext uri="{FF2B5EF4-FFF2-40B4-BE49-F238E27FC236}">
                <a16:creationId xmlns:a16="http://schemas.microsoft.com/office/drawing/2014/main" id="{C9EE90D4-A0A0-4495-9C8E-6E5737F6DAAB}"/>
              </a:ext>
            </a:extLst>
          </p:cNvPr>
          <p:cNvGrpSpPr/>
          <p:nvPr userDrawn="1"/>
        </p:nvGrpSpPr>
        <p:grpSpPr>
          <a:xfrm>
            <a:off x="8469641" y="7033211"/>
            <a:ext cx="3727954" cy="1728407"/>
            <a:chOff x="5846" y="7033211"/>
            <a:chExt cx="3727954" cy="1728407"/>
          </a:xfrm>
        </p:grpSpPr>
        <p:sp>
          <p:nvSpPr>
            <p:cNvPr id="9" name="Rechthoek 8">
              <a:extLst>
                <a:ext uri="{FF2B5EF4-FFF2-40B4-BE49-F238E27FC236}">
                  <a16:creationId xmlns:a16="http://schemas.microsoft.com/office/drawing/2014/main" id="{F2B88298-AA5B-4587-8100-D53667A19BCF}"/>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0" name="Ovaal 9">
              <a:extLst>
                <a:ext uri="{FF2B5EF4-FFF2-40B4-BE49-F238E27FC236}">
                  <a16:creationId xmlns:a16="http://schemas.microsoft.com/office/drawing/2014/main" id="{61111456-E12E-488A-B6AE-3A8CD5E81E11}"/>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1C57F222-79BD-4EA5-BAEB-0D8D0804E00B}"/>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97D74CAE-6C2B-4CBB-A773-27C9475F7F3F}"/>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C6FA0992-5C3C-4744-BFFA-51F4D7DDBF29}"/>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4" name="Groep 13">
              <a:extLst>
                <a:ext uri="{FF2B5EF4-FFF2-40B4-BE49-F238E27FC236}">
                  <a16:creationId xmlns:a16="http://schemas.microsoft.com/office/drawing/2014/main" id="{EA52742E-A570-42A1-88CF-26CC34757BB3}"/>
                </a:ext>
              </a:extLst>
            </p:cNvPr>
            <p:cNvGrpSpPr/>
            <p:nvPr userDrawn="1"/>
          </p:nvGrpSpPr>
          <p:grpSpPr>
            <a:xfrm>
              <a:off x="2939884" y="7739834"/>
              <a:ext cx="681133" cy="750023"/>
              <a:chOff x="-910573" y="4987990"/>
              <a:chExt cx="681133" cy="750023"/>
            </a:xfrm>
          </p:grpSpPr>
          <p:grpSp>
            <p:nvGrpSpPr>
              <p:cNvPr id="15" name="Groep 14">
                <a:extLst>
                  <a:ext uri="{FF2B5EF4-FFF2-40B4-BE49-F238E27FC236}">
                    <a16:creationId xmlns:a16="http://schemas.microsoft.com/office/drawing/2014/main" id="{73D51ADA-A757-433A-AAE6-B1FDF01D4679}"/>
                  </a:ext>
                </a:extLst>
              </p:cNvPr>
              <p:cNvGrpSpPr/>
              <p:nvPr userDrawn="1"/>
            </p:nvGrpSpPr>
            <p:grpSpPr>
              <a:xfrm>
                <a:off x="-713542" y="4987990"/>
                <a:ext cx="287071" cy="379107"/>
                <a:chOff x="-4050578" y="288410"/>
                <a:chExt cx="322125" cy="379107"/>
              </a:xfrm>
            </p:grpSpPr>
            <p:sp>
              <p:nvSpPr>
                <p:cNvPr id="17" name="Rechthoek met één afgeknipte en afgeronde hoek 47">
                  <a:extLst>
                    <a:ext uri="{FF2B5EF4-FFF2-40B4-BE49-F238E27FC236}">
                      <a16:creationId xmlns:a16="http://schemas.microsoft.com/office/drawing/2014/main" id="{6A9943C9-BF77-40E5-976F-5F0CAD891131}"/>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8" name="Rechthoekige driehoek 17">
                  <a:extLst>
                    <a:ext uri="{FF2B5EF4-FFF2-40B4-BE49-F238E27FC236}">
                      <a16:creationId xmlns:a16="http://schemas.microsoft.com/office/drawing/2014/main" id="{9CEF26B4-7AC8-4DC1-A992-978AFFA0680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9" name="Rechthoek 18">
                  <a:extLst>
                    <a:ext uri="{FF2B5EF4-FFF2-40B4-BE49-F238E27FC236}">
                      <a16:creationId xmlns:a16="http://schemas.microsoft.com/office/drawing/2014/main" id="{1308D176-F97E-410B-8551-6C269E1D1519}"/>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 19">
                  <a:extLst>
                    <a:ext uri="{FF2B5EF4-FFF2-40B4-BE49-F238E27FC236}">
                      <a16:creationId xmlns:a16="http://schemas.microsoft.com/office/drawing/2014/main" id="{739441CC-C1AB-4AD6-A1EA-BEC67E3F91B2}"/>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6" name="Rechthoek 15">
                <a:extLst>
                  <a:ext uri="{FF2B5EF4-FFF2-40B4-BE49-F238E27FC236}">
                    <a16:creationId xmlns:a16="http://schemas.microsoft.com/office/drawing/2014/main" id="{E717644C-AB30-42F2-8B74-1E6E963E5A43}"/>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34" name="Tijdelijke aanduiding voor afbeelding 8">
            <a:extLst>
              <a:ext uri="{FF2B5EF4-FFF2-40B4-BE49-F238E27FC236}">
                <a16:creationId xmlns:a16="http://schemas.microsoft.com/office/drawing/2014/main" id="{2E1A8C8C-12B7-4157-B2FD-81809D307FF6}"/>
              </a:ext>
            </a:extLst>
          </p:cNvPr>
          <p:cNvSpPr>
            <a:spLocks noGrp="1"/>
          </p:cNvSpPr>
          <p:nvPr>
            <p:ph type="pic" sz="quarter" idx="28"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illustratie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Tree>
    <p:extLst>
      <p:ext uri="{BB962C8B-B14F-4D97-AF65-F5344CB8AC3E}">
        <p14:creationId xmlns:p14="http://schemas.microsoft.com/office/powerpoint/2010/main" val="54538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ok geel">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2D41F3F8-AC7A-4B2A-838F-36D10E5007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1730326" y="2419643"/>
            <a:ext cx="8975188" cy="329184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datum 3">
            <a:extLst>
              <a:ext uri="{FF2B5EF4-FFF2-40B4-BE49-F238E27FC236}">
                <a16:creationId xmlns:a16="http://schemas.microsoft.com/office/drawing/2014/main" id="{D0B9C490-22BA-434D-9251-C34DF860B66C}"/>
              </a:ext>
            </a:extLst>
          </p:cNvPr>
          <p:cNvSpPr>
            <a:spLocks noGrp="1"/>
          </p:cNvSpPr>
          <p:nvPr>
            <p:ph type="dt" sz="half" idx="10"/>
          </p:nvPr>
        </p:nvSpPr>
        <p:spPr/>
        <p:txBody>
          <a:bodyPr/>
          <a:lstStyle>
            <a:lvl1pPr>
              <a:defRPr/>
            </a:lvl1pPr>
          </a:lstStyle>
          <a:p>
            <a:pPr>
              <a:defRPr/>
            </a:pPr>
            <a:fld id="{F8DEE801-87CB-4802-96BD-426A12F6FBE2}" type="datetimeFigureOut">
              <a:rPr lang="nl-NL"/>
              <a:pPr>
                <a:defRPr/>
              </a:pPr>
              <a:t>28-9-2022</a:t>
            </a:fld>
            <a:endParaRPr lang="nl-NL"/>
          </a:p>
        </p:txBody>
      </p:sp>
      <p:sp>
        <p:nvSpPr>
          <p:cNvPr id="6" name="Tijdelijke aanduiding voor voettekst 4">
            <a:extLst>
              <a:ext uri="{FF2B5EF4-FFF2-40B4-BE49-F238E27FC236}">
                <a16:creationId xmlns:a16="http://schemas.microsoft.com/office/drawing/2014/main" id="{6ABB2A72-6FD1-4E9F-9E55-2E2C7A672AAC}"/>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A42CF524-29D3-451E-9FDA-BCB47AF13081}"/>
              </a:ext>
            </a:extLst>
          </p:cNvPr>
          <p:cNvSpPr>
            <a:spLocks noGrp="1"/>
          </p:cNvSpPr>
          <p:nvPr>
            <p:ph type="sldNum" sz="quarter" idx="12"/>
          </p:nvPr>
        </p:nvSpPr>
        <p:spPr/>
        <p:txBody>
          <a:bodyPr/>
          <a:lstStyle>
            <a:lvl1pPr>
              <a:defRPr/>
            </a:lvl1pPr>
          </a:lstStyle>
          <a:p>
            <a:pPr>
              <a:defRPr/>
            </a:pPr>
            <a:fld id="{B1A60D3B-B1E1-41B3-8CCA-05ABB4F5F3E9}" type="slidenum">
              <a:rPr lang="nl-NL"/>
              <a:pPr>
                <a:defRPr/>
              </a:pPr>
              <a:t>‹nr.›</a:t>
            </a:fld>
            <a:endParaRPr lang="nl-NL"/>
          </a:p>
        </p:txBody>
      </p:sp>
    </p:spTree>
    <p:extLst>
      <p:ext uri="{BB962C8B-B14F-4D97-AF65-F5344CB8AC3E}">
        <p14:creationId xmlns:p14="http://schemas.microsoft.com/office/powerpoint/2010/main" val="1770440263"/>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lIns="0" tIns="0" rIns="0" bIns="0"/>
          <a:lstStyle>
            <a:lvl1pPr algn="l">
              <a:defRPr/>
            </a:lvl1pPr>
          </a:lstStyle>
          <a:p>
            <a:r>
              <a:rPr lang="nl-NL" dirty="0"/>
              <a:t>Plaats hier je 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7" name="INSTRUCTIE">
            <a:extLst>
              <a:ext uri="{FF2B5EF4-FFF2-40B4-BE49-F238E27FC236}">
                <a16:creationId xmlns:a16="http://schemas.microsoft.com/office/drawing/2014/main" id="{58993356-AEAA-450E-BEA3-EA148EB6824C}"/>
              </a:ext>
            </a:extLst>
          </p:cNvPr>
          <p:cNvGrpSpPr/>
          <p:nvPr userDrawn="1"/>
        </p:nvGrpSpPr>
        <p:grpSpPr>
          <a:xfrm>
            <a:off x="8469641" y="7033211"/>
            <a:ext cx="3727954" cy="1728407"/>
            <a:chOff x="5846" y="7033211"/>
            <a:chExt cx="3727954" cy="1728407"/>
          </a:xfrm>
        </p:grpSpPr>
        <p:sp>
          <p:nvSpPr>
            <p:cNvPr id="8" name="Rechthoek 7">
              <a:extLst>
                <a:ext uri="{FF2B5EF4-FFF2-40B4-BE49-F238E27FC236}">
                  <a16:creationId xmlns:a16="http://schemas.microsoft.com/office/drawing/2014/main" id="{15A1E3FC-C68B-4E4E-840B-6160D1171326}"/>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9" name="Ovaal 8">
              <a:extLst>
                <a:ext uri="{FF2B5EF4-FFF2-40B4-BE49-F238E27FC236}">
                  <a16:creationId xmlns:a16="http://schemas.microsoft.com/office/drawing/2014/main" id="{A8B3312D-0C82-404A-9C17-D60C3530F5E9}"/>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133DE0F2-13A1-424F-AD54-1603266D0491}"/>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 name="Ovaal 10">
              <a:extLst>
                <a:ext uri="{FF2B5EF4-FFF2-40B4-BE49-F238E27FC236}">
                  <a16:creationId xmlns:a16="http://schemas.microsoft.com/office/drawing/2014/main" id="{72BB3767-0972-486C-9302-33B36461E67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A8207E75-1D9C-4919-87B5-23069868EB0C}"/>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 name="Groep 12">
              <a:extLst>
                <a:ext uri="{FF2B5EF4-FFF2-40B4-BE49-F238E27FC236}">
                  <a16:creationId xmlns:a16="http://schemas.microsoft.com/office/drawing/2014/main" id="{25B38D7F-65F3-460B-9689-8B30367C7658}"/>
                </a:ext>
              </a:extLst>
            </p:cNvPr>
            <p:cNvGrpSpPr/>
            <p:nvPr userDrawn="1"/>
          </p:nvGrpSpPr>
          <p:grpSpPr>
            <a:xfrm>
              <a:off x="2939884" y="7739834"/>
              <a:ext cx="681133" cy="750023"/>
              <a:chOff x="-910573" y="4987990"/>
              <a:chExt cx="681133" cy="750023"/>
            </a:xfrm>
          </p:grpSpPr>
          <p:grpSp>
            <p:nvGrpSpPr>
              <p:cNvPr id="14" name="Groep 13">
                <a:extLst>
                  <a:ext uri="{FF2B5EF4-FFF2-40B4-BE49-F238E27FC236}">
                    <a16:creationId xmlns:a16="http://schemas.microsoft.com/office/drawing/2014/main" id="{46EBDD78-51F3-4585-AB02-C2F160A8F2C3}"/>
                  </a:ext>
                </a:extLst>
              </p:cNvPr>
              <p:cNvGrpSpPr/>
              <p:nvPr userDrawn="1"/>
            </p:nvGrpSpPr>
            <p:grpSpPr>
              <a:xfrm>
                <a:off x="-713542" y="4987990"/>
                <a:ext cx="287071" cy="379107"/>
                <a:chOff x="-4050578" y="288410"/>
                <a:chExt cx="322125" cy="379107"/>
              </a:xfrm>
            </p:grpSpPr>
            <p:sp>
              <p:nvSpPr>
                <p:cNvPr id="16" name="Rechthoek met één afgeknipte en afgeronde hoek 47">
                  <a:extLst>
                    <a:ext uri="{FF2B5EF4-FFF2-40B4-BE49-F238E27FC236}">
                      <a16:creationId xmlns:a16="http://schemas.microsoft.com/office/drawing/2014/main" id="{8D7FA06A-EFED-4CD9-AFBE-0CC238AF3E0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7" name="Rechthoekige driehoek 16">
                  <a:extLst>
                    <a:ext uri="{FF2B5EF4-FFF2-40B4-BE49-F238E27FC236}">
                      <a16:creationId xmlns:a16="http://schemas.microsoft.com/office/drawing/2014/main" id="{1615038E-0650-4CBC-89C3-6A09D5E5099C}"/>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8" name="Rechthoek 17">
                  <a:extLst>
                    <a:ext uri="{FF2B5EF4-FFF2-40B4-BE49-F238E27FC236}">
                      <a16:creationId xmlns:a16="http://schemas.microsoft.com/office/drawing/2014/main" id="{2095AA90-B465-4861-8726-9D00028953F5}"/>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9" name="Rechthoek 18">
                  <a:extLst>
                    <a:ext uri="{FF2B5EF4-FFF2-40B4-BE49-F238E27FC236}">
                      <a16:creationId xmlns:a16="http://schemas.microsoft.com/office/drawing/2014/main" id="{B5C31300-740C-4341-9DA1-F6168913D5B0}"/>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5" name="Rechthoek 14">
                <a:extLst>
                  <a:ext uri="{FF2B5EF4-FFF2-40B4-BE49-F238E27FC236}">
                    <a16:creationId xmlns:a16="http://schemas.microsoft.com/office/drawing/2014/main" id="{FF592079-C55D-4280-B226-B8974DFCC457}"/>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266809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4x">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0" y="517525"/>
            <a:ext cx="11155359" cy="488950"/>
          </a:xfrm>
        </p:spPr>
        <p:txBody>
          <a:bodyPr lIns="0" tIns="0" rIns="0" bIns="0"/>
          <a:lstStyle>
            <a:lvl1pPr>
              <a:defRPr/>
            </a:lvl1pPr>
          </a:lstStyle>
          <a:p>
            <a:r>
              <a:rPr lang="nl-NL" dirty="0"/>
              <a:t>Plaats hier je titel</a:t>
            </a:r>
          </a:p>
        </p:txBody>
      </p:sp>
      <p:sp>
        <p:nvSpPr>
          <p:cNvPr id="3" name="Tijdelijke aanduiding voor verticale tekst 2"/>
          <p:cNvSpPr>
            <a:spLocks noGrp="1"/>
          </p:cNvSpPr>
          <p:nvPr>
            <p:ph type="body" orient="vert" idx="1" hasCustomPrompt="1"/>
          </p:nvPr>
        </p:nvSpPr>
        <p:spPr>
          <a:xfrm>
            <a:off x="1257300" y="1350710"/>
            <a:ext cx="4579937" cy="224974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9" name="Tijdelijke aanduiding voor verticale tekst 2">
            <a:extLst>
              <a:ext uri="{FF2B5EF4-FFF2-40B4-BE49-F238E27FC236}">
                <a16:creationId xmlns:a16="http://schemas.microsoft.com/office/drawing/2014/main" id="{EF38799E-87DB-43F6-A2B3-D357CD953966}"/>
              </a:ext>
            </a:extLst>
          </p:cNvPr>
          <p:cNvSpPr>
            <a:spLocks noGrp="1"/>
          </p:cNvSpPr>
          <p:nvPr>
            <p:ph type="body" orient="vert" idx="13" hasCustomPrompt="1"/>
          </p:nvPr>
        </p:nvSpPr>
        <p:spPr>
          <a:xfrm>
            <a:off x="7086600" y="1350710"/>
            <a:ext cx="4579937" cy="224974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p:txBody>
      </p:sp>
      <p:sp>
        <p:nvSpPr>
          <p:cNvPr id="19" name="Tijdelijke aanduiding voor verticale tekst 2">
            <a:extLst>
              <a:ext uri="{FF2B5EF4-FFF2-40B4-BE49-F238E27FC236}">
                <a16:creationId xmlns:a16="http://schemas.microsoft.com/office/drawing/2014/main" id="{A21DD857-DA2F-40BA-A62F-B9802363A2D2}"/>
              </a:ext>
            </a:extLst>
          </p:cNvPr>
          <p:cNvSpPr>
            <a:spLocks noGrp="1"/>
          </p:cNvSpPr>
          <p:nvPr>
            <p:ph type="body" orient="vert" idx="15" hasCustomPrompt="1"/>
          </p:nvPr>
        </p:nvSpPr>
        <p:spPr>
          <a:xfrm>
            <a:off x="1257300" y="4093910"/>
            <a:ext cx="4579937" cy="224974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p:txBody>
      </p:sp>
      <p:sp>
        <p:nvSpPr>
          <p:cNvPr id="20" name="Tijdelijke aanduiding voor verticale tekst 2">
            <a:extLst>
              <a:ext uri="{FF2B5EF4-FFF2-40B4-BE49-F238E27FC236}">
                <a16:creationId xmlns:a16="http://schemas.microsoft.com/office/drawing/2014/main" id="{884C4C6F-2241-4F3F-A5FF-873BA30F7A26}"/>
              </a:ext>
            </a:extLst>
          </p:cNvPr>
          <p:cNvSpPr>
            <a:spLocks noGrp="1"/>
          </p:cNvSpPr>
          <p:nvPr>
            <p:ph type="body" orient="vert" idx="16" hasCustomPrompt="1"/>
          </p:nvPr>
        </p:nvSpPr>
        <p:spPr>
          <a:xfrm>
            <a:off x="7086600" y="4093910"/>
            <a:ext cx="4579937" cy="224974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p:txBody>
      </p:sp>
      <p:sp>
        <p:nvSpPr>
          <p:cNvPr id="7" name="Tijdelijke aanduiding voor tekst 6">
            <a:extLst>
              <a:ext uri="{FF2B5EF4-FFF2-40B4-BE49-F238E27FC236}">
                <a16:creationId xmlns:a16="http://schemas.microsoft.com/office/drawing/2014/main" id="{A7CD8EA3-95B3-4BFC-9851-E3238574BAEF}"/>
              </a:ext>
            </a:extLst>
          </p:cNvPr>
          <p:cNvSpPr>
            <a:spLocks noGrp="1"/>
          </p:cNvSpPr>
          <p:nvPr>
            <p:ph type="body" sz="quarter" idx="17" hasCustomPrompt="1"/>
          </p:nvPr>
        </p:nvSpPr>
        <p:spPr>
          <a:xfrm>
            <a:off x="515938" y="1350710"/>
            <a:ext cx="476250" cy="476250"/>
          </a:xfrm>
          <a:prstGeom prst="ellipse">
            <a:avLst/>
          </a:prstGeom>
          <a:solidFill>
            <a:schemeClr val="accent2"/>
          </a:solidFill>
        </p:spPr>
        <p:txBody>
          <a:bodyPr tIns="36000" anchor="ctr" anchorCtr="0"/>
          <a:lstStyle>
            <a:lvl1pPr marL="0" indent="0" algn="ctr">
              <a:buNone/>
              <a:defRPr sz="1800" b="1"/>
            </a:lvl1pPr>
            <a:lvl4pPr algn="ctr">
              <a:defRPr>
                <a:solidFill>
                  <a:schemeClr val="tx2"/>
                </a:solidFill>
              </a:defRPr>
            </a:lvl4pPr>
          </a:lstStyle>
          <a:p>
            <a:pPr lvl="0"/>
            <a:r>
              <a:rPr lang="nl-NL" dirty="0"/>
              <a:t>1</a:t>
            </a:r>
          </a:p>
        </p:txBody>
      </p:sp>
      <p:sp>
        <p:nvSpPr>
          <p:cNvPr id="21" name="Tijdelijke aanduiding voor tekst 6">
            <a:extLst>
              <a:ext uri="{FF2B5EF4-FFF2-40B4-BE49-F238E27FC236}">
                <a16:creationId xmlns:a16="http://schemas.microsoft.com/office/drawing/2014/main" id="{6982E962-ECD7-428C-B807-962A08772E7B}"/>
              </a:ext>
            </a:extLst>
          </p:cNvPr>
          <p:cNvSpPr>
            <a:spLocks noGrp="1"/>
          </p:cNvSpPr>
          <p:nvPr>
            <p:ph type="body" sz="quarter" idx="18" hasCustomPrompt="1"/>
          </p:nvPr>
        </p:nvSpPr>
        <p:spPr>
          <a:xfrm>
            <a:off x="6345238" y="1350710"/>
            <a:ext cx="476250" cy="476250"/>
          </a:xfrm>
          <a:prstGeom prst="ellipse">
            <a:avLst/>
          </a:prstGeom>
          <a:solidFill>
            <a:schemeClr val="accent2"/>
          </a:solidFill>
        </p:spPr>
        <p:txBody>
          <a:bodyPr tIns="36000" anchor="ctr" anchorCtr="0"/>
          <a:lstStyle>
            <a:lvl1pPr marL="0" indent="0" algn="ctr">
              <a:buNone/>
              <a:defRPr sz="1800" b="1" i="0"/>
            </a:lvl1pPr>
            <a:lvl4pPr algn="ctr">
              <a:defRPr>
                <a:solidFill>
                  <a:schemeClr val="tx2"/>
                </a:solidFill>
              </a:defRPr>
            </a:lvl4pPr>
          </a:lstStyle>
          <a:p>
            <a:pPr lvl="0"/>
            <a:r>
              <a:rPr lang="nl-NL" dirty="0"/>
              <a:t>2</a:t>
            </a:r>
          </a:p>
        </p:txBody>
      </p:sp>
      <p:sp>
        <p:nvSpPr>
          <p:cNvPr id="22" name="Tijdelijke aanduiding voor tekst 6">
            <a:extLst>
              <a:ext uri="{FF2B5EF4-FFF2-40B4-BE49-F238E27FC236}">
                <a16:creationId xmlns:a16="http://schemas.microsoft.com/office/drawing/2014/main" id="{44362C43-81E1-4E01-81A5-7A59F2925863}"/>
              </a:ext>
            </a:extLst>
          </p:cNvPr>
          <p:cNvSpPr>
            <a:spLocks noGrp="1"/>
          </p:cNvSpPr>
          <p:nvPr>
            <p:ph type="body" sz="quarter" idx="19" hasCustomPrompt="1"/>
          </p:nvPr>
        </p:nvSpPr>
        <p:spPr>
          <a:xfrm>
            <a:off x="515938" y="4074860"/>
            <a:ext cx="476250" cy="476250"/>
          </a:xfrm>
          <a:prstGeom prst="ellipse">
            <a:avLst/>
          </a:prstGeom>
          <a:solidFill>
            <a:schemeClr val="accent2"/>
          </a:solidFill>
        </p:spPr>
        <p:txBody>
          <a:bodyPr tIns="36000" anchor="ctr" anchorCtr="0"/>
          <a:lstStyle>
            <a:lvl1pPr marL="0" indent="0" algn="ctr">
              <a:buNone/>
              <a:defRPr sz="1800" b="1"/>
            </a:lvl1pPr>
            <a:lvl4pPr algn="ctr">
              <a:defRPr>
                <a:solidFill>
                  <a:schemeClr val="tx2"/>
                </a:solidFill>
              </a:defRPr>
            </a:lvl4pPr>
          </a:lstStyle>
          <a:p>
            <a:pPr lvl="0"/>
            <a:r>
              <a:rPr lang="nl-NL" dirty="0"/>
              <a:t>3</a:t>
            </a:r>
          </a:p>
        </p:txBody>
      </p:sp>
      <p:sp>
        <p:nvSpPr>
          <p:cNvPr id="23" name="Tijdelijke aanduiding voor tekst 6">
            <a:extLst>
              <a:ext uri="{FF2B5EF4-FFF2-40B4-BE49-F238E27FC236}">
                <a16:creationId xmlns:a16="http://schemas.microsoft.com/office/drawing/2014/main" id="{1B9B5F42-723C-4687-96B6-54AC35F0152D}"/>
              </a:ext>
            </a:extLst>
          </p:cNvPr>
          <p:cNvSpPr>
            <a:spLocks noGrp="1"/>
          </p:cNvSpPr>
          <p:nvPr>
            <p:ph type="body" sz="quarter" idx="20" hasCustomPrompt="1"/>
          </p:nvPr>
        </p:nvSpPr>
        <p:spPr>
          <a:xfrm>
            <a:off x="6345238" y="4074860"/>
            <a:ext cx="476250" cy="476250"/>
          </a:xfrm>
          <a:prstGeom prst="ellipse">
            <a:avLst/>
          </a:prstGeom>
          <a:solidFill>
            <a:schemeClr val="accent2"/>
          </a:solidFill>
        </p:spPr>
        <p:txBody>
          <a:bodyPr tIns="36000" anchor="ctr" anchorCtr="0"/>
          <a:lstStyle>
            <a:lvl1pPr marL="0" indent="0" algn="ctr">
              <a:buNone/>
              <a:defRPr b="1" i="0"/>
            </a:lvl1pPr>
            <a:lvl4pPr algn="ctr">
              <a:defRPr>
                <a:solidFill>
                  <a:schemeClr val="tx2"/>
                </a:solidFill>
              </a:defRPr>
            </a:lvl4pPr>
          </a:lstStyle>
          <a:p>
            <a:pPr lvl="0"/>
            <a:r>
              <a:rPr lang="nl-NL" dirty="0"/>
              <a:t>4</a:t>
            </a:r>
          </a:p>
        </p:txBody>
      </p:sp>
      <p:grpSp>
        <p:nvGrpSpPr>
          <p:cNvPr id="13" name="INSTRUCTIE">
            <a:extLst>
              <a:ext uri="{FF2B5EF4-FFF2-40B4-BE49-F238E27FC236}">
                <a16:creationId xmlns:a16="http://schemas.microsoft.com/office/drawing/2014/main" id="{31A4FCBA-5ADE-48B5-A577-9913EA51696D}"/>
              </a:ext>
            </a:extLst>
          </p:cNvPr>
          <p:cNvGrpSpPr/>
          <p:nvPr userDrawn="1"/>
        </p:nvGrpSpPr>
        <p:grpSpPr>
          <a:xfrm>
            <a:off x="-3786165" y="0"/>
            <a:ext cx="3593091" cy="4641338"/>
            <a:chOff x="-3786165" y="0"/>
            <a:chExt cx="3593091" cy="4641338"/>
          </a:xfrm>
        </p:grpSpPr>
        <p:sp>
          <p:nvSpPr>
            <p:cNvPr id="14" name="Rechthoek 13">
              <a:extLst>
                <a:ext uri="{FF2B5EF4-FFF2-40B4-BE49-F238E27FC236}">
                  <a16:creationId xmlns:a16="http://schemas.microsoft.com/office/drawing/2014/main" id="{F0EBD1C2-DC95-4761-B760-3C2379EF4B81}"/>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5" name="Ovaal 14">
              <a:extLst>
                <a:ext uri="{FF2B5EF4-FFF2-40B4-BE49-F238E27FC236}">
                  <a16:creationId xmlns:a16="http://schemas.microsoft.com/office/drawing/2014/main" id="{D1335572-D546-4094-BCE8-0BBA2034CE8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 name="Rechthoek 15">
              <a:extLst>
                <a:ext uri="{FF2B5EF4-FFF2-40B4-BE49-F238E27FC236}">
                  <a16:creationId xmlns:a16="http://schemas.microsoft.com/office/drawing/2014/main" id="{6DAA5247-3E2E-4A59-B297-AFB8C12A1AE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17" name="Ovaal 16">
              <a:extLst>
                <a:ext uri="{FF2B5EF4-FFF2-40B4-BE49-F238E27FC236}">
                  <a16:creationId xmlns:a16="http://schemas.microsoft.com/office/drawing/2014/main" id="{3C36CBF5-8EE4-4189-84A3-E01A9714AA9E}"/>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8" name="Rechthoek 17">
              <a:extLst>
                <a:ext uri="{FF2B5EF4-FFF2-40B4-BE49-F238E27FC236}">
                  <a16:creationId xmlns:a16="http://schemas.microsoft.com/office/drawing/2014/main" id="{C5C936D1-5B57-400B-A45B-43990B46616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24" name="Rechthoek 23">
              <a:extLst>
                <a:ext uri="{FF2B5EF4-FFF2-40B4-BE49-F238E27FC236}">
                  <a16:creationId xmlns:a16="http://schemas.microsoft.com/office/drawing/2014/main" id="{0B54D00F-F8C3-4119-BA39-CDE8E5E9AD00}"/>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25" name="Ovaal 24">
              <a:extLst>
                <a:ext uri="{FF2B5EF4-FFF2-40B4-BE49-F238E27FC236}">
                  <a16:creationId xmlns:a16="http://schemas.microsoft.com/office/drawing/2014/main" id="{91C15416-FFD5-45CC-A54C-DD38D67175F0}"/>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6" name="Rechthoek 25">
              <a:extLst>
                <a:ext uri="{FF2B5EF4-FFF2-40B4-BE49-F238E27FC236}">
                  <a16:creationId xmlns:a16="http://schemas.microsoft.com/office/drawing/2014/main" id="{7AD5B0B8-9E69-446C-95E5-05E07B30D2F1}"/>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27" name="Ovaal 26">
              <a:extLst>
                <a:ext uri="{FF2B5EF4-FFF2-40B4-BE49-F238E27FC236}">
                  <a16:creationId xmlns:a16="http://schemas.microsoft.com/office/drawing/2014/main" id="{FD25E14A-98FB-4FA2-AA25-FB208DF9E7A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8" name="Rechthoek 27">
              <a:extLst>
                <a:ext uri="{FF2B5EF4-FFF2-40B4-BE49-F238E27FC236}">
                  <a16:creationId xmlns:a16="http://schemas.microsoft.com/office/drawing/2014/main" id="{EA393732-E6B2-4939-B73E-0837F9395F4E}"/>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29" name="Ovaal 28">
              <a:extLst>
                <a:ext uri="{FF2B5EF4-FFF2-40B4-BE49-F238E27FC236}">
                  <a16:creationId xmlns:a16="http://schemas.microsoft.com/office/drawing/2014/main" id="{72895ECB-7F9D-44DF-ABA5-261017F63B1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30" name="Rechthoek 29">
              <a:extLst>
                <a:ext uri="{FF2B5EF4-FFF2-40B4-BE49-F238E27FC236}">
                  <a16:creationId xmlns:a16="http://schemas.microsoft.com/office/drawing/2014/main" id="{09A29695-96E4-4AE2-90A8-9BDE1C06025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31" name="Ovaal 30">
              <a:extLst>
                <a:ext uri="{FF2B5EF4-FFF2-40B4-BE49-F238E27FC236}">
                  <a16:creationId xmlns:a16="http://schemas.microsoft.com/office/drawing/2014/main" id="{ACBA35DA-FF71-4CC7-AEDF-CE29C3DF251B}"/>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32" name="Rechthoek 31">
              <a:extLst>
                <a:ext uri="{FF2B5EF4-FFF2-40B4-BE49-F238E27FC236}">
                  <a16:creationId xmlns:a16="http://schemas.microsoft.com/office/drawing/2014/main" id="{103038DB-CC30-4CA0-88C5-B5C6A88CD02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33" name="Ovaal 32">
              <a:extLst>
                <a:ext uri="{FF2B5EF4-FFF2-40B4-BE49-F238E27FC236}">
                  <a16:creationId xmlns:a16="http://schemas.microsoft.com/office/drawing/2014/main" id="{1ADAD7B7-F862-4CC4-92E3-A45815BD8435}"/>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34" name="Rechthoek 33">
              <a:extLst>
                <a:ext uri="{FF2B5EF4-FFF2-40B4-BE49-F238E27FC236}">
                  <a16:creationId xmlns:a16="http://schemas.microsoft.com/office/drawing/2014/main" id="{EC9D2678-5BBB-4516-AD14-C10A748301A7}"/>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35" name="Ovaal 34">
              <a:extLst>
                <a:ext uri="{FF2B5EF4-FFF2-40B4-BE49-F238E27FC236}">
                  <a16:creationId xmlns:a16="http://schemas.microsoft.com/office/drawing/2014/main" id="{32BB5CFB-454F-4595-B7E3-893EA07A6911}"/>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36" name="Rechthoek 35">
              <a:extLst>
                <a:ext uri="{FF2B5EF4-FFF2-40B4-BE49-F238E27FC236}">
                  <a16:creationId xmlns:a16="http://schemas.microsoft.com/office/drawing/2014/main" id="{7A649F3D-8D2B-46C3-A885-597B589D751B}"/>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37" name="Ovaal 36">
              <a:extLst>
                <a:ext uri="{FF2B5EF4-FFF2-40B4-BE49-F238E27FC236}">
                  <a16:creationId xmlns:a16="http://schemas.microsoft.com/office/drawing/2014/main" id="{861D8D3C-1A34-4172-A0AE-CA107F27EC51}"/>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8" name="Rechthoek 37">
              <a:extLst>
                <a:ext uri="{FF2B5EF4-FFF2-40B4-BE49-F238E27FC236}">
                  <a16:creationId xmlns:a16="http://schemas.microsoft.com/office/drawing/2014/main" id="{7E9E3CA5-BDB8-4922-BD62-82EC3A835359}"/>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41" name="VOORBEELD">
              <a:extLst>
                <a:ext uri="{FF2B5EF4-FFF2-40B4-BE49-F238E27FC236}">
                  <a16:creationId xmlns:a16="http://schemas.microsoft.com/office/drawing/2014/main" id="{CBD95AC4-8587-4D10-8140-8E3A0C1CAE98}"/>
                </a:ext>
              </a:extLst>
            </p:cNvPr>
            <p:cNvGrpSpPr/>
            <p:nvPr userDrawn="1"/>
          </p:nvGrpSpPr>
          <p:grpSpPr>
            <a:xfrm>
              <a:off x="-3605171" y="458674"/>
              <a:ext cx="3234311" cy="558875"/>
              <a:chOff x="-3605171" y="458674"/>
              <a:chExt cx="3234311" cy="558875"/>
            </a:xfrm>
          </p:grpSpPr>
          <p:sp>
            <p:nvSpPr>
              <p:cNvPr id="42" name="Rechthoek 41">
                <a:extLst>
                  <a:ext uri="{FF2B5EF4-FFF2-40B4-BE49-F238E27FC236}">
                    <a16:creationId xmlns:a16="http://schemas.microsoft.com/office/drawing/2014/main" id="{403DC4DF-DF57-4BF5-88CF-2761F928B20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43" name="Rechthoek 42">
                <a:extLst>
                  <a:ext uri="{FF2B5EF4-FFF2-40B4-BE49-F238E27FC236}">
                    <a16:creationId xmlns:a16="http://schemas.microsoft.com/office/drawing/2014/main" id="{DCAE70B5-44C5-44FC-A383-A24B9A7BE5DF}"/>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4" name="Groep 43">
                <a:extLst>
                  <a:ext uri="{FF2B5EF4-FFF2-40B4-BE49-F238E27FC236}">
                    <a16:creationId xmlns:a16="http://schemas.microsoft.com/office/drawing/2014/main" id="{780C5B10-1A7C-4DA6-8C2F-E243CC8B6B30}"/>
                  </a:ext>
                </a:extLst>
              </p:cNvPr>
              <p:cNvGrpSpPr/>
              <p:nvPr userDrawn="1"/>
            </p:nvGrpSpPr>
            <p:grpSpPr>
              <a:xfrm>
                <a:off x="-3386247" y="830871"/>
                <a:ext cx="139423" cy="109566"/>
                <a:chOff x="-2866744" y="827071"/>
                <a:chExt cx="168701" cy="132575"/>
              </a:xfrm>
            </p:grpSpPr>
            <p:grpSp>
              <p:nvGrpSpPr>
                <p:cNvPr id="75" name="Groep 74">
                  <a:extLst>
                    <a:ext uri="{FF2B5EF4-FFF2-40B4-BE49-F238E27FC236}">
                      <a16:creationId xmlns:a16="http://schemas.microsoft.com/office/drawing/2014/main" id="{48AF06DA-71A8-4E2E-9073-6DDADC0777E2}"/>
                    </a:ext>
                  </a:extLst>
                </p:cNvPr>
                <p:cNvGrpSpPr/>
                <p:nvPr userDrawn="1"/>
              </p:nvGrpSpPr>
              <p:grpSpPr>
                <a:xfrm>
                  <a:off x="-2866744" y="827071"/>
                  <a:ext cx="168701" cy="132575"/>
                  <a:chOff x="-2866744" y="827071"/>
                  <a:chExt cx="168701" cy="132575"/>
                </a:xfrm>
              </p:grpSpPr>
              <p:cxnSp>
                <p:nvCxnSpPr>
                  <p:cNvPr id="77" name="Rechte verbindingslijn 76">
                    <a:extLst>
                      <a:ext uri="{FF2B5EF4-FFF2-40B4-BE49-F238E27FC236}">
                        <a16:creationId xmlns:a16="http://schemas.microsoft.com/office/drawing/2014/main" id="{A4020ED5-3EE8-4D85-8DB2-16256A692AA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166B1B9-945B-4F42-8757-E30315A3D70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20BF7873-2891-4A7F-B9F1-EB10AD4896C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5AD97465-5BC2-46DA-ADEE-DFFA385207B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6A5D1974-00A8-438D-93C5-9FB26A7DF8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7AE7B0F7-79B0-4260-A347-A262CDB29A9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45" name="Groep 44">
                <a:extLst>
                  <a:ext uri="{FF2B5EF4-FFF2-40B4-BE49-F238E27FC236}">
                    <a16:creationId xmlns:a16="http://schemas.microsoft.com/office/drawing/2014/main" id="{B00E63B8-59B9-4E28-B996-873EA3CF89EF}"/>
                  </a:ext>
                </a:extLst>
              </p:cNvPr>
              <p:cNvGrpSpPr/>
              <p:nvPr userDrawn="1"/>
            </p:nvGrpSpPr>
            <p:grpSpPr>
              <a:xfrm>
                <a:off x="-3605171" y="830871"/>
                <a:ext cx="139423" cy="109566"/>
                <a:chOff x="-2866744" y="518074"/>
                <a:chExt cx="168701" cy="132575"/>
              </a:xfrm>
            </p:grpSpPr>
            <p:grpSp>
              <p:nvGrpSpPr>
                <p:cNvPr id="68" name="Groep 67">
                  <a:extLst>
                    <a:ext uri="{FF2B5EF4-FFF2-40B4-BE49-F238E27FC236}">
                      <a16:creationId xmlns:a16="http://schemas.microsoft.com/office/drawing/2014/main" id="{6F4F10D6-6E22-47C0-8914-631D92A71B4B}"/>
                    </a:ext>
                  </a:extLst>
                </p:cNvPr>
                <p:cNvGrpSpPr/>
                <p:nvPr userDrawn="1"/>
              </p:nvGrpSpPr>
              <p:grpSpPr>
                <a:xfrm>
                  <a:off x="-2866744" y="518074"/>
                  <a:ext cx="168701" cy="132575"/>
                  <a:chOff x="-2866744" y="518074"/>
                  <a:chExt cx="168701" cy="132575"/>
                </a:xfrm>
              </p:grpSpPr>
              <p:cxnSp>
                <p:nvCxnSpPr>
                  <p:cNvPr id="70" name="Rechte verbindingslijn 69">
                    <a:extLst>
                      <a:ext uri="{FF2B5EF4-FFF2-40B4-BE49-F238E27FC236}">
                        <a16:creationId xmlns:a16="http://schemas.microsoft.com/office/drawing/2014/main" id="{D1A6A227-42C5-4D35-BCE6-D257434F93B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810FC00A-FD6C-4FE7-A6D3-9AB21C726B9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E2338FFB-3673-42DF-80E6-09D07B29262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424F99C2-0FC4-4E00-AF74-012711F9344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64C90979-890F-405F-8919-8E1608EDD08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80564FC3-C358-4E69-B40A-462D269E1F6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46" name="Rechte verbindingslijn 45">
                <a:extLst>
                  <a:ext uri="{FF2B5EF4-FFF2-40B4-BE49-F238E27FC236}">
                    <a16:creationId xmlns:a16="http://schemas.microsoft.com/office/drawing/2014/main" id="{3A9DB47E-1A25-412A-8DF1-9BDA3308AC3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7" name="Rechte verbindingslijn 46">
                <a:extLst>
                  <a:ext uri="{FF2B5EF4-FFF2-40B4-BE49-F238E27FC236}">
                    <a16:creationId xmlns:a16="http://schemas.microsoft.com/office/drawing/2014/main" id="{5262762F-9995-4902-9527-9AF7CF330C3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8" name="Rechthoek 47">
                <a:extLst>
                  <a:ext uri="{FF2B5EF4-FFF2-40B4-BE49-F238E27FC236}">
                    <a16:creationId xmlns:a16="http://schemas.microsoft.com/office/drawing/2014/main" id="{DD2585A6-D14E-4C41-998C-FF8E0785444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49" name="Rechthoek 48">
                <a:extLst>
                  <a:ext uri="{FF2B5EF4-FFF2-40B4-BE49-F238E27FC236}">
                    <a16:creationId xmlns:a16="http://schemas.microsoft.com/office/drawing/2014/main" id="{5E6E075B-8B7C-4924-8267-55FBEAB9A24D}"/>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50" name="Groep 49">
                <a:extLst>
                  <a:ext uri="{FF2B5EF4-FFF2-40B4-BE49-F238E27FC236}">
                    <a16:creationId xmlns:a16="http://schemas.microsoft.com/office/drawing/2014/main" id="{36E70F9A-E966-4869-A380-04B9E8A87A09}"/>
                  </a:ext>
                </a:extLst>
              </p:cNvPr>
              <p:cNvGrpSpPr/>
              <p:nvPr userDrawn="1"/>
            </p:nvGrpSpPr>
            <p:grpSpPr>
              <a:xfrm>
                <a:off x="-2916763" y="769168"/>
                <a:ext cx="268738" cy="248381"/>
                <a:chOff x="-2916763" y="769168"/>
                <a:chExt cx="268738" cy="248381"/>
              </a:xfrm>
            </p:grpSpPr>
            <p:sp>
              <p:nvSpPr>
                <p:cNvPr id="60" name="Rechthoek 59">
                  <a:extLst>
                    <a:ext uri="{FF2B5EF4-FFF2-40B4-BE49-F238E27FC236}">
                      <a16:creationId xmlns:a16="http://schemas.microsoft.com/office/drawing/2014/main" id="{BC02AC40-3574-4B85-91E8-F077E861898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61" name="Groep 60">
                  <a:extLst>
                    <a:ext uri="{FF2B5EF4-FFF2-40B4-BE49-F238E27FC236}">
                      <a16:creationId xmlns:a16="http://schemas.microsoft.com/office/drawing/2014/main" id="{80C301B9-35F2-46D8-9A88-EBA390FFFA94}"/>
                    </a:ext>
                  </a:extLst>
                </p:cNvPr>
                <p:cNvGrpSpPr/>
                <p:nvPr userDrawn="1"/>
              </p:nvGrpSpPr>
              <p:grpSpPr>
                <a:xfrm>
                  <a:off x="-2866744" y="827071"/>
                  <a:ext cx="168701" cy="132575"/>
                  <a:chOff x="-2866744" y="827071"/>
                  <a:chExt cx="168701" cy="132575"/>
                </a:xfrm>
              </p:grpSpPr>
              <p:cxnSp>
                <p:nvCxnSpPr>
                  <p:cNvPr id="63" name="Rechte verbindingslijn 62">
                    <a:extLst>
                      <a:ext uri="{FF2B5EF4-FFF2-40B4-BE49-F238E27FC236}">
                        <a16:creationId xmlns:a16="http://schemas.microsoft.com/office/drawing/2014/main" id="{E951A51A-279D-4860-BAD5-F54FFE15754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2D5088EB-665A-4E8A-B973-FDD289CE00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0523D13-432D-4FFB-BE1A-EA252A046B1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4AE732B-6D00-4E7C-85A6-C5DAFFA06ED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30C8C19A-92F8-4F6B-9DF6-57E49AA0DE7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2" name="Pijl: rechts 61">
                  <a:extLst>
                    <a:ext uri="{FF2B5EF4-FFF2-40B4-BE49-F238E27FC236}">
                      <a16:creationId xmlns:a16="http://schemas.microsoft.com/office/drawing/2014/main" id="{6F7B62FB-2D9E-4661-8807-8C17F050802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51" name="Groep 50">
                <a:extLst>
                  <a:ext uri="{FF2B5EF4-FFF2-40B4-BE49-F238E27FC236}">
                    <a16:creationId xmlns:a16="http://schemas.microsoft.com/office/drawing/2014/main" id="{D8A5836B-4728-42D1-B91E-C59370CA0425}"/>
                  </a:ext>
                </a:extLst>
              </p:cNvPr>
              <p:cNvGrpSpPr/>
              <p:nvPr userDrawn="1"/>
            </p:nvGrpSpPr>
            <p:grpSpPr>
              <a:xfrm>
                <a:off x="-2916763" y="460171"/>
                <a:ext cx="268738" cy="248381"/>
                <a:chOff x="-2916763" y="460171"/>
                <a:chExt cx="268738" cy="248381"/>
              </a:xfrm>
            </p:grpSpPr>
            <p:sp>
              <p:nvSpPr>
                <p:cNvPr id="52" name="Rechthoek 51">
                  <a:extLst>
                    <a:ext uri="{FF2B5EF4-FFF2-40B4-BE49-F238E27FC236}">
                      <a16:creationId xmlns:a16="http://schemas.microsoft.com/office/drawing/2014/main" id="{A12AB5B0-DB87-4F56-A53B-C36290B80BF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53" name="Groep 52">
                  <a:extLst>
                    <a:ext uri="{FF2B5EF4-FFF2-40B4-BE49-F238E27FC236}">
                      <a16:creationId xmlns:a16="http://schemas.microsoft.com/office/drawing/2014/main" id="{26EF6D0D-1339-4083-8E71-036B2E6F6276}"/>
                    </a:ext>
                  </a:extLst>
                </p:cNvPr>
                <p:cNvGrpSpPr/>
                <p:nvPr userDrawn="1"/>
              </p:nvGrpSpPr>
              <p:grpSpPr>
                <a:xfrm>
                  <a:off x="-2866744" y="518074"/>
                  <a:ext cx="168701" cy="132575"/>
                  <a:chOff x="-2866744" y="518074"/>
                  <a:chExt cx="168701" cy="132575"/>
                </a:xfrm>
              </p:grpSpPr>
              <p:cxnSp>
                <p:nvCxnSpPr>
                  <p:cNvPr id="55" name="Rechte verbindingslijn 54">
                    <a:extLst>
                      <a:ext uri="{FF2B5EF4-FFF2-40B4-BE49-F238E27FC236}">
                        <a16:creationId xmlns:a16="http://schemas.microsoft.com/office/drawing/2014/main" id="{3EFAA50C-FC81-4C8A-A009-34520C9B0A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B6476EE6-7F84-4330-85A5-2F816954BBF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10B360A4-C163-4E22-8B0D-B632E041F5D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05121B60-F0D4-4B86-A1DC-200CAA4B31A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50993B5B-BF49-40E2-9BFF-DFC6165A595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4" name="Pijl: rechts 53">
                  <a:extLst>
                    <a:ext uri="{FF2B5EF4-FFF2-40B4-BE49-F238E27FC236}">
                      <a16:creationId xmlns:a16="http://schemas.microsoft.com/office/drawing/2014/main" id="{9A6985F7-F683-45DC-BCAE-4F0C7BFF7D8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84" name="INSTRUCTIE">
            <a:extLst>
              <a:ext uri="{FF2B5EF4-FFF2-40B4-BE49-F238E27FC236}">
                <a16:creationId xmlns:a16="http://schemas.microsoft.com/office/drawing/2014/main" id="{8D3D1E89-DEC6-4093-9055-1E98098ADF50}"/>
              </a:ext>
            </a:extLst>
          </p:cNvPr>
          <p:cNvGrpSpPr/>
          <p:nvPr userDrawn="1"/>
        </p:nvGrpSpPr>
        <p:grpSpPr>
          <a:xfrm>
            <a:off x="8469641" y="7033211"/>
            <a:ext cx="3727954" cy="1728407"/>
            <a:chOff x="5846" y="7033211"/>
            <a:chExt cx="3727954" cy="1728407"/>
          </a:xfrm>
        </p:grpSpPr>
        <p:sp>
          <p:nvSpPr>
            <p:cNvPr id="85" name="Rechthoek 84">
              <a:extLst>
                <a:ext uri="{FF2B5EF4-FFF2-40B4-BE49-F238E27FC236}">
                  <a16:creationId xmlns:a16="http://schemas.microsoft.com/office/drawing/2014/main" id="{69204D86-B56F-476F-AB56-E9611D06E1AD}"/>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86" name="Ovaal 85">
              <a:extLst>
                <a:ext uri="{FF2B5EF4-FFF2-40B4-BE49-F238E27FC236}">
                  <a16:creationId xmlns:a16="http://schemas.microsoft.com/office/drawing/2014/main" id="{C6F3227F-CA4D-415A-BBBF-D8FDDC8B3A26}"/>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7" name="Rechthoek 86">
              <a:extLst>
                <a:ext uri="{FF2B5EF4-FFF2-40B4-BE49-F238E27FC236}">
                  <a16:creationId xmlns:a16="http://schemas.microsoft.com/office/drawing/2014/main" id="{2BFB4C32-CF9C-46B8-AD39-5D8DF4458FEA}"/>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F584165C-479B-4CD2-8BB3-CE2F108A3889}"/>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0DAE7D80-F5DA-4019-86AD-152AF450CCE2}"/>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90" name="Groep 89">
              <a:extLst>
                <a:ext uri="{FF2B5EF4-FFF2-40B4-BE49-F238E27FC236}">
                  <a16:creationId xmlns:a16="http://schemas.microsoft.com/office/drawing/2014/main" id="{920F4F61-7695-4192-B4FA-D49364F33A3C}"/>
                </a:ext>
              </a:extLst>
            </p:cNvPr>
            <p:cNvGrpSpPr/>
            <p:nvPr userDrawn="1"/>
          </p:nvGrpSpPr>
          <p:grpSpPr>
            <a:xfrm>
              <a:off x="2939884" y="7739834"/>
              <a:ext cx="681133" cy="750023"/>
              <a:chOff x="-910573" y="4987990"/>
              <a:chExt cx="681133" cy="750023"/>
            </a:xfrm>
          </p:grpSpPr>
          <p:grpSp>
            <p:nvGrpSpPr>
              <p:cNvPr id="91" name="Groep 90">
                <a:extLst>
                  <a:ext uri="{FF2B5EF4-FFF2-40B4-BE49-F238E27FC236}">
                    <a16:creationId xmlns:a16="http://schemas.microsoft.com/office/drawing/2014/main" id="{B7AEBFC5-6EA3-4DEC-9825-77E2D97E92C4}"/>
                  </a:ext>
                </a:extLst>
              </p:cNvPr>
              <p:cNvGrpSpPr/>
              <p:nvPr userDrawn="1"/>
            </p:nvGrpSpPr>
            <p:grpSpPr>
              <a:xfrm>
                <a:off x="-713542" y="4987990"/>
                <a:ext cx="287071" cy="379107"/>
                <a:chOff x="-4050578" y="288410"/>
                <a:chExt cx="322125" cy="379107"/>
              </a:xfrm>
            </p:grpSpPr>
            <p:sp>
              <p:nvSpPr>
                <p:cNvPr id="93" name="Rechthoek met één afgeknipte en afgeronde hoek 47">
                  <a:extLst>
                    <a:ext uri="{FF2B5EF4-FFF2-40B4-BE49-F238E27FC236}">
                      <a16:creationId xmlns:a16="http://schemas.microsoft.com/office/drawing/2014/main" id="{B07BB9F4-71A9-43B1-8461-BFD10CFEA81F}"/>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ige driehoek 93">
                  <a:extLst>
                    <a:ext uri="{FF2B5EF4-FFF2-40B4-BE49-F238E27FC236}">
                      <a16:creationId xmlns:a16="http://schemas.microsoft.com/office/drawing/2014/main" id="{2544BF7C-3A4E-4DA3-AC6E-2AEE3FE8A30B}"/>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5" name="Rechthoek 94">
                  <a:extLst>
                    <a:ext uri="{FF2B5EF4-FFF2-40B4-BE49-F238E27FC236}">
                      <a16:creationId xmlns:a16="http://schemas.microsoft.com/office/drawing/2014/main" id="{9EF881A9-9F1A-48EB-ABD6-BA5AF4A4ED9C}"/>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6" name="Rechthoek 95">
                  <a:extLst>
                    <a:ext uri="{FF2B5EF4-FFF2-40B4-BE49-F238E27FC236}">
                      <a16:creationId xmlns:a16="http://schemas.microsoft.com/office/drawing/2014/main" id="{F7954790-7157-4213-A728-EBDC65300628}"/>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2" name="Rechthoek 91">
                <a:extLst>
                  <a:ext uri="{FF2B5EF4-FFF2-40B4-BE49-F238E27FC236}">
                    <a16:creationId xmlns:a16="http://schemas.microsoft.com/office/drawing/2014/main" id="{8836AF34-4C6E-402A-8C3C-4AD367E370BC}"/>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124718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lIns="0" tIns="0" rIns="0" bIns="0"/>
          <a:lstStyle>
            <a:lvl1pPr>
              <a:defRPr/>
            </a:lvl1pPr>
          </a:lstStyle>
          <a:p>
            <a:r>
              <a:rPr lang="nl-NL" dirty="0"/>
              <a:t>Plaats hier je titel</a:t>
            </a:r>
          </a:p>
        </p:txBody>
      </p:sp>
      <p:sp>
        <p:nvSpPr>
          <p:cNvPr id="3" name="Tijdelijke aanduiding voor verticale tekst 2"/>
          <p:cNvSpPr>
            <a:spLocks noGrp="1"/>
          </p:cNvSpPr>
          <p:nvPr>
            <p:ph type="body" orient="vert" idx="1" hasCustomPrompt="1"/>
          </p:nvPr>
        </p:nvSpPr>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7" name="INSTRUCTIE">
            <a:extLst>
              <a:ext uri="{FF2B5EF4-FFF2-40B4-BE49-F238E27FC236}">
                <a16:creationId xmlns:a16="http://schemas.microsoft.com/office/drawing/2014/main" id="{6141D62F-C5B6-4943-AAC3-0B335A9E8E09}"/>
              </a:ext>
            </a:extLst>
          </p:cNvPr>
          <p:cNvGrpSpPr/>
          <p:nvPr userDrawn="1"/>
        </p:nvGrpSpPr>
        <p:grpSpPr>
          <a:xfrm>
            <a:off x="-3786165" y="0"/>
            <a:ext cx="3593091" cy="4641338"/>
            <a:chOff x="-3786165" y="0"/>
            <a:chExt cx="3593091" cy="4641338"/>
          </a:xfrm>
        </p:grpSpPr>
        <p:sp>
          <p:nvSpPr>
            <p:cNvPr id="8" name="Rechthoek 7">
              <a:extLst>
                <a:ext uri="{FF2B5EF4-FFF2-40B4-BE49-F238E27FC236}">
                  <a16:creationId xmlns:a16="http://schemas.microsoft.com/office/drawing/2014/main" id="{26BC162F-AE1E-4944-A14A-7826BF35B250}"/>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9" name="Ovaal 8">
              <a:extLst>
                <a:ext uri="{FF2B5EF4-FFF2-40B4-BE49-F238E27FC236}">
                  <a16:creationId xmlns:a16="http://schemas.microsoft.com/office/drawing/2014/main" id="{FE8941B3-C827-4D9C-8DE7-EEC99B3A4C11}"/>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FCF57D4A-F467-40CA-BA06-9A92103F87E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accent1"/>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11" name="Ovaal 10">
              <a:extLst>
                <a:ext uri="{FF2B5EF4-FFF2-40B4-BE49-F238E27FC236}">
                  <a16:creationId xmlns:a16="http://schemas.microsoft.com/office/drawing/2014/main" id="{43BD1249-C20B-46FD-BF61-E98ACEAF8084}"/>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19B8EB3D-B601-416F-8E40-0B5EB059BEA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3" name="Rechthoek 12">
              <a:extLst>
                <a:ext uri="{FF2B5EF4-FFF2-40B4-BE49-F238E27FC236}">
                  <a16:creationId xmlns:a16="http://schemas.microsoft.com/office/drawing/2014/main" id="{CAB2454A-8D3E-48E3-B333-BF6F83570E2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14" name="Ovaal 13">
              <a:extLst>
                <a:ext uri="{FF2B5EF4-FFF2-40B4-BE49-F238E27FC236}">
                  <a16:creationId xmlns:a16="http://schemas.microsoft.com/office/drawing/2014/main" id="{A6124D75-9230-4387-88B2-BEDCAEBB8DBB}"/>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 name="Rechthoek 14">
              <a:extLst>
                <a:ext uri="{FF2B5EF4-FFF2-40B4-BE49-F238E27FC236}">
                  <a16:creationId xmlns:a16="http://schemas.microsoft.com/office/drawing/2014/main" id="{5EAE04EA-E1DF-42D5-B96D-C1184864BDD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16" name="Ovaal 15">
              <a:extLst>
                <a:ext uri="{FF2B5EF4-FFF2-40B4-BE49-F238E27FC236}">
                  <a16:creationId xmlns:a16="http://schemas.microsoft.com/office/drawing/2014/main" id="{C3CC6E55-4136-45BB-9AEA-61D7E09F3E5B}"/>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7" name="Rechthoek 16">
              <a:extLst>
                <a:ext uri="{FF2B5EF4-FFF2-40B4-BE49-F238E27FC236}">
                  <a16:creationId xmlns:a16="http://schemas.microsoft.com/office/drawing/2014/main" id="{59E7EEE8-7433-4036-9200-241FF226D93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18" name="Ovaal 17">
              <a:extLst>
                <a:ext uri="{FF2B5EF4-FFF2-40B4-BE49-F238E27FC236}">
                  <a16:creationId xmlns:a16="http://schemas.microsoft.com/office/drawing/2014/main" id="{4D682B2E-7FE5-43E9-AE65-F12BC0F0B8AC}"/>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9" name="Rechthoek 18">
              <a:extLst>
                <a:ext uri="{FF2B5EF4-FFF2-40B4-BE49-F238E27FC236}">
                  <a16:creationId xmlns:a16="http://schemas.microsoft.com/office/drawing/2014/main" id="{9F3A43FB-F1E6-44DE-96CE-EE57EFFEDDFB}"/>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20" name="Ovaal 19">
              <a:extLst>
                <a:ext uri="{FF2B5EF4-FFF2-40B4-BE49-F238E27FC236}">
                  <a16:creationId xmlns:a16="http://schemas.microsoft.com/office/drawing/2014/main" id="{288934A3-C848-4957-B1ED-16F1A363C6BD}"/>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1" name="Rechthoek 20">
              <a:extLst>
                <a:ext uri="{FF2B5EF4-FFF2-40B4-BE49-F238E27FC236}">
                  <a16:creationId xmlns:a16="http://schemas.microsoft.com/office/drawing/2014/main" id="{195E2C3D-077A-42A4-BF2F-66189B7A2E8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22" name="Ovaal 21">
              <a:extLst>
                <a:ext uri="{FF2B5EF4-FFF2-40B4-BE49-F238E27FC236}">
                  <a16:creationId xmlns:a16="http://schemas.microsoft.com/office/drawing/2014/main" id="{C6604B43-1EC7-4F2A-AE66-E9FCFCD32BD5}"/>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3" name="Rechthoek 22">
              <a:extLst>
                <a:ext uri="{FF2B5EF4-FFF2-40B4-BE49-F238E27FC236}">
                  <a16:creationId xmlns:a16="http://schemas.microsoft.com/office/drawing/2014/main" id="{95D97F25-5028-4E5A-A1A4-C31ACBADEA1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24" name="Ovaal 23">
              <a:extLst>
                <a:ext uri="{FF2B5EF4-FFF2-40B4-BE49-F238E27FC236}">
                  <a16:creationId xmlns:a16="http://schemas.microsoft.com/office/drawing/2014/main" id="{26655A77-2715-46C7-9DFE-B125FFF0256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5" name="Rechthoek 24">
              <a:extLst>
                <a:ext uri="{FF2B5EF4-FFF2-40B4-BE49-F238E27FC236}">
                  <a16:creationId xmlns:a16="http://schemas.microsoft.com/office/drawing/2014/main" id="{70FEBBF4-AE5E-40B9-961F-6B7CF0228EA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26" name="Ovaal 25">
              <a:extLst>
                <a:ext uri="{FF2B5EF4-FFF2-40B4-BE49-F238E27FC236}">
                  <a16:creationId xmlns:a16="http://schemas.microsoft.com/office/drawing/2014/main" id="{C16F8655-0C60-4D43-9081-7BD5F8CA33F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 name="Rechthoek 26">
              <a:extLst>
                <a:ext uri="{FF2B5EF4-FFF2-40B4-BE49-F238E27FC236}">
                  <a16:creationId xmlns:a16="http://schemas.microsoft.com/office/drawing/2014/main" id="{A9B92CA4-56F3-484D-B9F2-5B25DE2B2DFF}"/>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28" name="VOORBEELD">
              <a:extLst>
                <a:ext uri="{FF2B5EF4-FFF2-40B4-BE49-F238E27FC236}">
                  <a16:creationId xmlns:a16="http://schemas.microsoft.com/office/drawing/2014/main" id="{977C1921-B139-48F8-BCD3-581D5E825511}"/>
                </a:ext>
              </a:extLst>
            </p:cNvPr>
            <p:cNvGrpSpPr/>
            <p:nvPr userDrawn="1"/>
          </p:nvGrpSpPr>
          <p:grpSpPr>
            <a:xfrm>
              <a:off x="-3605171" y="458674"/>
              <a:ext cx="3234311" cy="558875"/>
              <a:chOff x="-3605171" y="458674"/>
              <a:chExt cx="3234311" cy="558875"/>
            </a:xfrm>
          </p:grpSpPr>
          <p:sp>
            <p:nvSpPr>
              <p:cNvPr id="29" name="Rechthoek 28">
                <a:extLst>
                  <a:ext uri="{FF2B5EF4-FFF2-40B4-BE49-F238E27FC236}">
                    <a16:creationId xmlns:a16="http://schemas.microsoft.com/office/drawing/2014/main" id="{1D1CD701-5D26-414E-A98F-FF24DB020549}"/>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30" name="Rechthoek 29">
                <a:extLst>
                  <a:ext uri="{FF2B5EF4-FFF2-40B4-BE49-F238E27FC236}">
                    <a16:creationId xmlns:a16="http://schemas.microsoft.com/office/drawing/2014/main" id="{76F15D11-12B4-44B7-9843-D8247BEC262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31" name="Groep 30">
                <a:extLst>
                  <a:ext uri="{FF2B5EF4-FFF2-40B4-BE49-F238E27FC236}">
                    <a16:creationId xmlns:a16="http://schemas.microsoft.com/office/drawing/2014/main" id="{B4429CBA-2DEC-4418-B932-5EE9934D2167}"/>
                  </a:ext>
                </a:extLst>
              </p:cNvPr>
              <p:cNvGrpSpPr/>
              <p:nvPr userDrawn="1"/>
            </p:nvGrpSpPr>
            <p:grpSpPr>
              <a:xfrm>
                <a:off x="-3386247" y="830871"/>
                <a:ext cx="139423" cy="109566"/>
                <a:chOff x="-2866744" y="827071"/>
                <a:chExt cx="168701" cy="132575"/>
              </a:xfrm>
            </p:grpSpPr>
            <p:grpSp>
              <p:nvGrpSpPr>
                <p:cNvPr id="62" name="Groep 61">
                  <a:extLst>
                    <a:ext uri="{FF2B5EF4-FFF2-40B4-BE49-F238E27FC236}">
                      <a16:creationId xmlns:a16="http://schemas.microsoft.com/office/drawing/2014/main" id="{AA84099E-1D51-424F-8014-2716CC84236F}"/>
                    </a:ext>
                  </a:extLst>
                </p:cNvPr>
                <p:cNvGrpSpPr/>
                <p:nvPr userDrawn="1"/>
              </p:nvGrpSpPr>
              <p:grpSpPr>
                <a:xfrm>
                  <a:off x="-2866744" y="827071"/>
                  <a:ext cx="168701" cy="132575"/>
                  <a:chOff x="-2866744" y="827071"/>
                  <a:chExt cx="168701" cy="132575"/>
                </a:xfrm>
              </p:grpSpPr>
              <p:cxnSp>
                <p:nvCxnSpPr>
                  <p:cNvPr id="64" name="Rechte verbindingslijn 63">
                    <a:extLst>
                      <a:ext uri="{FF2B5EF4-FFF2-40B4-BE49-F238E27FC236}">
                        <a16:creationId xmlns:a16="http://schemas.microsoft.com/office/drawing/2014/main" id="{A6EB0D67-32B8-4837-8057-EDEEC8B64E5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B7439F6C-6829-459B-B31C-D4F239FCA490}"/>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6E3C6189-D6FC-4D59-8CD3-67E19BC7215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BDE27811-9486-48A7-AABB-0A9BAAD9087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9215C165-25FC-4D8D-B746-7575DE491A7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3" name="Pijl: rechts 62">
                  <a:extLst>
                    <a:ext uri="{FF2B5EF4-FFF2-40B4-BE49-F238E27FC236}">
                      <a16:creationId xmlns:a16="http://schemas.microsoft.com/office/drawing/2014/main" id="{B33871F9-293E-47FB-8944-C78D3B00F2D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2" name="Groep 31">
                <a:extLst>
                  <a:ext uri="{FF2B5EF4-FFF2-40B4-BE49-F238E27FC236}">
                    <a16:creationId xmlns:a16="http://schemas.microsoft.com/office/drawing/2014/main" id="{49E3E765-64DC-4CD0-BCE8-D3F8CF0BFA59}"/>
                  </a:ext>
                </a:extLst>
              </p:cNvPr>
              <p:cNvGrpSpPr/>
              <p:nvPr userDrawn="1"/>
            </p:nvGrpSpPr>
            <p:grpSpPr>
              <a:xfrm>
                <a:off x="-3605171" y="830871"/>
                <a:ext cx="139423" cy="109566"/>
                <a:chOff x="-2866744" y="518074"/>
                <a:chExt cx="168701" cy="132575"/>
              </a:xfrm>
            </p:grpSpPr>
            <p:grpSp>
              <p:nvGrpSpPr>
                <p:cNvPr id="55" name="Groep 54">
                  <a:extLst>
                    <a:ext uri="{FF2B5EF4-FFF2-40B4-BE49-F238E27FC236}">
                      <a16:creationId xmlns:a16="http://schemas.microsoft.com/office/drawing/2014/main" id="{721B7BC5-9482-4132-A8E1-20008667BDE3}"/>
                    </a:ext>
                  </a:extLst>
                </p:cNvPr>
                <p:cNvGrpSpPr/>
                <p:nvPr userDrawn="1"/>
              </p:nvGrpSpPr>
              <p:grpSpPr>
                <a:xfrm>
                  <a:off x="-2866744" y="518074"/>
                  <a:ext cx="168701" cy="132575"/>
                  <a:chOff x="-2866744" y="518074"/>
                  <a:chExt cx="168701" cy="132575"/>
                </a:xfrm>
              </p:grpSpPr>
              <p:cxnSp>
                <p:nvCxnSpPr>
                  <p:cNvPr id="57" name="Rechte verbindingslijn 56">
                    <a:extLst>
                      <a:ext uri="{FF2B5EF4-FFF2-40B4-BE49-F238E27FC236}">
                        <a16:creationId xmlns:a16="http://schemas.microsoft.com/office/drawing/2014/main" id="{01343C41-C974-4EDB-892B-79466B2AD4D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D084EC25-1D67-4136-8F66-6A9CDC537FB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48E21D40-B50C-40AB-8EDB-2892383BE45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53D3593A-56F2-499E-8A99-EDB9D95CF63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6D2F844E-9329-469A-943F-97D85CFEDB3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6" name="Pijl: rechts 55">
                  <a:extLst>
                    <a:ext uri="{FF2B5EF4-FFF2-40B4-BE49-F238E27FC236}">
                      <a16:creationId xmlns:a16="http://schemas.microsoft.com/office/drawing/2014/main" id="{E157515E-4E70-48E1-AB77-0312CDC737F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33" name="Rechte verbindingslijn 32">
                <a:extLst>
                  <a:ext uri="{FF2B5EF4-FFF2-40B4-BE49-F238E27FC236}">
                    <a16:creationId xmlns:a16="http://schemas.microsoft.com/office/drawing/2014/main" id="{AEDC7635-0407-473A-BBC9-210B3F1496C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34" name="Rechte verbindingslijn 33">
                <a:extLst>
                  <a:ext uri="{FF2B5EF4-FFF2-40B4-BE49-F238E27FC236}">
                    <a16:creationId xmlns:a16="http://schemas.microsoft.com/office/drawing/2014/main" id="{00379F4D-9046-4379-9F25-F616926C653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35" name="Rechthoek 34">
                <a:extLst>
                  <a:ext uri="{FF2B5EF4-FFF2-40B4-BE49-F238E27FC236}">
                    <a16:creationId xmlns:a16="http://schemas.microsoft.com/office/drawing/2014/main" id="{126B2EAD-4EFA-4EE4-A128-0233C9C3A4BF}"/>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36" name="Rechthoek 35">
                <a:extLst>
                  <a:ext uri="{FF2B5EF4-FFF2-40B4-BE49-F238E27FC236}">
                    <a16:creationId xmlns:a16="http://schemas.microsoft.com/office/drawing/2014/main" id="{068718B3-A82B-42B1-B753-5CF06B1A0E3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37" name="Groep 36">
                <a:extLst>
                  <a:ext uri="{FF2B5EF4-FFF2-40B4-BE49-F238E27FC236}">
                    <a16:creationId xmlns:a16="http://schemas.microsoft.com/office/drawing/2014/main" id="{5B026703-FCBD-402D-B80B-8C0AAB4B44EF}"/>
                  </a:ext>
                </a:extLst>
              </p:cNvPr>
              <p:cNvGrpSpPr/>
              <p:nvPr userDrawn="1"/>
            </p:nvGrpSpPr>
            <p:grpSpPr>
              <a:xfrm>
                <a:off x="-2916763" y="769168"/>
                <a:ext cx="268738" cy="248381"/>
                <a:chOff x="-2916763" y="769168"/>
                <a:chExt cx="268738" cy="248381"/>
              </a:xfrm>
            </p:grpSpPr>
            <p:sp>
              <p:nvSpPr>
                <p:cNvPr id="47" name="Rechthoek 46">
                  <a:extLst>
                    <a:ext uri="{FF2B5EF4-FFF2-40B4-BE49-F238E27FC236}">
                      <a16:creationId xmlns:a16="http://schemas.microsoft.com/office/drawing/2014/main" id="{EAD5F812-406F-49A2-AB48-7C925E5198EF}"/>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48" name="Groep 47">
                  <a:extLst>
                    <a:ext uri="{FF2B5EF4-FFF2-40B4-BE49-F238E27FC236}">
                      <a16:creationId xmlns:a16="http://schemas.microsoft.com/office/drawing/2014/main" id="{116F82D2-2EC3-421F-9769-7289EDD51C3C}"/>
                    </a:ext>
                  </a:extLst>
                </p:cNvPr>
                <p:cNvGrpSpPr/>
                <p:nvPr userDrawn="1"/>
              </p:nvGrpSpPr>
              <p:grpSpPr>
                <a:xfrm>
                  <a:off x="-2866744" y="827071"/>
                  <a:ext cx="168701" cy="132575"/>
                  <a:chOff x="-2866744" y="827071"/>
                  <a:chExt cx="168701" cy="132575"/>
                </a:xfrm>
              </p:grpSpPr>
              <p:cxnSp>
                <p:nvCxnSpPr>
                  <p:cNvPr id="50" name="Rechte verbindingslijn 49">
                    <a:extLst>
                      <a:ext uri="{FF2B5EF4-FFF2-40B4-BE49-F238E27FC236}">
                        <a16:creationId xmlns:a16="http://schemas.microsoft.com/office/drawing/2014/main" id="{FF87503F-11E1-4648-BDD7-FA4B5C422DE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D20A7D50-4ED9-4713-8FB1-92422715294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51209225-5BDD-4BDE-9ABC-FCB2AF3CEB1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C0168059-CADC-4695-A765-5EE2405CE6C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ED07C8DB-4AB6-40A1-8147-71DDCD6CF70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49" name="Pijl: rechts 48">
                  <a:extLst>
                    <a:ext uri="{FF2B5EF4-FFF2-40B4-BE49-F238E27FC236}">
                      <a16:creationId xmlns:a16="http://schemas.microsoft.com/office/drawing/2014/main" id="{73FE0F6D-47B5-44D4-8A76-F4FA36979A7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F4223FD0-CFD1-4637-8582-433CD1C8220B}"/>
                  </a:ext>
                </a:extLst>
              </p:cNvPr>
              <p:cNvGrpSpPr/>
              <p:nvPr userDrawn="1"/>
            </p:nvGrpSpPr>
            <p:grpSpPr>
              <a:xfrm>
                <a:off x="-2916763" y="460171"/>
                <a:ext cx="268738" cy="248381"/>
                <a:chOff x="-2916763" y="460171"/>
                <a:chExt cx="268738" cy="248381"/>
              </a:xfrm>
            </p:grpSpPr>
            <p:sp>
              <p:nvSpPr>
                <p:cNvPr id="39" name="Rechthoek 38">
                  <a:extLst>
                    <a:ext uri="{FF2B5EF4-FFF2-40B4-BE49-F238E27FC236}">
                      <a16:creationId xmlns:a16="http://schemas.microsoft.com/office/drawing/2014/main" id="{5163C088-AA33-47E5-A9D4-66D2596052E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40" name="Groep 39">
                  <a:extLst>
                    <a:ext uri="{FF2B5EF4-FFF2-40B4-BE49-F238E27FC236}">
                      <a16:creationId xmlns:a16="http://schemas.microsoft.com/office/drawing/2014/main" id="{1AAE15DC-7581-43A2-B431-41A13F9E4748}"/>
                    </a:ext>
                  </a:extLst>
                </p:cNvPr>
                <p:cNvGrpSpPr/>
                <p:nvPr userDrawn="1"/>
              </p:nvGrpSpPr>
              <p:grpSpPr>
                <a:xfrm>
                  <a:off x="-2866744" y="518074"/>
                  <a:ext cx="168701" cy="132575"/>
                  <a:chOff x="-2866744" y="518074"/>
                  <a:chExt cx="168701" cy="132575"/>
                </a:xfrm>
              </p:grpSpPr>
              <p:cxnSp>
                <p:nvCxnSpPr>
                  <p:cNvPr id="42" name="Rechte verbindingslijn 41">
                    <a:extLst>
                      <a:ext uri="{FF2B5EF4-FFF2-40B4-BE49-F238E27FC236}">
                        <a16:creationId xmlns:a16="http://schemas.microsoft.com/office/drawing/2014/main" id="{66F8111E-9357-4AB3-8EEC-D5D3E7D4BA4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43" name="Rechte verbindingslijn 42">
                    <a:extLst>
                      <a:ext uri="{FF2B5EF4-FFF2-40B4-BE49-F238E27FC236}">
                        <a16:creationId xmlns:a16="http://schemas.microsoft.com/office/drawing/2014/main" id="{33332BB3-CF63-4FCE-90ED-67F1265C8C55}"/>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44" name="Rechte verbindingslijn 43">
                    <a:extLst>
                      <a:ext uri="{FF2B5EF4-FFF2-40B4-BE49-F238E27FC236}">
                        <a16:creationId xmlns:a16="http://schemas.microsoft.com/office/drawing/2014/main" id="{E32C6696-325F-4434-AE43-8C1238E4E3F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45" name="Rechte verbindingslijn 44">
                    <a:extLst>
                      <a:ext uri="{FF2B5EF4-FFF2-40B4-BE49-F238E27FC236}">
                        <a16:creationId xmlns:a16="http://schemas.microsoft.com/office/drawing/2014/main" id="{A40760A7-241D-4B1D-9250-0D52FC27E76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46" name="Rechte verbindingslijn 45">
                    <a:extLst>
                      <a:ext uri="{FF2B5EF4-FFF2-40B4-BE49-F238E27FC236}">
                        <a16:creationId xmlns:a16="http://schemas.microsoft.com/office/drawing/2014/main" id="{6A31601E-D224-43F0-AFDE-36A813DDCD8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1" name="Pijl: rechts 40">
                  <a:extLst>
                    <a:ext uri="{FF2B5EF4-FFF2-40B4-BE49-F238E27FC236}">
                      <a16:creationId xmlns:a16="http://schemas.microsoft.com/office/drawing/2014/main" id="{290B25D0-9442-43A6-ACA9-F95E2836B0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69" name="INSTRUCTIE">
            <a:extLst>
              <a:ext uri="{FF2B5EF4-FFF2-40B4-BE49-F238E27FC236}">
                <a16:creationId xmlns:a16="http://schemas.microsoft.com/office/drawing/2014/main" id="{7D64D4E6-B6B3-4D18-99E7-C9331A00B062}"/>
              </a:ext>
            </a:extLst>
          </p:cNvPr>
          <p:cNvGrpSpPr/>
          <p:nvPr userDrawn="1"/>
        </p:nvGrpSpPr>
        <p:grpSpPr>
          <a:xfrm>
            <a:off x="8464046" y="7020511"/>
            <a:ext cx="3727954" cy="1728407"/>
            <a:chOff x="5846" y="7033211"/>
            <a:chExt cx="3727954" cy="1728407"/>
          </a:xfrm>
        </p:grpSpPr>
        <p:sp>
          <p:nvSpPr>
            <p:cNvPr id="70" name="Rechthoek 69">
              <a:extLst>
                <a:ext uri="{FF2B5EF4-FFF2-40B4-BE49-F238E27FC236}">
                  <a16:creationId xmlns:a16="http://schemas.microsoft.com/office/drawing/2014/main" id="{31DABAF0-4FAA-4C8F-A839-73033F0B2C0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71" name="Ovaal 70">
              <a:extLst>
                <a:ext uri="{FF2B5EF4-FFF2-40B4-BE49-F238E27FC236}">
                  <a16:creationId xmlns:a16="http://schemas.microsoft.com/office/drawing/2014/main" id="{142E0F18-C763-472E-B480-C1DB9AFDBB20}"/>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2" name="Rechthoek 71">
              <a:extLst>
                <a:ext uri="{FF2B5EF4-FFF2-40B4-BE49-F238E27FC236}">
                  <a16:creationId xmlns:a16="http://schemas.microsoft.com/office/drawing/2014/main" id="{AF2D9A43-C067-47B5-892F-C99D5C8897C3}"/>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3" name="Ovaal 72">
              <a:extLst>
                <a:ext uri="{FF2B5EF4-FFF2-40B4-BE49-F238E27FC236}">
                  <a16:creationId xmlns:a16="http://schemas.microsoft.com/office/drawing/2014/main" id="{E8081226-3C37-44BA-B508-E97B4B6357B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4" name="Rechthoek 73">
              <a:extLst>
                <a:ext uri="{FF2B5EF4-FFF2-40B4-BE49-F238E27FC236}">
                  <a16:creationId xmlns:a16="http://schemas.microsoft.com/office/drawing/2014/main" id="{36DFA930-4C82-4B54-89C7-2CAF78E539F7}"/>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75" name="Groep 74">
              <a:extLst>
                <a:ext uri="{FF2B5EF4-FFF2-40B4-BE49-F238E27FC236}">
                  <a16:creationId xmlns:a16="http://schemas.microsoft.com/office/drawing/2014/main" id="{32BD9DB0-56B8-4EAE-99B2-3586C2F2C469}"/>
                </a:ext>
              </a:extLst>
            </p:cNvPr>
            <p:cNvGrpSpPr/>
            <p:nvPr userDrawn="1"/>
          </p:nvGrpSpPr>
          <p:grpSpPr>
            <a:xfrm>
              <a:off x="2939884" y="7739834"/>
              <a:ext cx="681133" cy="750023"/>
              <a:chOff x="-910573" y="4987990"/>
              <a:chExt cx="681133" cy="750023"/>
            </a:xfrm>
          </p:grpSpPr>
          <p:grpSp>
            <p:nvGrpSpPr>
              <p:cNvPr id="76" name="Groep 75">
                <a:extLst>
                  <a:ext uri="{FF2B5EF4-FFF2-40B4-BE49-F238E27FC236}">
                    <a16:creationId xmlns:a16="http://schemas.microsoft.com/office/drawing/2014/main" id="{1E4C76F1-E5E5-4B36-9EE6-8D47CB02FCBB}"/>
                  </a:ext>
                </a:extLst>
              </p:cNvPr>
              <p:cNvGrpSpPr/>
              <p:nvPr userDrawn="1"/>
            </p:nvGrpSpPr>
            <p:grpSpPr>
              <a:xfrm>
                <a:off x="-713542" y="4987990"/>
                <a:ext cx="287071" cy="379107"/>
                <a:chOff x="-4050578" y="288410"/>
                <a:chExt cx="322125" cy="379107"/>
              </a:xfrm>
            </p:grpSpPr>
            <p:sp>
              <p:nvSpPr>
                <p:cNvPr id="78" name="Rechthoek met één afgeknipte en afgeronde hoek 47">
                  <a:extLst>
                    <a:ext uri="{FF2B5EF4-FFF2-40B4-BE49-F238E27FC236}">
                      <a16:creationId xmlns:a16="http://schemas.microsoft.com/office/drawing/2014/main" id="{79FFD57E-0406-49A8-8E5F-9F656841E5EF}"/>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79" name="Rechthoekige driehoek 78">
                  <a:extLst>
                    <a:ext uri="{FF2B5EF4-FFF2-40B4-BE49-F238E27FC236}">
                      <a16:creationId xmlns:a16="http://schemas.microsoft.com/office/drawing/2014/main" id="{D802A8D6-84C0-4D4B-8A4A-1B1F01AA7E2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0" name="Rechthoek 79">
                  <a:extLst>
                    <a:ext uri="{FF2B5EF4-FFF2-40B4-BE49-F238E27FC236}">
                      <a16:creationId xmlns:a16="http://schemas.microsoft.com/office/drawing/2014/main" id="{E172CA29-A9F8-4929-BC09-B2B7D6D5A48D}"/>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1" name="Rechthoek 80">
                  <a:extLst>
                    <a:ext uri="{FF2B5EF4-FFF2-40B4-BE49-F238E27FC236}">
                      <a16:creationId xmlns:a16="http://schemas.microsoft.com/office/drawing/2014/main" id="{239B2ACA-80D8-4F18-B8EF-36E2916941C4}"/>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77" name="Rechthoek 76">
                <a:extLst>
                  <a:ext uri="{FF2B5EF4-FFF2-40B4-BE49-F238E27FC236}">
                    <a16:creationId xmlns:a16="http://schemas.microsoft.com/office/drawing/2014/main" id="{BF1ED802-CC2E-4902-BD2A-C3C388D103F3}"/>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132232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5321294" cy="488950"/>
          </a:xfrm>
        </p:spPr>
        <p:txBody>
          <a:bodyPr lIns="0" tIns="0" rIns="0" bIns="0"/>
          <a:lstStyle>
            <a:lvl1pPr>
              <a:defRPr/>
            </a:lvl1pPr>
          </a:lstStyle>
          <a:p>
            <a:r>
              <a:rPr lang="nl-NL" dirty="0"/>
              <a:t>Plaats hier je titel</a:t>
            </a:r>
          </a:p>
        </p:txBody>
      </p:sp>
      <p:sp>
        <p:nvSpPr>
          <p:cNvPr id="3" name="Tijdelijke aanduiding voor verticale tekst 2"/>
          <p:cNvSpPr>
            <a:spLocks noGrp="1"/>
          </p:cNvSpPr>
          <p:nvPr>
            <p:ph type="body" orient="vert" idx="1" hasCustomPrompt="1"/>
          </p:nvPr>
        </p:nvSpPr>
        <p:spPr>
          <a:xfrm>
            <a:off x="515940" y="1350710"/>
            <a:ext cx="5321297" cy="4985004"/>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9" name="Tijdelijke aanduiding voor verticale tekst 2">
            <a:extLst>
              <a:ext uri="{FF2B5EF4-FFF2-40B4-BE49-F238E27FC236}">
                <a16:creationId xmlns:a16="http://schemas.microsoft.com/office/drawing/2014/main" id="{EF38799E-87DB-43F6-A2B3-D357CD953966}"/>
              </a:ext>
            </a:extLst>
          </p:cNvPr>
          <p:cNvSpPr>
            <a:spLocks noGrp="1"/>
          </p:cNvSpPr>
          <p:nvPr>
            <p:ph type="body" orient="vert" idx="13" hasCustomPrompt="1"/>
          </p:nvPr>
        </p:nvSpPr>
        <p:spPr>
          <a:xfrm>
            <a:off x="6345240" y="1350710"/>
            <a:ext cx="5321297" cy="4985004"/>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10" name="Tijdelijke aanduiding voor verticale tekst 2">
            <a:extLst>
              <a:ext uri="{FF2B5EF4-FFF2-40B4-BE49-F238E27FC236}">
                <a16:creationId xmlns:a16="http://schemas.microsoft.com/office/drawing/2014/main" id="{8566C55F-F621-4860-BC04-DF1573E4F107}"/>
              </a:ext>
            </a:extLst>
          </p:cNvPr>
          <p:cNvSpPr>
            <a:spLocks noGrp="1"/>
          </p:cNvSpPr>
          <p:nvPr>
            <p:ph type="body" orient="vert" idx="14" hasCustomPrompt="1"/>
          </p:nvPr>
        </p:nvSpPr>
        <p:spPr>
          <a:xfrm>
            <a:off x="6345240" y="517526"/>
            <a:ext cx="5321297" cy="488950"/>
          </a:xfrm>
        </p:spPr>
        <p:txBody>
          <a:bodyPr vert="horz" lIns="0" tIns="0" rIns="0" bIns="0"/>
          <a:lstStyle>
            <a:lvl1pPr marL="0" indent="0">
              <a:buNone/>
              <a:defRPr sz="2800" b="1"/>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a:t>Plaats hier je titel</a:t>
            </a:r>
          </a:p>
        </p:txBody>
      </p:sp>
      <p:grpSp>
        <p:nvGrpSpPr>
          <p:cNvPr id="72" name="INSTRUCTIE">
            <a:extLst>
              <a:ext uri="{FF2B5EF4-FFF2-40B4-BE49-F238E27FC236}">
                <a16:creationId xmlns:a16="http://schemas.microsoft.com/office/drawing/2014/main" id="{30BE8470-07EF-4D85-9DF6-AAA86B56BE1A}"/>
              </a:ext>
            </a:extLst>
          </p:cNvPr>
          <p:cNvGrpSpPr/>
          <p:nvPr userDrawn="1"/>
        </p:nvGrpSpPr>
        <p:grpSpPr>
          <a:xfrm>
            <a:off x="8469641" y="7033211"/>
            <a:ext cx="3727954" cy="1728407"/>
            <a:chOff x="5846" y="7033211"/>
            <a:chExt cx="3727954" cy="1728407"/>
          </a:xfrm>
        </p:grpSpPr>
        <p:sp>
          <p:nvSpPr>
            <p:cNvPr id="73" name="Rechthoek 72">
              <a:extLst>
                <a:ext uri="{FF2B5EF4-FFF2-40B4-BE49-F238E27FC236}">
                  <a16:creationId xmlns:a16="http://schemas.microsoft.com/office/drawing/2014/main" id="{4036BE54-84B8-489D-90A9-1F0E1450746F}"/>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74" name="Ovaal 73">
              <a:extLst>
                <a:ext uri="{FF2B5EF4-FFF2-40B4-BE49-F238E27FC236}">
                  <a16:creationId xmlns:a16="http://schemas.microsoft.com/office/drawing/2014/main" id="{FC240E00-FD01-4DBF-BB10-034DB6EF41C1}"/>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CA712FA5-3A74-4245-951B-A218BF0B465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6" name="Ovaal 75">
              <a:extLst>
                <a:ext uri="{FF2B5EF4-FFF2-40B4-BE49-F238E27FC236}">
                  <a16:creationId xmlns:a16="http://schemas.microsoft.com/office/drawing/2014/main" id="{E099A848-5451-44F0-8EEB-A0B1440D5AF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7" name="Rechthoek 76">
              <a:extLst>
                <a:ext uri="{FF2B5EF4-FFF2-40B4-BE49-F238E27FC236}">
                  <a16:creationId xmlns:a16="http://schemas.microsoft.com/office/drawing/2014/main" id="{2C0CCB6F-1771-40B6-B49C-1186578C2B40}"/>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78" name="Groep 77">
              <a:extLst>
                <a:ext uri="{FF2B5EF4-FFF2-40B4-BE49-F238E27FC236}">
                  <a16:creationId xmlns:a16="http://schemas.microsoft.com/office/drawing/2014/main" id="{E0F76006-3595-4B23-A41F-E3B750B7B29B}"/>
                </a:ext>
              </a:extLst>
            </p:cNvPr>
            <p:cNvGrpSpPr/>
            <p:nvPr userDrawn="1"/>
          </p:nvGrpSpPr>
          <p:grpSpPr>
            <a:xfrm>
              <a:off x="2939884" y="7739834"/>
              <a:ext cx="681133" cy="750023"/>
              <a:chOff x="-910573" y="4987990"/>
              <a:chExt cx="681133" cy="750023"/>
            </a:xfrm>
          </p:grpSpPr>
          <p:grpSp>
            <p:nvGrpSpPr>
              <p:cNvPr id="79" name="Groep 78">
                <a:extLst>
                  <a:ext uri="{FF2B5EF4-FFF2-40B4-BE49-F238E27FC236}">
                    <a16:creationId xmlns:a16="http://schemas.microsoft.com/office/drawing/2014/main" id="{CCBD9777-9386-454C-8873-A2DEC0094DF5}"/>
                  </a:ext>
                </a:extLst>
              </p:cNvPr>
              <p:cNvGrpSpPr/>
              <p:nvPr userDrawn="1"/>
            </p:nvGrpSpPr>
            <p:grpSpPr>
              <a:xfrm>
                <a:off x="-713542" y="4987990"/>
                <a:ext cx="287071" cy="379107"/>
                <a:chOff x="-4050578" y="288410"/>
                <a:chExt cx="322125" cy="379107"/>
              </a:xfrm>
            </p:grpSpPr>
            <p:sp>
              <p:nvSpPr>
                <p:cNvPr id="81" name="Rechthoek met één afgeknipte en afgeronde hoek 47">
                  <a:extLst>
                    <a:ext uri="{FF2B5EF4-FFF2-40B4-BE49-F238E27FC236}">
                      <a16:creationId xmlns:a16="http://schemas.microsoft.com/office/drawing/2014/main" id="{76689E59-811D-4E39-ABAE-EE1A363D03A6}"/>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2" name="Rechthoekige driehoek 81">
                  <a:extLst>
                    <a:ext uri="{FF2B5EF4-FFF2-40B4-BE49-F238E27FC236}">
                      <a16:creationId xmlns:a16="http://schemas.microsoft.com/office/drawing/2014/main" id="{2FBD1FBD-32D3-4BE4-8144-73DD44550980}"/>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3" name="Rechthoek 82">
                  <a:extLst>
                    <a:ext uri="{FF2B5EF4-FFF2-40B4-BE49-F238E27FC236}">
                      <a16:creationId xmlns:a16="http://schemas.microsoft.com/office/drawing/2014/main" id="{D03BFE68-1F10-4A4B-B9D4-3BF37664058B}"/>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4" name="Rechthoek 83">
                  <a:extLst>
                    <a:ext uri="{FF2B5EF4-FFF2-40B4-BE49-F238E27FC236}">
                      <a16:creationId xmlns:a16="http://schemas.microsoft.com/office/drawing/2014/main" id="{7652D029-36A6-45F4-8737-42ED5661AECB}"/>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80" name="Rechthoek 79">
                <a:extLst>
                  <a:ext uri="{FF2B5EF4-FFF2-40B4-BE49-F238E27FC236}">
                    <a16:creationId xmlns:a16="http://schemas.microsoft.com/office/drawing/2014/main" id="{C21439E8-D3B0-42A0-998E-1D16BCD3512D}"/>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85" name="INSTRUCTIE">
            <a:extLst>
              <a:ext uri="{FF2B5EF4-FFF2-40B4-BE49-F238E27FC236}">
                <a16:creationId xmlns:a16="http://schemas.microsoft.com/office/drawing/2014/main" id="{51DCA84F-CD45-4550-8EFF-FA9661FC8538}"/>
              </a:ext>
            </a:extLst>
          </p:cNvPr>
          <p:cNvGrpSpPr/>
          <p:nvPr userDrawn="1"/>
        </p:nvGrpSpPr>
        <p:grpSpPr>
          <a:xfrm>
            <a:off x="-3786165" y="0"/>
            <a:ext cx="3593091" cy="4641338"/>
            <a:chOff x="-3786165" y="0"/>
            <a:chExt cx="3593091" cy="4641338"/>
          </a:xfrm>
        </p:grpSpPr>
        <p:sp>
          <p:nvSpPr>
            <p:cNvPr id="86" name="Rechthoek 85">
              <a:extLst>
                <a:ext uri="{FF2B5EF4-FFF2-40B4-BE49-F238E27FC236}">
                  <a16:creationId xmlns:a16="http://schemas.microsoft.com/office/drawing/2014/main" id="{77F65E00-94A2-4C10-B434-4371C68FF25B}"/>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87" name="Ovaal 86">
              <a:extLst>
                <a:ext uri="{FF2B5EF4-FFF2-40B4-BE49-F238E27FC236}">
                  <a16:creationId xmlns:a16="http://schemas.microsoft.com/office/drawing/2014/main" id="{19CE5BA4-1CFF-451E-A5C5-09B0358A9845}"/>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8" name="Rechthoek 87">
              <a:extLst>
                <a:ext uri="{FF2B5EF4-FFF2-40B4-BE49-F238E27FC236}">
                  <a16:creationId xmlns:a16="http://schemas.microsoft.com/office/drawing/2014/main" id="{BA6A27C7-A6D3-41F5-BC7B-073FC79FE62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89" name="Ovaal 88">
              <a:extLst>
                <a:ext uri="{FF2B5EF4-FFF2-40B4-BE49-F238E27FC236}">
                  <a16:creationId xmlns:a16="http://schemas.microsoft.com/office/drawing/2014/main" id="{48FF0F1E-647D-4CCE-BB3A-98A68794D13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0" name="Rechthoek 89">
              <a:extLst>
                <a:ext uri="{FF2B5EF4-FFF2-40B4-BE49-F238E27FC236}">
                  <a16:creationId xmlns:a16="http://schemas.microsoft.com/office/drawing/2014/main" id="{DD10A8FD-3314-4223-9F42-146848BDD213}"/>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91" name="Rechthoek 90">
              <a:extLst>
                <a:ext uri="{FF2B5EF4-FFF2-40B4-BE49-F238E27FC236}">
                  <a16:creationId xmlns:a16="http://schemas.microsoft.com/office/drawing/2014/main" id="{C611D78C-032D-4AF6-A413-B489A33A044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92" name="Ovaal 91">
              <a:extLst>
                <a:ext uri="{FF2B5EF4-FFF2-40B4-BE49-F238E27FC236}">
                  <a16:creationId xmlns:a16="http://schemas.microsoft.com/office/drawing/2014/main" id="{3D7DC48E-483D-42F6-99AC-827BC2A664D0}"/>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3" name="Rechthoek 92">
              <a:extLst>
                <a:ext uri="{FF2B5EF4-FFF2-40B4-BE49-F238E27FC236}">
                  <a16:creationId xmlns:a16="http://schemas.microsoft.com/office/drawing/2014/main" id="{8D65918A-7A14-4F63-A50E-105163C44900}"/>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94" name="Ovaal 93">
              <a:extLst>
                <a:ext uri="{FF2B5EF4-FFF2-40B4-BE49-F238E27FC236}">
                  <a16:creationId xmlns:a16="http://schemas.microsoft.com/office/drawing/2014/main" id="{0B9DA5F8-17E7-476D-B64F-7C7E9CD3FB6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5" name="Rechthoek 94">
              <a:extLst>
                <a:ext uri="{FF2B5EF4-FFF2-40B4-BE49-F238E27FC236}">
                  <a16:creationId xmlns:a16="http://schemas.microsoft.com/office/drawing/2014/main" id="{79C7ED78-2ABE-4250-903E-32FDF29B383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96" name="Ovaal 95">
              <a:extLst>
                <a:ext uri="{FF2B5EF4-FFF2-40B4-BE49-F238E27FC236}">
                  <a16:creationId xmlns:a16="http://schemas.microsoft.com/office/drawing/2014/main" id="{82ADF09C-3496-48D5-9097-2B0FF02EBC09}"/>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97" name="Rechthoek 96">
              <a:extLst>
                <a:ext uri="{FF2B5EF4-FFF2-40B4-BE49-F238E27FC236}">
                  <a16:creationId xmlns:a16="http://schemas.microsoft.com/office/drawing/2014/main" id="{9252DB6E-08DE-458E-90CA-83CC188B024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98" name="Ovaal 97">
              <a:extLst>
                <a:ext uri="{FF2B5EF4-FFF2-40B4-BE49-F238E27FC236}">
                  <a16:creationId xmlns:a16="http://schemas.microsoft.com/office/drawing/2014/main" id="{6DEBA8EA-BCA2-433A-B8DF-0A160954B9F8}"/>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99" name="Rechthoek 98">
              <a:extLst>
                <a:ext uri="{FF2B5EF4-FFF2-40B4-BE49-F238E27FC236}">
                  <a16:creationId xmlns:a16="http://schemas.microsoft.com/office/drawing/2014/main" id="{E7B011BB-5C7D-4DF8-8CA6-A0047304C58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00" name="Ovaal 99">
              <a:extLst>
                <a:ext uri="{FF2B5EF4-FFF2-40B4-BE49-F238E27FC236}">
                  <a16:creationId xmlns:a16="http://schemas.microsoft.com/office/drawing/2014/main" id="{48925107-93CA-4889-B8AC-8282D697061B}"/>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1" name="Rechthoek 100">
              <a:extLst>
                <a:ext uri="{FF2B5EF4-FFF2-40B4-BE49-F238E27FC236}">
                  <a16:creationId xmlns:a16="http://schemas.microsoft.com/office/drawing/2014/main" id="{5D2F7325-B30D-4185-A137-82964FEC441E}"/>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02" name="Ovaal 101">
              <a:extLst>
                <a:ext uri="{FF2B5EF4-FFF2-40B4-BE49-F238E27FC236}">
                  <a16:creationId xmlns:a16="http://schemas.microsoft.com/office/drawing/2014/main" id="{246AE2B3-65F6-4EED-A47A-8072CE25D3F0}"/>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03" name="Rechthoek 102">
              <a:extLst>
                <a:ext uri="{FF2B5EF4-FFF2-40B4-BE49-F238E27FC236}">
                  <a16:creationId xmlns:a16="http://schemas.microsoft.com/office/drawing/2014/main" id="{8B76110D-7E74-435E-AB17-508A2FC623E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04" name="Ovaal 103">
              <a:extLst>
                <a:ext uri="{FF2B5EF4-FFF2-40B4-BE49-F238E27FC236}">
                  <a16:creationId xmlns:a16="http://schemas.microsoft.com/office/drawing/2014/main" id="{5EEC43DF-1333-404B-AD50-F8B71FD27958}"/>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05" name="Rechthoek 104">
              <a:extLst>
                <a:ext uri="{FF2B5EF4-FFF2-40B4-BE49-F238E27FC236}">
                  <a16:creationId xmlns:a16="http://schemas.microsoft.com/office/drawing/2014/main" id="{D2D5E56B-2EC4-4FAF-83DA-225C6A79EA98}"/>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06" name="VOORBEELD">
              <a:extLst>
                <a:ext uri="{FF2B5EF4-FFF2-40B4-BE49-F238E27FC236}">
                  <a16:creationId xmlns:a16="http://schemas.microsoft.com/office/drawing/2014/main" id="{DA432BD3-62AB-42ED-BF7E-BBBA1AF79D15}"/>
                </a:ext>
              </a:extLst>
            </p:cNvPr>
            <p:cNvGrpSpPr/>
            <p:nvPr userDrawn="1"/>
          </p:nvGrpSpPr>
          <p:grpSpPr>
            <a:xfrm>
              <a:off x="-3605171" y="458674"/>
              <a:ext cx="3234311" cy="558875"/>
              <a:chOff x="-3605171" y="458674"/>
              <a:chExt cx="3234311" cy="558875"/>
            </a:xfrm>
          </p:grpSpPr>
          <p:sp>
            <p:nvSpPr>
              <p:cNvPr id="107" name="Rechthoek 106">
                <a:extLst>
                  <a:ext uri="{FF2B5EF4-FFF2-40B4-BE49-F238E27FC236}">
                    <a16:creationId xmlns:a16="http://schemas.microsoft.com/office/drawing/2014/main" id="{C1DA9DCE-8905-469B-AFC4-04664898159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08" name="Rechthoek 107">
                <a:extLst>
                  <a:ext uri="{FF2B5EF4-FFF2-40B4-BE49-F238E27FC236}">
                    <a16:creationId xmlns:a16="http://schemas.microsoft.com/office/drawing/2014/main" id="{11D9D3BD-5A54-440F-AFE6-A66D1969E3A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9" name="Groep 108">
                <a:extLst>
                  <a:ext uri="{FF2B5EF4-FFF2-40B4-BE49-F238E27FC236}">
                    <a16:creationId xmlns:a16="http://schemas.microsoft.com/office/drawing/2014/main" id="{CC7B6F1D-C8FD-4723-B533-0DFD10E75903}"/>
                  </a:ext>
                </a:extLst>
              </p:cNvPr>
              <p:cNvGrpSpPr/>
              <p:nvPr userDrawn="1"/>
            </p:nvGrpSpPr>
            <p:grpSpPr>
              <a:xfrm>
                <a:off x="-3386247" y="830871"/>
                <a:ext cx="139423" cy="109566"/>
                <a:chOff x="-2866744" y="827071"/>
                <a:chExt cx="168701" cy="132575"/>
              </a:xfrm>
            </p:grpSpPr>
            <p:grpSp>
              <p:nvGrpSpPr>
                <p:cNvPr id="140" name="Groep 139">
                  <a:extLst>
                    <a:ext uri="{FF2B5EF4-FFF2-40B4-BE49-F238E27FC236}">
                      <a16:creationId xmlns:a16="http://schemas.microsoft.com/office/drawing/2014/main" id="{068A1E34-2D13-404F-80B4-C4AE0D8E5A6E}"/>
                    </a:ext>
                  </a:extLst>
                </p:cNvPr>
                <p:cNvGrpSpPr/>
                <p:nvPr userDrawn="1"/>
              </p:nvGrpSpPr>
              <p:grpSpPr>
                <a:xfrm>
                  <a:off x="-2866744" y="827071"/>
                  <a:ext cx="168701" cy="132575"/>
                  <a:chOff x="-2866744" y="827071"/>
                  <a:chExt cx="168701" cy="132575"/>
                </a:xfrm>
              </p:grpSpPr>
              <p:cxnSp>
                <p:nvCxnSpPr>
                  <p:cNvPr id="142" name="Rechte verbindingslijn 141">
                    <a:extLst>
                      <a:ext uri="{FF2B5EF4-FFF2-40B4-BE49-F238E27FC236}">
                        <a16:creationId xmlns:a16="http://schemas.microsoft.com/office/drawing/2014/main" id="{A0E516C6-FCC7-4897-B6ED-65435A92D2E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43" name="Rechte verbindingslijn 142">
                    <a:extLst>
                      <a:ext uri="{FF2B5EF4-FFF2-40B4-BE49-F238E27FC236}">
                        <a16:creationId xmlns:a16="http://schemas.microsoft.com/office/drawing/2014/main" id="{13A34425-4605-4C82-A5EC-E70EA3DF8F2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C396B560-119E-483F-9A7E-3C7EA6DA056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F40061C2-567E-4041-B196-D2E7B81B977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E0447C36-6EB6-4601-B61F-F69C75EA2E2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41" name="Pijl: rechts 140">
                  <a:extLst>
                    <a:ext uri="{FF2B5EF4-FFF2-40B4-BE49-F238E27FC236}">
                      <a16:creationId xmlns:a16="http://schemas.microsoft.com/office/drawing/2014/main" id="{32D517AD-344F-4C9F-A09F-AC5948EAE6C9}"/>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7048E229-7F84-48A6-B3FE-97653C3EECFD}"/>
                  </a:ext>
                </a:extLst>
              </p:cNvPr>
              <p:cNvGrpSpPr/>
              <p:nvPr userDrawn="1"/>
            </p:nvGrpSpPr>
            <p:grpSpPr>
              <a:xfrm>
                <a:off x="-3605171" y="830871"/>
                <a:ext cx="139423" cy="109566"/>
                <a:chOff x="-2866744" y="518074"/>
                <a:chExt cx="168701" cy="132575"/>
              </a:xfrm>
            </p:grpSpPr>
            <p:grpSp>
              <p:nvGrpSpPr>
                <p:cNvPr id="133" name="Groep 132">
                  <a:extLst>
                    <a:ext uri="{FF2B5EF4-FFF2-40B4-BE49-F238E27FC236}">
                      <a16:creationId xmlns:a16="http://schemas.microsoft.com/office/drawing/2014/main" id="{B219B885-B449-464D-AAD0-80BA10F41680}"/>
                    </a:ext>
                  </a:extLst>
                </p:cNvPr>
                <p:cNvGrpSpPr/>
                <p:nvPr userDrawn="1"/>
              </p:nvGrpSpPr>
              <p:grpSpPr>
                <a:xfrm>
                  <a:off x="-2866744" y="518074"/>
                  <a:ext cx="168701" cy="132575"/>
                  <a:chOff x="-2866744" y="518074"/>
                  <a:chExt cx="168701" cy="132575"/>
                </a:xfrm>
              </p:grpSpPr>
              <p:cxnSp>
                <p:nvCxnSpPr>
                  <p:cNvPr id="135" name="Rechte verbindingslijn 134">
                    <a:extLst>
                      <a:ext uri="{FF2B5EF4-FFF2-40B4-BE49-F238E27FC236}">
                        <a16:creationId xmlns:a16="http://schemas.microsoft.com/office/drawing/2014/main" id="{2254DB0C-E2F9-47A0-A121-9EF6C7174C9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36" name="Rechte verbindingslijn 135">
                    <a:extLst>
                      <a:ext uri="{FF2B5EF4-FFF2-40B4-BE49-F238E27FC236}">
                        <a16:creationId xmlns:a16="http://schemas.microsoft.com/office/drawing/2014/main" id="{A1D6AD39-24C5-4EA6-832B-26284A4901B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37" name="Rechte verbindingslijn 136">
                    <a:extLst>
                      <a:ext uri="{FF2B5EF4-FFF2-40B4-BE49-F238E27FC236}">
                        <a16:creationId xmlns:a16="http://schemas.microsoft.com/office/drawing/2014/main" id="{1CE2534D-038D-4E7F-BF91-69F8A1B402A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8" name="Rechte verbindingslijn 137">
                    <a:extLst>
                      <a:ext uri="{FF2B5EF4-FFF2-40B4-BE49-F238E27FC236}">
                        <a16:creationId xmlns:a16="http://schemas.microsoft.com/office/drawing/2014/main" id="{68E90FCD-A7F1-42F3-909A-47A18420FA7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F00788C6-BB86-4B62-B535-CD9E0876923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34" name="Pijl: rechts 133">
                  <a:extLst>
                    <a:ext uri="{FF2B5EF4-FFF2-40B4-BE49-F238E27FC236}">
                      <a16:creationId xmlns:a16="http://schemas.microsoft.com/office/drawing/2014/main" id="{4ED6A961-73DB-4C59-B6F9-25DED3A15656}"/>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11" name="Rechte verbindingslijn 110">
                <a:extLst>
                  <a:ext uri="{FF2B5EF4-FFF2-40B4-BE49-F238E27FC236}">
                    <a16:creationId xmlns:a16="http://schemas.microsoft.com/office/drawing/2014/main" id="{B0368D63-E0C2-445A-873E-98700E376DF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2" name="Rechte verbindingslijn 111">
                <a:extLst>
                  <a:ext uri="{FF2B5EF4-FFF2-40B4-BE49-F238E27FC236}">
                    <a16:creationId xmlns:a16="http://schemas.microsoft.com/office/drawing/2014/main" id="{F5B11B97-07E0-4D2E-B94D-44A50EA96B3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13" name="Rechthoek 112">
                <a:extLst>
                  <a:ext uri="{FF2B5EF4-FFF2-40B4-BE49-F238E27FC236}">
                    <a16:creationId xmlns:a16="http://schemas.microsoft.com/office/drawing/2014/main" id="{D498ADA8-5CA6-4188-A546-8B72BDB8472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14" name="Rechthoek 113">
                <a:extLst>
                  <a:ext uri="{FF2B5EF4-FFF2-40B4-BE49-F238E27FC236}">
                    <a16:creationId xmlns:a16="http://schemas.microsoft.com/office/drawing/2014/main" id="{16820E1C-69F0-45E6-9B42-5C75F3C20FF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15" name="Groep 114">
                <a:extLst>
                  <a:ext uri="{FF2B5EF4-FFF2-40B4-BE49-F238E27FC236}">
                    <a16:creationId xmlns:a16="http://schemas.microsoft.com/office/drawing/2014/main" id="{362BC9C5-FEFB-49BD-861A-753681DF5BD1}"/>
                  </a:ext>
                </a:extLst>
              </p:cNvPr>
              <p:cNvGrpSpPr/>
              <p:nvPr userDrawn="1"/>
            </p:nvGrpSpPr>
            <p:grpSpPr>
              <a:xfrm>
                <a:off x="-2916763" y="769168"/>
                <a:ext cx="268738" cy="248381"/>
                <a:chOff x="-2916763" y="769168"/>
                <a:chExt cx="268738" cy="248381"/>
              </a:xfrm>
            </p:grpSpPr>
            <p:sp>
              <p:nvSpPr>
                <p:cNvPr id="125" name="Rechthoek 124">
                  <a:extLst>
                    <a:ext uri="{FF2B5EF4-FFF2-40B4-BE49-F238E27FC236}">
                      <a16:creationId xmlns:a16="http://schemas.microsoft.com/office/drawing/2014/main" id="{03557EAA-1C8D-4481-991B-9FF3408EDE5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26" name="Groep 125">
                  <a:extLst>
                    <a:ext uri="{FF2B5EF4-FFF2-40B4-BE49-F238E27FC236}">
                      <a16:creationId xmlns:a16="http://schemas.microsoft.com/office/drawing/2014/main" id="{6B958239-0D26-429F-BECC-751F9ED62D96}"/>
                    </a:ext>
                  </a:extLst>
                </p:cNvPr>
                <p:cNvGrpSpPr/>
                <p:nvPr userDrawn="1"/>
              </p:nvGrpSpPr>
              <p:grpSpPr>
                <a:xfrm>
                  <a:off x="-2866744" y="827071"/>
                  <a:ext cx="168701" cy="132575"/>
                  <a:chOff x="-2866744" y="827071"/>
                  <a:chExt cx="168701" cy="132575"/>
                </a:xfrm>
              </p:grpSpPr>
              <p:cxnSp>
                <p:nvCxnSpPr>
                  <p:cNvPr id="128" name="Rechte verbindingslijn 127">
                    <a:extLst>
                      <a:ext uri="{FF2B5EF4-FFF2-40B4-BE49-F238E27FC236}">
                        <a16:creationId xmlns:a16="http://schemas.microsoft.com/office/drawing/2014/main" id="{5350B7C0-B57C-41BD-835D-F640D254E16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29" name="Rechte verbindingslijn 128">
                    <a:extLst>
                      <a:ext uri="{FF2B5EF4-FFF2-40B4-BE49-F238E27FC236}">
                        <a16:creationId xmlns:a16="http://schemas.microsoft.com/office/drawing/2014/main" id="{17ADA0CD-167B-4D85-B637-3BC79137448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97BEBABC-E736-4A13-81A8-FE4D5BC0172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3AAAFB28-B026-4EE6-B818-816C585E3D6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2" name="Rechte verbindingslijn 131">
                    <a:extLst>
                      <a:ext uri="{FF2B5EF4-FFF2-40B4-BE49-F238E27FC236}">
                        <a16:creationId xmlns:a16="http://schemas.microsoft.com/office/drawing/2014/main" id="{529644F5-0FC4-4CD9-8606-26D730A20B7B}"/>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7" name="Pijl: rechts 126">
                  <a:extLst>
                    <a:ext uri="{FF2B5EF4-FFF2-40B4-BE49-F238E27FC236}">
                      <a16:creationId xmlns:a16="http://schemas.microsoft.com/office/drawing/2014/main" id="{7AA6C97D-19E8-4254-8F57-254BE4A1236D}"/>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D9328DFD-3F09-4BC4-98AC-C92E3B943F96}"/>
                  </a:ext>
                </a:extLst>
              </p:cNvPr>
              <p:cNvGrpSpPr/>
              <p:nvPr userDrawn="1"/>
            </p:nvGrpSpPr>
            <p:grpSpPr>
              <a:xfrm>
                <a:off x="-2916763" y="460171"/>
                <a:ext cx="268738" cy="248381"/>
                <a:chOff x="-2916763" y="460171"/>
                <a:chExt cx="268738" cy="248381"/>
              </a:xfrm>
            </p:grpSpPr>
            <p:sp>
              <p:nvSpPr>
                <p:cNvPr id="117" name="Rechthoek 116">
                  <a:extLst>
                    <a:ext uri="{FF2B5EF4-FFF2-40B4-BE49-F238E27FC236}">
                      <a16:creationId xmlns:a16="http://schemas.microsoft.com/office/drawing/2014/main" id="{AE90578F-A63F-4469-BABA-7E9FA7B875A7}"/>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8" name="Groep 117">
                  <a:extLst>
                    <a:ext uri="{FF2B5EF4-FFF2-40B4-BE49-F238E27FC236}">
                      <a16:creationId xmlns:a16="http://schemas.microsoft.com/office/drawing/2014/main" id="{09C01163-61F4-46D1-AD7F-CF6AD0FF5415}"/>
                    </a:ext>
                  </a:extLst>
                </p:cNvPr>
                <p:cNvGrpSpPr/>
                <p:nvPr userDrawn="1"/>
              </p:nvGrpSpPr>
              <p:grpSpPr>
                <a:xfrm>
                  <a:off x="-2866744" y="518074"/>
                  <a:ext cx="168701" cy="132575"/>
                  <a:chOff x="-2866744" y="518074"/>
                  <a:chExt cx="168701" cy="132575"/>
                </a:xfrm>
              </p:grpSpPr>
              <p:cxnSp>
                <p:nvCxnSpPr>
                  <p:cNvPr id="120" name="Rechte verbindingslijn 119">
                    <a:extLst>
                      <a:ext uri="{FF2B5EF4-FFF2-40B4-BE49-F238E27FC236}">
                        <a16:creationId xmlns:a16="http://schemas.microsoft.com/office/drawing/2014/main" id="{0E2E2C89-F619-47D6-954D-113A9B165F1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1" name="Rechte verbindingslijn 120">
                    <a:extLst>
                      <a:ext uri="{FF2B5EF4-FFF2-40B4-BE49-F238E27FC236}">
                        <a16:creationId xmlns:a16="http://schemas.microsoft.com/office/drawing/2014/main" id="{17C80115-5325-40A3-88B6-FDDB7F5CF8B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1A710F42-7130-4474-88CF-C8FDBFC2E5D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4A9AA6F8-D8EC-4B86-9355-E64F1A58E13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9D1B74CF-576E-43E6-BFC5-C21180C910E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19" name="Pijl: rechts 118">
                  <a:extLst>
                    <a:ext uri="{FF2B5EF4-FFF2-40B4-BE49-F238E27FC236}">
                      <a16:creationId xmlns:a16="http://schemas.microsoft.com/office/drawing/2014/main" id="{83D3A30D-97FB-41AB-80D2-FFA861D93F1D}"/>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45464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kst en Beeld (S)">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515938" y="1347275"/>
            <a:ext cx="6895484" cy="4993200"/>
          </a:xfrm>
        </p:spPr>
        <p:txBody>
          <a:bodyPr vert="horz" lIns="0" t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16" name="Tijdelijke aanduiding voor afbeelding 15">
            <a:extLst>
              <a:ext uri="{FF2B5EF4-FFF2-40B4-BE49-F238E27FC236}">
                <a16:creationId xmlns:a16="http://schemas.microsoft.com/office/drawing/2014/main" id="{5F703955-C0AA-4C71-8720-DD3C7E3203A4}"/>
              </a:ext>
            </a:extLst>
          </p:cNvPr>
          <p:cNvSpPr>
            <a:spLocks noGrp="1"/>
          </p:cNvSpPr>
          <p:nvPr>
            <p:ph type="pic" sz="quarter" idx="14" hasCustomPrompt="1"/>
          </p:nvPr>
        </p:nvSpPr>
        <p:spPr>
          <a:xfrm>
            <a:off x="8042876" y="517526"/>
            <a:ext cx="3627571" cy="5822948"/>
          </a:xfrm>
          <a:custGeom>
            <a:avLst/>
            <a:gdLst>
              <a:gd name="connsiteX0" fmla="*/ 305995 w 3627571"/>
              <a:gd name="connsiteY0" fmla="*/ 0 h 5822948"/>
              <a:gd name="connsiteX1" fmla="*/ 1440172 w 3627571"/>
              <a:gd name="connsiteY1" fmla="*/ 0 h 5822948"/>
              <a:gd name="connsiteX2" fmla="*/ 3627571 w 3627571"/>
              <a:gd name="connsiteY2" fmla="*/ 0 h 5822948"/>
              <a:gd name="connsiteX3" fmla="*/ 3627571 w 3627571"/>
              <a:gd name="connsiteY3" fmla="*/ 5822948 h 5822948"/>
              <a:gd name="connsiteX4" fmla="*/ 707110 w 3627571"/>
              <a:gd name="connsiteY4" fmla="*/ 5822948 h 5822948"/>
              <a:gd name="connsiteX5" fmla="*/ 306009 w 3627571"/>
              <a:gd name="connsiteY5" fmla="*/ 5822948 h 5822948"/>
              <a:gd name="connsiteX6" fmla="*/ 0 w 3627571"/>
              <a:gd name="connsiteY6" fmla="*/ 2911410 h 582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7571" h="5822948">
                <a:moveTo>
                  <a:pt x="305995" y="0"/>
                </a:moveTo>
                <a:lnTo>
                  <a:pt x="1440172" y="0"/>
                </a:lnTo>
                <a:lnTo>
                  <a:pt x="3627571" y="0"/>
                </a:lnTo>
                <a:lnTo>
                  <a:pt x="3627571" y="5822948"/>
                </a:lnTo>
                <a:lnTo>
                  <a:pt x="707110" y="5822948"/>
                </a:lnTo>
                <a:lnTo>
                  <a:pt x="306009" y="5822948"/>
                </a:lnTo>
                <a:lnTo>
                  <a:pt x="0" y="291141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 </a:t>
            </a:r>
            <a:br>
              <a:rPr lang="nl-NL" dirty="0"/>
            </a:br>
            <a:r>
              <a:rPr lang="nl-NL" dirty="0"/>
              <a:t>Bekijk de sectie met instructie slides </a:t>
            </a:r>
            <a:br>
              <a:rPr lang="nl-NL" dirty="0"/>
            </a:br>
            <a:r>
              <a:rPr lang="nl-NL" dirty="0"/>
              <a:t>voor verdere informatie. </a:t>
            </a:r>
          </a:p>
          <a:p>
            <a:endParaRPr lang="nl-NL" dirty="0"/>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2" name="Titel 11">
            <a:extLst>
              <a:ext uri="{FF2B5EF4-FFF2-40B4-BE49-F238E27FC236}">
                <a16:creationId xmlns:a16="http://schemas.microsoft.com/office/drawing/2014/main" id="{558CC783-A5CE-440A-B704-9181273333C0}"/>
              </a:ext>
            </a:extLst>
          </p:cNvPr>
          <p:cNvSpPr>
            <a:spLocks noGrp="1"/>
          </p:cNvSpPr>
          <p:nvPr>
            <p:ph type="title" hasCustomPrompt="1"/>
          </p:nvPr>
        </p:nvSpPr>
        <p:spPr>
          <a:xfrm>
            <a:off x="515941" y="517525"/>
            <a:ext cx="6895481" cy="488950"/>
          </a:xfrm>
        </p:spPr>
        <p:txBody>
          <a:bodyPr/>
          <a:lstStyle>
            <a:lvl1pPr>
              <a:defRPr/>
            </a:lvl1pPr>
          </a:lstStyle>
          <a:p>
            <a:r>
              <a:rPr lang="nl-NL" dirty="0"/>
              <a:t>Plaats hier je titel</a:t>
            </a:r>
          </a:p>
        </p:txBody>
      </p:sp>
      <p:grpSp>
        <p:nvGrpSpPr>
          <p:cNvPr id="70" name="INSTRUCTIE">
            <a:extLst>
              <a:ext uri="{FF2B5EF4-FFF2-40B4-BE49-F238E27FC236}">
                <a16:creationId xmlns:a16="http://schemas.microsoft.com/office/drawing/2014/main" id="{A6281B1E-0ECF-47DC-AC18-44FBC6BBFC55}"/>
              </a:ext>
            </a:extLst>
          </p:cNvPr>
          <p:cNvGrpSpPr/>
          <p:nvPr userDrawn="1"/>
        </p:nvGrpSpPr>
        <p:grpSpPr>
          <a:xfrm>
            <a:off x="-3786165" y="0"/>
            <a:ext cx="3593091" cy="4641338"/>
            <a:chOff x="-3786165" y="0"/>
            <a:chExt cx="3593091" cy="4641338"/>
          </a:xfrm>
        </p:grpSpPr>
        <p:sp>
          <p:nvSpPr>
            <p:cNvPr id="71" name="Rechthoek 70">
              <a:extLst>
                <a:ext uri="{FF2B5EF4-FFF2-40B4-BE49-F238E27FC236}">
                  <a16:creationId xmlns:a16="http://schemas.microsoft.com/office/drawing/2014/main" id="{0E7E842A-7E71-4C62-BDE5-A7F7893818E0}"/>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72" name="Ovaal 71">
              <a:extLst>
                <a:ext uri="{FF2B5EF4-FFF2-40B4-BE49-F238E27FC236}">
                  <a16:creationId xmlns:a16="http://schemas.microsoft.com/office/drawing/2014/main" id="{CE8656EA-12CD-43BF-8FF5-8321EEEC5C6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3" name="Rechthoek 72">
              <a:extLst>
                <a:ext uri="{FF2B5EF4-FFF2-40B4-BE49-F238E27FC236}">
                  <a16:creationId xmlns:a16="http://schemas.microsoft.com/office/drawing/2014/main" id="{B7067F90-5AB9-4E07-ABD5-F375B0DDCE3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74" name="Ovaal 73">
              <a:extLst>
                <a:ext uri="{FF2B5EF4-FFF2-40B4-BE49-F238E27FC236}">
                  <a16:creationId xmlns:a16="http://schemas.microsoft.com/office/drawing/2014/main" id="{9EF57BDC-A0D1-435E-9B96-037B4269A94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5" name="Rechthoek 74">
              <a:extLst>
                <a:ext uri="{FF2B5EF4-FFF2-40B4-BE49-F238E27FC236}">
                  <a16:creationId xmlns:a16="http://schemas.microsoft.com/office/drawing/2014/main" id="{AFB8EB5C-B817-4FC1-B4B2-D38EC692CDD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76" name="Rechthoek 75">
              <a:extLst>
                <a:ext uri="{FF2B5EF4-FFF2-40B4-BE49-F238E27FC236}">
                  <a16:creationId xmlns:a16="http://schemas.microsoft.com/office/drawing/2014/main" id="{7DECF513-1B23-44FE-8F17-124708BDAF39}"/>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77" name="Ovaal 76">
              <a:extLst>
                <a:ext uri="{FF2B5EF4-FFF2-40B4-BE49-F238E27FC236}">
                  <a16:creationId xmlns:a16="http://schemas.microsoft.com/office/drawing/2014/main" id="{39D2E74E-BFD4-4612-8406-A3DB0A12083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78" name="Rechthoek 77">
              <a:extLst>
                <a:ext uri="{FF2B5EF4-FFF2-40B4-BE49-F238E27FC236}">
                  <a16:creationId xmlns:a16="http://schemas.microsoft.com/office/drawing/2014/main" id="{B643B4DC-AE8B-4975-BBAC-2F2CEA41B488}"/>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79" name="Ovaal 78">
              <a:extLst>
                <a:ext uri="{FF2B5EF4-FFF2-40B4-BE49-F238E27FC236}">
                  <a16:creationId xmlns:a16="http://schemas.microsoft.com/office/drawing/2014/main" id="{ECFCACE6-46EC-4034-84CD-589962A856BF}"/>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0" name="Rechthoek 79">
              <a:extLst>
                <a:ext uri="{FF2B5EF4-FFF2-40B4-BE49-F238E27FC236}">
                  <a16:creationId xmlns:a16="http://schemas.microsoft.com/office/drawing/2014/main" id="{CE262A4B-2D19-4710-9BBF-8ACAB6D0E35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81" name="Ovaal 80">
              <a:extLst>
                <a:ext uri="{FF2B5EF4-FFF2-40B4-BE49-F238E27FC236}">
                  <a16:creationId xmlns:a16="http://schemas.microsoft.com/office/drawing/2014/main" id="{7FB0461E-B291-41C3-808A-6BECE66EEED8}"/>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82" name="Rechthoek 81">
              <a:extLst>
                <a:ext uri="{FF2B5EF4-FFF2-40B4-BE49-F238E27FC236}">
                  <a16:creationId xmlns:a16="http://schemas.microsoft.com/office/drawing/2014/main" id="{258D12E4-270A-4D6C-82B9-04C27F8AE930}"/>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83" name="Ovaal 82">
              <a:extLst>
                <a:ext uri="{FF2B5EF4-FFF2-40B4-BE49-F238E27FC236}">
                  <a16:creationId xmlns:a16="http://schemas.microsoft.com/office/drawing/2014/main" id="{312B8F17-4E72-4FB1-A898-B1D7CB68C26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84" name="Rechthoek 83">
              <a:extLst>
                <a:ext uri="{FF2B5EF4-FFF2-40B4-BE49-F238E27FC236}">
                  <a16:creationId xmlns:a16="http://schemas.microsoft.com/office/drawing/2014/main" id="{1D8B344C-9D93-4FDB-B9F9-6879661ED333}"/>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85" name="Ovaal 84">
              <a:extLst>
                <a:ext uri="{FF2B5EF4-FFF2-40B4-BE49-F238E27FC236}">
                  <a16:creationId xmlns:a16="http://schemas.microsoft.com/office/drawing/2014/main" id="{676189A2-BEBC-4AC1-B490-7B5E92FD672D}"/>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86" name="Rechthoek 85">
              <a:extLst>
                <a:ext uri="{FF2B5EF4-FFF2-40B4-BE49-F238E27FC236}">
                  <a16:creationId xmlns:a16="http://schemas.microsoft.com/office/drawing/2014/main" id="{5DCE4150-6DE2-46F1-85B9-D12179360E0B}"/>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87" name="Ovaal 86">
              <a:extLst>
                <a:ext uri="{FF2B5EF4-FFF2-40B4-BE49-F238E27FC236}">
                  <a16:creationId xmlns:a16="http://schemas.microsoft.com/office/drawing/2014/main" id="{C717B40B-D959-4C2D-BD68-FCE4CB0B4C8D}"/>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88" name="Rechthoek 87">
              <a:extLst>
                <a:ext uri="{FF2B5EF4-FFF2-40B4-BE49-F238E27FC236}">
                  <a16:creationId xmlns:a16="http://schemas.microsoft.com/office/drawing/2014/main" id="{717345A6-596D-4817-887E-F3483D34779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89" name="Ovaal 88">
              <a:extLst>
                <a:ext uri="{FF2B5EF4-FFF2-40B4-BE49-F238E27FC236}">
                  <a16:creationId xmlns:a16="http://schemas.microsoft.com/office/drawing/2014/main" id="{E162221C-685C-4A7C-AB13-F3CAB9C6812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90" name="Rechthoek 89">
              <a:extLst>
                <a:ext uri="{FF2B5EF4-FFF2-40B4-BE49-F238E27FC236}">
                  <a16:creationId xmlns:a16="http://schemas.microsoft.com/office/drawing/2014/main" id="{7049C470-44B8-4A27-9820-9D377FF24122}"/>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91" name="VOORBEELD">
              <a:extLst>
                <a:ext uri="{FF2B5EF4-FFF2-40B4-BE49-F238E27FC236}">
                  <a16:creationId xmlns:a16="http://schemas.microsoft.com/office/drawing/2014/main" id="{5D636934-1A92-42FC-8C37-5722E1802CDC}"/>
                </a:ext>
              </a:extLst>
            </p:cNvPr>
            <p:cNvGrpSpPr/>
            <p:nvPr userDrawn="1"/>
          </p:nvGrpSpPr>
          <p:grpSpPr>
            <a:xfrm>
              <a:off x="-3605171" y="458674"/>
              <a:ext cx="3234311" cy="558875"/>
              <a:chOff x="-3605171" y="458674"/>
              <a:chExt cx="3234311" cy="558875"/>
            </a:xfrm>
          </p:grpSpPr>
          <p:sp>
            <p:nvSpPr>
              <p:cNvPr id="92" name="Rechthoek 91">
                <a:extLst>
                  <a:ext uri="{FF2B5EF4-FFF2-40B4-BE49-F238E27FC236}">
                    <a16:creationId xmlns:a16="http://schemas.microsoft.com/office/drawing/2014/main" id="{6387A327-922A-434C-8023-17912B46005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93" name="Rechthoek 92">
                <a:extLst>
                  <a:ext uri="{FF2B5EF4-FFF2-40B4-BE49-F238E27FC236}">
                    <a16:creationId xmlns:a16="http://schemas.microsoft.com/office/drawing/2014/main" id="{E4C79077-00C0-4600-BF7F-F08B6C53E715}"/>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7CDC5C1B-BCCA-47B8-A454-EED3CE02F163}"/>
                  </a:ext>
                </a:extLst>
              </p:cNvPr>
              <p:cNvGrpSpPr/>
              <p:nvPr userDrawn="1"/>
            </p:nvGrpSpPr>
            <p:grpSpPr>
              <a:xfrm>
                <a:off x="-3386247" y="830871"/>
                <a:ext cx="139423" cy="109566"/>
                <a:chOff x="-2866744" y="827071"/>
                <a:chExt cx="168701" cy="132575"/>
              </a:xfrm>
            </p:grpSpPr>
            <p:grpSp>
              <p:nvGrpSpPr>
                <p:cNvPr id="125" name="Groep 124">
                  <a:extLst>
                    <a:ext uri="{FF2B5EF4-FFF2-40B4-BE49-F238E27FC236}">
                      <a16:creationId xmlns:a16="http://schemas.microsoft.com/office/drawing/2014/main" id="{29FC07A2-177E-4CE5-8752-7E4D7B9EC2B1}"/>
                    </a:ext>
                  </a:extLst>
                </p:cNvPr>
                <p:cNvGrpSpPr/>
                <p:nvPr userDrawn="1"/>
              </p:nvGrpSpPr>
              <p:grpSpPr>
                <a:xfrm>
                  <a:off x="-2866744" y="827071"/>
                  <a:ext cx="168701" cy="132575"/>
                  <a:chOff x="-2866744" y="827071"/>
                  <a:chExt cx="168701" cy="132575"/>
                </a:xfrm>
              </p:grpSpPr>
              <p:cxnSp>
                <p:nvCxnSpPr>
                  <p:cNvPr id="127" name="Rechte verbindingslijn 126">
                    <a:extLst>
                      <a:ext uri="{FF2B5EF4-FFF2-40B4-BE49-F238E27FC236}">
                        <a16:creationId xmlns:a16="http://schemas.microsoft.com/office/drawing/2014/main" id="{9ABE3FB8-42B3-4BA2-9D43-322689012D0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28" name="Rechte verbindingslijn 127">
                    <a:extLst>
                      <a:ext uri="{FF2B5EF4-FFF2-40B4-BE49-F238E27FC236}">
                        <a16:creationId xmlns:a16="http://schemas.microsoft.com/office/drawing/2014/main" id="{C67D7D34-91AC-454A-97A9-1A253D5C984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29" name="Rechte verbindingslijn 128">
                    <a:extLst>
                      <a:ext uri="{FF2B5EF4-FFF2-40B4-BE49-F238E27FC236}">
                        <a16:creationId xmlns:a16="http://schemas.microsoft.com/office/drawing/2014/main" id="{6C1B766F-C70E-428A-A026-97A718E254C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2D9B9099-6524-4FD6-A2F7-DE57BCFEA971}"/>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C97A0D3D-C71F-48BD-B798-D206398141A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6" name="Pijl: rechts 125">
                  <a:extLst>
                    <a:ext uri="{FF2B5EF4-FFF2-40B4-BE49-F238E27FC236}">
                      <a16:creationId xmlns:a16="http://schemas.microsoft.com/office/drawing/2014/main" id="{A21D6B61-ECBD-46AE-BAA6-83D83A6CEEB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95" name="Groep 94">
                <a:extLst>
                  <a:ext uri="{FF2B5EF4-FFF2-40B4-BE49-F238E27FC236}">
                    <a16:creationId xmlns:a16="http://schemas.microsoft.com/office/drawing/2014/main" id="{70D99BFC-8CC5-45FF-B673-80DDA82374D9}"/>
                  </a:ext>
                </a:extLst>
              </p:cNvPr>
              <p:cNvGrpSpPr/>
              <p:nvPr userDrawn="1"/>
            </p:nvGrpSpPr>
            <p:grpSpPr>
              <a:xfrm>
                <a:off x="-3605171" y="830871"/>
                <a:ext cx="139423" cy="109566"/>
                <a:chOff x="-2866744" y="518074"/>
                <a:chExt cx="168701" cy="132575"/>
              </a:xfrm>
            </p:grpSpPr>
            <p:grpSp>
              <p:nvGrpSpPr>
                <p:cNvPr id="118" name="Groep 117">
                  <a:extLst>
                    <a:ext uri="{FF2B5EF4-FFF2-40B4-BE49-F238E27FC236}">
                      <a16:creationId xmlns:a16="http://schemas.microsoft.com/office/drawing/2014/main" id="{7BD14A74-3AB6-4362-A96B-6E972035B7DB}"/>
                    </a:ext>
                  </a:extLst>
                </p:cNvPr>
                <p:cNvGrpSpPr/>
                <p:nvPr userDrawn="1"/>
              </p:nvGrpSpPr>
              <p:grpSpPr>
                <a:xfrm>
                  <a:off x="-2866744" y="518074"/>
                  <a:ext cx="168701" cy="132575"/>
                  <a:chOff x="-2866744" y="518074"/>
                  <a:chExt cx="168701" cy="132575"/>
                </a:xfrm>
              </p:grpSpPr>
              <p:cxnSp>
                <p:nvCxnSpPr>
                  <p:cNvPr id="120" name="Rechte verbindingslijn 119">
                    <a:extLst>
                      <a:ext uri="{FF2B5EF4-FFF2-40B4-BE49-F238E27FC236}">
                        <a16:creationId xmlns:a16="http://schemas.microsoft.com/office/drawing/2014/main" id="{080F2D40-A702-4E43-B81F-52FD1BBE19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1" name="Rechte verbindingslijn 120">
                    <a:extLst>
                      <a:ext uri="{FF2B5EF4-FFF2-40B4-BE49-F238E27FC236}">
                        <a16:creationId xmlns:a16="http://schemas.microsoft.com/office/drawing/2014/main" id="{2197F06D-44E2-418E-AED9-29A54EFEBFD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E69DAA91-72A6-41F9-AA51-1739D00038A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3C617F44-1479-44E1-9104-B660E2E58AE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D1023692-D7BA-43F2-B3E8-AF054BC538B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19" name="Pijl: rechts 118">
                  <a:extLst>
                    <a:ext uri="{FF2B5EF4-FFF2-40B4-BE49-F238E27FC236}">
                      <a16:creationId xmlns:a16="http://schemas.microsoft.com/office/drawing/2014/main" id="{7FA480D6-2FE1-4B24-B424-6C83AEE6AF4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96" name="Rechte verbindingslijn 95">
                <a:extLst>
                  <a:ext uri="{FF2B5EF4-FFF2-40B4-BE49-F238E27FC236}">
                    <a16:creationId xmlns:a16="http://schemas.microsoft.com/office/drawing/2014/main" id="{7EF942E4-E2F1-4F09-B18A-2CBEA78BCA8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97" name="Rechte verbindingslijn 96">
                <a:extLst>
                  <a:ext uri="{FF2B5EF4-FFF2-40B4-BE49-F238E27FC236}">
                    <a16:creationId xmlns:a16="http://schemas.microsoft.com/office/drawing/2014/main" id="{6645B3B4-CDA5-4892-8E38-198900EFCD00}"/>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98" name="Rechthoek 97">
                <a:extLst>
                  <a:ext uri="{FF2B5EF4-FFF2-40B4-BE49-F238E27FC236}">
                    <a16:creationId xmlns:a16="http://schemas.microsoft.com/office/drawing/2014/main" id="{EF858BA3-7CB3-417D-8A96-11508CE25B1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99" name="Rechthoek 98">
                <a:extLst>
                  <a:ext uri="{FF2B5EF4-FFF2-40B4-BE49-F238E27FC236}">
                    <a16:creationId xmlns:a16="http://schemas.microsoft.com/office/drawing/2014/main" id="{F5FEB164-2F84-40D2-BC2A-25D8A313404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00" name="Groep 99">
                <a:extLst>
                  <a:ext uri="{FF2B5EF4-FFF2-40B4-BE49-F238E27FC236}">
                    <a16:creationId xmlns:a16="http://schemas.microsoft.com/office/drawing/2014/main" id="{35908DB1-8383-45B7-9A8A-1E8BE07C2AF8}"/>
                  </a:ext>
                </a:extLst>
              </p:cNvPr>
              <p:cNvGrpSpPr/>
              <p:nvPr userDrawn="1"/>
            </p:nvGrpSpPr>
            <p:grpSpPr>
              <a:xfrm>
                <a:off x="-2916763" y="769168"/>
                <a:ext cx="268738" cy="248381"/>
                <a:chOff x="-2916763" y="769168"/>
                <a:chExt cx="268738" cy="248381"/>
              </a:xfrm>
            </p:grpSpPr>
            <p:sp>
              <p:nvSpPr>
                <p:cNvPr id="110" name="Rechthoek 109">
                  <a:extLst>
                    <a:ext uri="{FF2B5EF4-FFF2-40B4-BE49-F238E27FC236}">
                      <a16:creationId xmlns:a16="http://schemas.microsoft.com/office/drawing/2014/main" id="{45CCB03D-DA7C-4C3F-8600-1721246E980E}"/>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1" name="Groep 110">
                  <a:extLst>
                    <a:ext uri="{FF2B5EF4-FFF2-40B4-BE49-F238E27FC236}">
                      <a16:creationId xmlns:a16="http://schemas.microsoft.com/office/drawing/2014/main" id="{F7F7236E-2480-4BEA-A1BE-2E782A205F62}"/>
                    </a:ext>
                  </a:extLst>
                </p:cNvPr>
                <p:cNvGrpSpPr/>
                <p:nvPr userDrawn="1"/>
              </p:nvGrpSpPr>
              <p:grpSpPr>
                <a:xfrm>
                  <a:off x="-2866744" y="827071"/>
                  <a:ext cx="168701" cy="132575"/>
                  <a:chOff x="-2866744" y="827071"/>
                  <a:chExt cx="168701" cy="132575"/>
                </a:xfrm>
              </p:grpSpPr>
              <p:cxnSp>
                <p:nvCxnSpPr>
                  <p:cNvPr id="113" name="Rechte verbindingslijn 112">
                    <a:extLst>
                      <a:ext uri="{FF2B5EF4-FFF2-40B4-BE49-F238E27FC236}">
                        <a16:creationId xmlns:a16="http://schemas.microsoft.com/office/drawing/2014/main" id="{E0330322-C01F-428C-AD41-F8222482948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14" name="Rechte verbindingslijn 113">
                    <a:extLst>
                      <a:ext uri="{FF2B5EF4-FFF2-40B4-BE49-F238E27FC236}">
                        <a16:creationId xmlns:a16="http://schemas.microsoft.com/office/drawing/2014/main" id="{877B2BAF-DAA5-4459-BD34-198E2BFAA1C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15" name="Rechte verbindingslijn 114">
                    <a:extLst>
                      <a:ext uri="{FF2B5EF4-FFF2-40B4-BE49-F238E27FC236}">
                        <a16:creationId xmlns:a16="http://schemas.microsoft.com/office/drawing/2014/main" id="{A2822821-D5EA-4075-BDFC-D6F03129D142}"/>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16" name="Rechte verbindingslijn 115">
                    <a:extLst>
                      <a:ext uri="{FF2B5EF4-FFF2-40B4-BE49-F238E27FC236}">
                        <a16:creationId xmlns:a16="http://schemas.microsoft.com/office/drawing/2014/main" id="{B1845ED6-AEB7-4FF4-A131-DBB3C326CB5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17" name="Rechte verbindingslijn 116">
                    <a:extLst>
                      <a:ext uri="{FF2B5EF4-FFF2-40B4-BE49-F238E27FC236}">
                        <a16:creationId xmlns:a16="http://schemas.microsoft.com/office/drawing/2014/main" id="{75C21D7A-9520-4551-A1DF-85DF89E709BB}"/>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12" name="Pijl: rechts 111">
                  <a:extLst>
                    <a:ext uri="{FF2B5EF4-FFF2-40B4-BE49-F238E27FC236}">
                      <a16:creationId xmlns:a16="http://schemas.microsoft.com/office/drawing/2014/main" id="{C9C9D303-E781-4615-8A77-9F98ACAA32A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BEBF9242-6C08-4D70-9C48-97DC7715DEAC}"/>
                  </a:ext>
                </a:extLst>
              </p:cNvPr>
              <p:cNvGrpSpPr/>
              <p:nvPr userDrawn="1"/>
            </p:nvGrpSpPr>
            <p:grpSpPr>
              <a:xfrm>
                <a:off x="-2916763" y="460171"/>
                <a:ext cx="268738" cy="248381"/>
                <a:chOff x="-2916763" y="460171"/>
                <a:chExt cx="268738" cy="248381"/>
              </a:xfrm>
            </p:grpSpPr>
            <p:sp>
              <p:nvSpPr>
                <p:cNvPr id="102" name="Rechthoek 101">
                  <a:extLst>
                    <a:ext uri="{FF2B5EF4-FFF2-40B4-BE49-F238E27FC236}">
                      <a16:creationId xmlns:a16="http://schemas.microsoft.com/office/drawing/2014/main" id="{B5A7FBAB-3686-479B-A80E-47D2CB991CC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03" name="Groep 102">
                  <a:extLst>
                    <a:ext uri="{FF2B5EF4-FFF2-40B4-BE49-F238E27FC236}">
                      <a16:creationId xmlns:a16="http://schemas.microsoft.com/office/drawing/2014/main" id="{34DA45D4-3905-44A3-8C0B-7ABC6943C979}"/>
                    </a:ext>
                  </a:extLst>
                </p:cNvPr>
                <p:cNvGrpSpPr/>
                <p:nvPr userDrawn="1"/>
              </p:nvGrpSpPr>
              <p:grpSpPr>
                <a:xfrm>
                  <a:off x="-2866744" y="518074"/>
                  <a:ext cx="168701" cy="132575"/>
                  <a:chOff x="-2866744" y="518074"/>
                  <a:chExt cx="168701" cy="132575"/>
                </a:xfrm>
              </p:grpSpPr>
              <p:cxnSp>
                <p:nvCxnSpPr>
                  <p:cNvPr id="105" name="Rechte verbindingslijn 104">
                    <a:extLst>
                      <a:ext uri="{FF2B5EF4-FFF2-40B4-BE49-F238E27FC236}">
                        <a16:creationId xmlns:a16="http://schemas.microsoft.com/office/drawing/2014/main" id="{8198502A-3BD1-4A18-BD7C-B2A20A52A1E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06" name="Rechte verbindingslijn 105">
                    <a:extLst>
                      <a:ext uri="{FF2B5EF4-FFF2-40B4-BE49-F238E27FC236}">
                        <a16:creationId xmlns:a16="http://schemas.microsoft.com/office/drawing/2014/main" id="{97EE1A9F-1698-4830-BAAB-5735AA1F9DD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07" name="Rechte verbindingslijn 106">
                    <a:extLst>
                      <a:ext uri="{FF2B5EF4-FFF2-40B4-BE49-F238E27FC236}">
                        <a16:creationId xmlns:a16="http://schemas.microsoft.com/office/drawing/2014/main" id="{235D9E3B-F80B-4B2B-831B-ED8208EA4EB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08" name="Rechte verbindingslijn 107">
                    <a:extLst>
                      <a:ext uri="{FF2B5EF4-FFF2-40B4-BE49-F238E27FC236}">
                        <a16:creationId xmlns:a16="http://schemas.microsoft.com/office/drawing/2014/main" id="{037DAD27-463C-44CF-BAC3-5C772A4798B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09" name="Rechte verbindingslijn 108">
                    <a:extLst>
                      <a:ext uri="{FF2B5EF4-FFF2-40B4-BE49-F238E27FC236}">
                        <a16:creationId xmlns:a16="http://schemas.microsoft.com/office/drawing/2014/main" id="{85252F26-E862-45BD-95AB-077F2CF4557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04" name="Pijl: rechts 103">
                  <a:extLst>
                    <a:ext uri="{FF2B5EF4-FFF2-40B4-BE49-F238E27FC236}">
                      <a16:creationId xmlns:a16="http://schemas.microsoft.com/office/drawing/2014/main" id="{690A49C4-FD7D-42A0-8D66-169C25CB2A7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132" name="INSTRUCTIE">
            <a:extLst>
              <a:ext uri="{FF2B5EF4-FFF2-40B4-BE49-F238E27FC236}">
                <a16:creationId xmlns:a16="http://schemas.microsoft.com/office/drawing/2014/main" id="{94DFA71D-6837-4A53-AA22-E512F8A6AD35}"/>
              </a:ext>
            </a:extLst>
          </p:cNvPr>
          <p:cNvGrpSpPr/>
          <p:nvPr userDrawn="1"/>
        </p:nvGrpSpPr>
        <p:grpSpPr>
          <a:xfrm>
            <a:off x="8469641" y="7033211"/>
            <a:ext cx="3727954" cy="1728407"/>
            <a:chOff x="5846" y="7033211"/>
            <a:chExt cx="3727954" cy="1728407"/>
          </a:xfrm>
        </p:grpSpPr>
        <p:sp>
          <p:nvSpPr>
            <p:cNvPr id="133" name="Rechthoek 132">
              <a:extLst>
                <a:ext uri="{FF2B5EF4-FFF2-40B4-BE49-F238E27FC236}">
                  <a16:creationId xmlns:a16="http://schemas.microsoft.com/office/drawing/2014/main" id="{7E5B6CB7-B384-46B1-AB82-5455E51A0BDB}"/>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34" name="Ovaal 133">
              <a:extLst>
                <a:ext uri="{FF2B5EF4-FFF2-40B4-BE49-F238E27FC236}">
                  <a16:creationId xmlns:a16="http://schemas.microsoft.com/office/drawing/2014/main" id="{18250218-ADAA-4DAC-9DE2-837540877ED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5" name="Rechthoek 134">
              <a:extLst>
                <a:ext uri="{FF2B5EF4-FFF2-40B4-BE49-F238E27FC236}">
                  <a16:creationId xmlns:a16="http://schemas.microsoft.com/office/drawing/2014/main" id="{296A87C6-6F67-4872-85EC-ED3F2D47192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6" name="Ovaal 135">
              <a:extLst>
                <a:ext uri="{FF2B5EF4-FFF2-40B4-BE49-F238E27FC236}">
                  <a16:creationId xmlns:a16="http://schemas.microsoft.com/office/drawing/2014/main" id="{A86877DA-D694-4D32-AEC2-644E30234614}"/>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7" name="Rechthoek 136">
              <a:extLst>
                <a:ext uri="{FF2B5EF4-FFF2-40B4-BE49-F238E27FC236}">
                  <a16:creationId xmlns:a16="http://schemas.microsoft.com/office/drawing/2014/main" id="{B0324446-39FC-4B1D-AF41-3E67EFF7D616}"/>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8" name="Groep 137">
              <a:extLst>
                <a:ext uri="{FF2B5EF4-FFF2-40B4-BE49-F238E27FC236}">
                  <a16:creationId xmlns:a16="http://schemas.microsoft.com/office/drawing/2014/main" id="{DCDEA7F8-68AB-460E-8067-B4F40F547790}"/>
                </a:ext>
              </a:extLst>
            </p:cNvPr>
            <p:cNvGrpSpPr/>
            <p:nvPr userDrawn="1"/>
          </p:nvGrpSpPr>
          <p:grpSpPr>
            <a:xfrm>
              <a:off x="2939884" y="7739834"/>
              <a:ext cx="681133" cy="750023"/>
              <a:chOff x="-910573" y="4987990"/>
              <a:chExt cx="681133" cy="750023"/>
            </a:xfrm>
          </p:grpSpPr>
          <p:grpSp>
            <p:nvGrpSpPr>
              <p:cNvPr id="139" name="Groep 138">
                <a:extLst>
                  <a:ext uri="{FF2B5EF4-FFF2-40B4-BE49-F238E27FC236}">
                    <a16:creationId xmlns:a16="http://schemas.microsoft.com/office/drawing/2014/main" id="{E5B0B377-5E3E-437B-8F0A-24F8BB185BBC}"/>
                  </a:ext>
                </a:extLst>
              </p:cNvPr>
              <p:cNvGrpSpPr/>
              <p:nvPr userDrawn="1"/>
            </p:nvGrpSpPr>
            <p:grpSpPr>
              <a:xfrm>
                <a:off x="-713542" y="4987990"/>
                <a:ext cx="287071" cy="379107"/>
                <a:chOff x="-4050578" y="288410"/>
                <a:chExt cx="322125" cy="379107"/>
              </a:xfrm>
            </p:grpSpPr>
            <p:sp>
              <p:nvSpPr>
                <p:cNvPr id="141" name="Rechthoek met één afgeknipte en afgeronde hoek 47">
                  <a:extLst>
                    <a:ext uri="{FF2B5EF4-FFF2-40B4-BE49-F238E27FC236}">
                      <a16:creationId xmlns:a16="http://schemas.microsoft.com/office/drawing/2014/main" id="{50C1A48C-6A2B-4DEF-9094-35E000C47F2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ige driehoek 141">
                  <a:extLst>
                    <a:ext uri="{FF2B5EF4-FFF2-40B4-BE49-F238E27FC236}">
                      <a16:creationId xmlns:a16="http://schemas.microsoft.com/office/drawing/2014/main" id="{420BE339-EE48-4326-95DB-0A85B606075A}"/>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3" name="Rechthoek 142">
                  <a:extLst>
                    <a:ext uri="{FF2B5EF4-FFF2-40B4-BE49-F238E27FC236}">
                      <a16:creationId xmlns:a16="http://schemas.microsoft.com/office/drawing/2014/main" id="{17D4BCB8-837C-485D-8F4B-D06E459578F9}"/>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4" name="Rechthoek 143">
                  <a:extLst>
                    <a:ext uri="{FF2B5EF4-FFF2-40B4-BE49-F238E27FC236}">
                      <a16:creationId xmlns:a16="http://schemas.microsoft.com/office/drawing/2014/main" id="{8B130C71-426B-48A8-91BA-FD2968523F7C}"/>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40" name="Rechthoek 139">
                <a:extLst>
                  <a:ext uri="{FF2B5EF4-FFF2-40B4-BE49-F238E27FC236}">
                    <a16:creationId xmlns:a16="http://schemas.microsoft.com/office/drawing/2014/main" id="{F08A7806-57D8-4461-B1A2-65B0790A4E9A}"/>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145" name="Groep 144">
            <a:extLst>
              <a:ext uri="{FF2B5EF4-FFF2-40B4-BE49-F238E27FC236}">
                <a16:creationId xmlns:a16="http://schemas.microsoft.com/office/drawing/2014/main" id="{E8FFD949-1799-4B11-9324-81FF057CFEF2}"/>
              </a:ext>
            </a:extLst>
          </p:cNvPr>
          <p:cNvGrpSpPr/>
          <p:nvPr userDrawn="1"/>
        </p:nvGrpSpPr>
        <p:grpSpPr>
          <a:xfrm>
            <a:off x="12377867" y="0"/>
            <a:ext cx="3593091" cy="6025208"/>
            <a:chOff x="12377867" y="0"/>
            <a:chExt cx="3593091" cy="6025208"/>
          </a:xfrm>
        </p:grpSpPr>
        <p:sp>
          <p:nvSpPr>
            <p:cNvPr id="146" name="Rechthoek 145">
              <a:extLst>
                <a:ext uri="{FF2B5EF4-FFF2-40B4-BE49-F238E27FC236}">
                  <a16:creationId xmlns:a16="http://schemas.microsoft.com/office/drawing/2014/main" id="{9979664F-DE27-4D88-9E7B-08D9A367F1E7}"/>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147" name="Ovaal 146">
              <a:extLst>
                <a:ext uri="{FF2B5EF4-FFF2-40B4-BE49-F238E27FC236}">
                  <a16:creationId xmlns:a16="http://schemas.microsoft.com/office/drawing/2014/main" id="{68A34DE8-4209-41E6-A2B7-9816CAE93278}"/>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8" name="Rechthoek 147">
              <a:extLst>
                <a:ext uri="{FF2B5EF4-FFF2-40B4-BE49-F238E27FC236}">
                  <a16:creationId xmlns:a16="http://schemas.microsoft.com/office/drawing/2014/main" id="{BC7CE9E3-6EFD-4EC8-8C29-9C5078B0D192}"/>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9" name="Groep 148">
              <a:extLst>
                <a:ext uri="{FF2B5EF4-FFF2-40B4-BE49-F238E27FC236}">
                  <a16:creationId xmlns:a16="http://schemas.microsoft.com/office/drawing/2014/main" id="{5379B105-6AB5-412B-9DD7-F2859B6C5A98}"/>
                </a:ext>
              </a:extLst>
            </p:cNvPr>
            <p:cNvGrpSpPr/>
            <p:nvPr userDrawn="1"/>
          </p:nvGrpSpPr>
          <p:grpSpPr>
            <a:xfrm>
              <a:off x="12847853" y="1231351"/>
              <a:ext cx="294789" cy="318834"/>
              <a:chOff x="14466489" y="1001522"/>
              <a:chExt cx="290627" cy="314333"/>
            </a:xfrm>
          </p:grpSpPr>
          <p:sp>
            <p:nvSpPr>
              <p:cNvPr id="200" name="Rechthoek 199">
                <a:extLst>
                  <a:ext uri="{FF2B5EF4-FFF2-40B4-BE49-F238E27FC236}">
                    <a16:creationId xmlns:a16="http://schemas.microsoft.com/office/drawing/2014/main" id="{0E3608C7-5D7D-468D-9131-470A35202898}"/>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1" name="Ovaal 200">
                <a:extLst>
                  <a:ext uri="{FF2B5EF4-FFF2-40B4-BE49-F238E27FC236}">
                    <a16:creationId xmlns:a16="http://schemas.microsoft.com/office/drawing/2014/main" id="{F259F631-506A-4FA1-8FE1-93DCE8428D5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Vrije vorm: vorm 201">
                <a:extLst>
                  <a:ext uri="{FF2B5EF4-FFF2-40B4-BE49-F238E27FC236}">
                    <a16:creationId xmlns:a16="http://schemas.microsoft.com/office/drawing/2014/main" id="{9CD55C55-CF88-43CB-BE3B-EE229E04A8CE}"/>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3" name="Rechthoek: afgeronde hoeken 202">
                <a:extLst>
                  <a:ext uri="{FF2B5EF4-FFF2-40B4-BE49-F238E27FC236}">
                    <a16:creationId xmlns:a16="http://schemas.microsoft.com/office/drawing/2014/main" id="{C4C1CBB4-97A0-4F9F-8019-C4B69454ACF2}"/>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4" name="Rechte verbindingslijn 203">
                <a:extLst>
                  <a:ext uri="{FF2B5EF4-FFF2-40B4-BE49-F238E27FC236}">
                    <a16:creationId xmlns:a16="http://schemas.microsoft.com/office/drawing/2014/main" id="{1377F0A4-4199-4213-902A-243D5457FD84}"/>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5" name="Rechte verbindingslijn 204">
                <a:extLst>
                  <a:ext uri="{FF2B5EF4-FFF2-40B4-BE49-F238E27FC236}">
                    <a16:creationId xmlns:a16="http://schemas.microsoft.com/office/drawing/2014/main" id="{6D4C98BD-B3EC-49F3-BB22-09646F557D86}"/>
                  </a:ext>
                </a:extLst>
              </p:cNvPr>
              <p:cNvCxnSpPr>
                <a:cxnSpLocks/>
                <a:stCxn id="203"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50" name="Ovaal 149">
              <a:extLst>
                <a:ext uri="{FF2B5EF4-FFF2-40B4-BE49-F238E27FC236}">
                  <a16:creationId xmlns:a16="http://schemas.microsoft.com/office/drawing/2014/main" id="{FA6EC4A4-5B68-4534-86DE-32BB3523AC09}"/>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1" name="Rechthoek 150">
              <a:extLst>
                <a:ext uri="{FF2B5EF4-FFF2-40B4-BE49-F238E27FC236}">
                  <a16:creationId xmlns:a16="http://schemas.microsoft.com/office/drawing/2014/main" id="{36FCA5BE-87A9-494B-A936-78090B20FF13}"/>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2" name="Groep 151">
              <a:extLst>
                <a:ext uri="{FF2B5EF4-FFF2-40B4-BE49-F238E27FC236}">
                  <a16:creationId xmlns:a16="http://schemas.microsoft.com/office/drawing/2014/main" id="{9EF5C6B0-7718-4703-9955-51145ED41666}"/>
                </a:ext>
              </a:extLst>
            </p:cNvPr>
            <p:cNvGrpSpPr/>
            <p:nvPr userDrawn="1"/>
          </p:nvGrpSpPr>
          <p:grpSpPr>
            <a:xfrm>
              <a:off x="12852713" y="2164285"/>
              <a:ext cx="825500" cy="209550"/>
              <a:chOff x="13504624" y="2482850"/>
              <a:chExt cx="825500" cy="209550"/>
            </a:xfrm>
          </p:grpSpPr>
          <p:sp>
            <p:nvSpPr>
              <p:cNvPr id="197" name="Rechthoek 196">
                <a:extLst>
                  <a:ext uri="{FF2B5EF4-FFF2-40B4-BE49-F238E27FC236}">
                    <a16:creationId xmlns:a16="http://schemas.microsoft.com/office/drawing/2014/main" id="{EF7C7D82-E925-43D7-880C-E7FFF94BCB3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8" name="Rechte verbindingslijn 197">
                <a:extLst>
                  <a:ext uri="{FF2B5EF4-FFF2-40B4-BE49-F238E27FC236}">
                    <a16:creationId xmlns:a16="http://schemas.microsoft.com/office/drawing/2014/main" id="{57E37D23-D5D8-453B-8F9F-0CA977AAF473}"/>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9" name="Gelijkbenige driehoek 198">
                <a:extLst>
                  <a:ext uri="{FF2B5EF4-FFF2-40B4-BE49-F238E27FC236}">
                    <a16:creationId xmlns:a16="http://schemas.microsoft.com/office/drawing/2014/main" id="{447CA2DA-B9C8-4A9F-9AA6-1BC21F8784C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153" name="Ovaal 152">
              <a:extLst>
                <a:ext uri="{FF2B5EF4-FFF2-40B4-BE49-F238E27FC236}">
                  <a16:creationId xmlns:a16="http://schemas.microsoft.com/office/drawing/2014/main" id="{2E58CE2E-3D8E-4832-BF60-C9971E51AD83}"/>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4" name="Rechthoek 153">
              <a:extLst>
                <a:ext uri="{FF2B5EF4-FFF2-40B4-BE49-F238E27FC236}">
                  <a16:creationId xmlns:a16="http://schemas.microsoft.com/office/drawing/2014/main" id="{94D13679-8F27-4F8D-9910-2E56E1F442B3}"/>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5" name="Ovaal 154">
              <a:extLst>
                <a:ext uri="{FF2B5EF4-FFF2-40B4-BE49-F238E27FC236}">
                  <a16:creationId xmlns:a16="http://schemas.microsoft.com/office/drawing/2014/main" id="{0242EC82-5C28-464D-AA95-1E0A13C5191D}"/>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6" name="Rechthoek 155">
              <a:extLst>
                <a:ext uri="{FF2B5EF4-FFF2-40B4-BE49-F238E27FC236}">
                  <a16:creationId xmlns:a16="http://schemas.microsoft.com/office/drawing/2014/main" id="{7381997E-717A-4626-82D3-9727B4199410}"/>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157" name="Groep 156">
              <a:extLst>
                <a:ext uri="{FF2B5EF4-FFF2-40B4-BE49-F238E27FC236}">
                  <a16:creationId xmlns:a16="http://schemas.microsoft.com/office/drawing/2014/main" id="{386FC852-AB04-4F32-B7D8-AFA606FAB734}"/>
                </a:ext>
              </a:extLst>
            </p:cNvPr>
            <p:cNvGrpSpPr/>
            <p:nvPr userDrawn="1"/>
          </p:nvGrpSpPr>
          <p:grpSpPr>
            <a:xfrm>
              <a:off x="12755738" y="5236167"/>
              <a:ext cx="622283" cy="612919"/>
              <a:chOff x="12617641" y="3403239"/>
              <a:chExt cx="752963" cy="741634"/>
            </a:xfrm>
          </p:grpSpPr>
          <p:grpSp>
            <p:nvGrpSpPr>
              <p:cNvPr id="181" name="Groep 180">
                <a:extLst>
                  <a:ext uri="{FF2B5EF4-FFF2-40B4-BE49-F238E27FC236}">
                    <a16:creationId xmlns:a16="http://schemas.microsoft.com/office/drawing/2014/main" id="{88591D19-CDC0-4A95-BE04-41CAD51DE00C}"/>
                  </a:ext>
                </a:extLst>
              </p:cNvPr>
              <p:cNvGrpSpPr/>
              <p:nvPr userDrawn="1"/>
            </p:nvGrpSpPr>
            <p:grpSpPr>
              <a:xfrm>
                <a:off x="12771550" y="3403239"/>
                <a:ext cx="467156" cy="448491"/>
                <a:chOff x="12782177" y="3403239"/>
                <a:chExt cx="467156" cy="448491"/>
              </a:xfrm>
            </p:grpSpPr>
            <p:grpSp>
              <p:nvGrpSpPr>
                <p:cNvPr id="184" name="Groep 183">
                  <a:extLst>
                    <a:ext uri="{FF2B5EF4-FFF2-40B4-BE49-F238E27FC236}">
                      <a16:creationId xmlns:a16="http://schemas.microsoft.com/office/drawing/2014/main" id="{B9CD51E0-8381-4467-AED3-F25079D3D87A}"/>
                    </a:ext>
                  </a:extLst>
                </p:cNvPr>
                <p:cNvGrpSpPr/>
                <p:nvPr userDrawn="1"/>
              </p:nvGrpSpPr>
              <p:grpSpPr>
                <a:xfrm>
                  <a:off x="12782177" y="3403239"/>
                  <a:ext cx="412972" cy="396132"/>
                  <a:chOff x="13554906" y="3320109"/>
                  <a:chExt cx="443912" cy="425811"/>
                </a:xfrm>
              </p:grpSpPr>
              <p:grpSp>
                <p:nvGrpSpPr>
                  <p:cNvPr id="191" name="Groep 190">
                    <a:extLst>
                      <a:ext uri="{FF2B5EF4-FFF2-40B4-BE49-F238E27FC236}">
                        <a16:creationId xmlns:a16="http://schemas.microsoft.com/office/drawing/2014/main" id="{14C81259-2430-4E82-BB30-5B00ADEACAFB}"/>
                      </a:ext>
                    </a:extLst>
                  </p:cNvPr>
                  <p:cNvGrpSpPr/>
                  <p:nvPr userDrawn="1"/>
                </p:nvGrpSpPr>
                <p:grpSpPr>
                  <a:xfrm>
                    <a:off x="13554906" y="3320109"/>
                    <a:ext cx="443912" cy="425811"/>
                    <a:chOff x="12909684" y="1276143"/>
                    <a:chExt cx="443912" cy="425811"/>
                  </a:xfrm>
                </p:grpSpPr>
                <p:sp>
                  <p:nvSpPr>
                    <p:cNvPr id="194" name="Rechthoek 193">
                      <a:extLst>
                        <a:ext uri="{FF2B5EF4-FFF2-40B4-BE49-F238E27FC236}">
                          <a16:creationId xmlns:a16="http://schemas.microsoft.com/office/drawing/2014/main" id="{FF66F141-039B-4EA3-8CA0-6A196F75A06A}"/>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Rechthoek 194">
                      <a:extLst>
                        <a:ext uri="{FF2B5EF4-FFF2-40B4-BE49-F238E27FC236}">
                          <a16:creationId xmlns:a16="http://schemas.microsoft.com/office/drawing/2014/main" id="{F854EF35-F06B-4D87-9597-64A4A092D31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6" name="Ovaal 195">
                      <a:extLst>
                        <a:ext uri="{FF2B5EF4-FFF2-40B4-BE49-F238E27FC236}">
                          <a16:creationId xmlns:a16="http://schemas.microsoft.com/office/drawing/2014/main" id="{DCA74C16-D8F3-442D-AE29-3C41C9D8663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2" name="Afbeelding 191">
                    <a:extLst>
                      <a:ext uri="{FF2B5EF4-FFF2-40B4-BE49-F238E27FC236}">
                        <a16:creationId xmlns:a16="http://schemas.microsoft.com/office/drawing/2014/main" id="{6BDFAC0C-5328-4FD3-B265-81006F7C0FC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93" name="Afbeelding 192">
                    <a:extLst>
                      <a:ext uri="{FF2B5EF4-FFF2-40B4-BE49-F238E27FC236}">
                        <a16:creationId xmlns:a16="http://schemas.microsoft.com/office/drawing/2014/main" id="{A5BFB160-7728-45FE-AF3F-AF4A2E46495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185" name="Groep 184">
                  <a:extLst>
                    <a:ext uri="{FF2B5EF4-FFF2-40B4-BE49-F238E27FC236}">
                      <a16:creationId xmlns:a16="http://schemas.microsoft.com/office/drawing/2014/main" id="{5221FD24-7AF4-493E-8D8D-1B5D7B6CD6FE}"/>
                    </a:ext>
                  </a:extLst>
                </p:cNvPr>
                <p:cNvGrpSpPr/>
                <p:nvPr userDrawn="1"/>
              </p:nvGrpSpPr>
              <p:grpSpPr>
                <a:xfrm>
                  <a:off x="13103513" y="3705268"/>
                  <a:ext cx="145820" cy="146462"/>
                  <a:chOff x="13096169" y="3602278"/>
                  <a:chExt cx="145820" cy="146462"/>
                </a:xfrm>
              </p:grpSpPr>
              <p:sp>
                <p:nvSpPr>
                  <p:cNvPr id="189" name="Rechthoek 188">
                    <a:extLst>
                      <a:ext uri="{FF2B5EF4-FFF2-40B4-BE49-F238E27FC236}">
                        <a16:creationId xmlns:a16="http://schemas.microsoft.com/office/drawing/2014/main" id="{098F6327-44AE-40C8-A50A-FA7F9A99BE4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90" name="Rechthoek 189">
                    <a:extLst>
                      <a:ext uri="{FF2B5EF4-FFF2-40B4-BE49-F238E27FC236}">
                        <a16:creationId xmlns:a16="http://schemas.microsoft.com/office/drawing/2014/main" id="{B1233994-A7DE-4CA9-8E18-8148A00A7F9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86" name="Groep 185">
                  <a:extLst>
                    <a:ext uri="{FF2B5EF4-FFF2-40B4-BE49-F238E27FC236}">
                      <a16:creationId xmlns:a16="http://schemas.microsoft.com/office/drawing/2014/main" id="{9004CD29-7F55-4C1E-BF7D-8FF4A5D49A60}"/>
                    </a:ext>
                  </a:extLst>
                </p:cNvPr>
                <p:cNvGrpSpPr/>
                <p:nvPr userDrawn="1"/>
              </p:nvGrpSpPr>
              <p:grpSpPr>
                <a:xfrm rot="10800000">
                  <a:off x="13061402" y="3665637"/>
                  <a:ext cx="145820" cy="146462"/>
                  <a:chOff x="13096169" y="3602278"/>
                  <a:chExt cx="145820" cy="146462"/>
                </a:xfrm>
              </p:grpSpPr>
              <p:sp>
                <p:nvSpPr>
                  <p:cNvPr id="187" name="Rechthoek 186">
                    <a:extLst>
                      <a:ext uri="{FF2B5EF4-FFF2-40B4-BE49-F238E27FC236}">
                        <a16:creationId xmlns:a16="http://schemas.microsoft.com/office/drawing/2014/main" id="{B97EC537-9157-4BF4-8424-6934DABA8AC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8" name="Rechthoek 187">
                    <a:extLst>
                      <a:ext uri="{FF2B5EF4-FFF2-40B4-BE49-F238E27FC236}">
                        <a16:creationId xmlns:a16="http://schemas.microsoft.com/office/drawing/2014/main" id="{B6C6D9D0-C6E1-45EC-9BA7-D95729D0F6A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82" name="Rechthoek 181">
                <a:extLst>
                  <a:ext uri="{FF2B5EF4-FFF2-40B4-BE49-F238E27FC236}">
                    <a16:creationId xmlns:a16="http://schemas.microsoft.com/office/drawing/2014/main" id="{D52DF297-EEC5-4B08-A69A-623A123F21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83" name="Gelijkbenige driehoek 182">
                <a:extLst>
                  <a:ext uri="{FF2B5EF4-FFF2-40B4-BE49-F238E27FC236}">
                    <a16:creationId xmlns:a16="http://schemas.microsoft.com/office/drawing/2014/main" id="{F7FDB856-F743-4880-9A2A-4F9398A0B04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58" name="Rechthoek 157">
              <a:extLst>
                <a:ext uri="{FF2B5EF4-FFF2-40B4-BE49-F238E27FC236}">
                  <a16:creationId xmlns:a16="http://schemas.microsoft.com/office/drawing/2014/main" id="{F32E5004-6ECD-4560-AD3D-60D1447D7115}"/>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159" name="Groep 158">
              <a:extLst>
                <a:ext uri="{FF2B5EF4-FFF2-40B4-BE49-F238E27FC236}">
                  <a16:creationId xmlns:a16="http://schemas.microsoft.com/office/drawing/2014/main" id="{82105D47-7895-45BB-ABEC-E590C40F8391}"/>
                </a:ext>
              </a:extLst>
            </p:cNvPr>
            <p:cNvGrpSpPr/>
            <p:nvPr userDrawn="1"/>
          </p:nvGrpSpPr>
          <p:grpSpPr>
            <a:xfrm>
              <a:off x="13678213" y="3399207"/>
              <a:ext cx="1222990" cy="563933"/>
              <a:chOff x="-2485819" y="3399207"/>
              <a:chExt cx="1222990" cy="563933"/>
            </a:xfrm>
          </p:grpSpPr>
          <p:sp>
            <p:nvSpPr>
              <p:cNvPr id="160" name="Rechthoek 159">
                <a:extLst>
                  <a:ext uri="{FF2B5EF4-FFF2-40B4-BE49-F238E27FC236}">
                    <a16:creationId xmlns:a16="http://schemas.microsoft.com/office/drawing/2014/main" id="{041E737A-BE61-41B6-9A99-EE110563D203}"/>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61" name="Rechthoek 160">
                <a:extLst>
                  <a:ext uri="{FF2B5EF4-FFF2-40B4-BE49-F238E27FC236}">
                    <a16:creationId xmlns:a16="http://schemas.microsoft.com/office/drawing/2014/main" id="{7AC66F54-5535-494F-9438-A4C5BD7473D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62" name="Groep 161">
                <a:extLst>
                  <a:ext uri="{FF2B5EF4-FFF2-40B4-BE49-F238E27FC236}">
                    <a16:creationId xmlns:a16="http://schemas.microsoft.com/office/drawing/2014/main" id="{45EB1EFC-1F07-4975-92D5-D64764445905}"/>
                  </a:ext>
                </a:extLst>
              </p:cNvPr>
              <p:cNvGrpSpPr/>
              <p:nvPr userDrawn="1"/>
            </p:nvGrpSpPr>
            <p:grpSpPr>
              <a:xfrm>
                <a:off x="-2403869" y="3460544"/>
                <a:ext cx="155951" cy="131922"/>
                <a:chOff x="12968836" y="3354170"/>
                <a:chExt cx="404806" cy="342433"/>
              </a:xfrm>
            </p:grpSpPr>
            <p:sp>
              <p:nvSpPr>
                <p:cNvPr id="175" name="Rechthoek: afgeronde hoeken 174">
                  <a:extLst>
                    <a:ext uri="{FF2B5EF4-FFF2-40B4-BE49-F238E27FC236}">
                      <a16:creationId xmlns:a16="http://schemas.microsoft.com/office/drawing/2014/main" id="{D62FD19F-54CE-410C-B91D-63D2663E9CC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6" name="Rechthoek 175">
                  <a:extLst>
                    <a:ext uri="{FF2B5EF4-FFF2-40B4-BE49-F238E27FC236}">
                      <a16:creationId xmlns:a16="http://schemas.microsoft.com/office/drawing/2014/main" id="{66B3D17A-56D6-4887-9C34-EFD9DA2E032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7AEB8F37-9EF6-462F-864C-4DB8DD74398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8" name="Rechthoek 177">
                  <a:extLst>
                    <a:ext uri="{FF2B5EF4-FFF2-40B4-BE49-F238E27FC236}">
                      <a16:creationId xmlns:a16="http://schemas.microsoft.com/office/drawing/2014/main" id="{DF7D07E7-9573-4C5B-A3AD-7BDDB0EC6B1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9" name="Rechthoek 178">
                  <a:extLst>
                    <a:ext uri="{FF2B5EF4-FFF2-40B4-BE49-F238E27FC236}">
                      <a16:creationId xmlns:a16="http://schemas.microsoft.com/office/drawing/2014/main" id="{2E942B6E-32E1-4A66-8C56-683CEB2B184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0" name="Rechthoek 179">
                  <a:extLst>
                    <a:ext uri="{FF2B5EF4-FFF2-40B4-BE49-F238E27FC236}">
                      <a16:creationId xmlns:a16="http://schemas.microsoft.com/office/drawing/2014/main" id="{3EB794DE-C2C4-41BF-A853-8CCFD94CDAA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3" name="Groep 162">
                <a:extLst>
                  <a:ext uri="{FF2B5EF4-FFF2-40B4-BE49-F238E27FC236}">
                    <a16:creationId xmlns:a16="http://schemas.microsoft.com/office/drawing/2014/main" id="{B175E798-7B3C-4995-8642-8FAF6939A662}"/>
                  </a:ext>
                </a:extLst>
              </p:cNvPr>
              <p:cNvGrpSpPr/>
              <p:nvPr userDrawn="1"/>
            </p:nvGrpSpPr>
            <p:grpSpPr>
              <a:xfrm>
                <a:off x="-2423424" y="3690208"/>
                <a:ext cx="166739" cy="218963"/>
                <a:chOff x="12940828" y="3950597"/>
                <a:chExt cx="432813" cy="568367"/>
              </a:xfrm>
            </p:grpSpPr>
            <p:grpSp>
              <p:nvGrpSpPr>
                <p:cNvPr id="167" name="Groep 166">
                  <a:extLst>
                    <a:ext uri="{FF2B5EF4-FFF2-40B4-BE49-F238E27FC236}">
                      <a16:creationId xmlns:a16="http://schemas.microsoft.com/office/drawing/2014/main" id="{416857E1-59EA-41CA-8A2E-35F05F247394}"/>
                    </a:ext>
                  </a:extLst>
                </p:cNvPr>
                <p:cNvGrpSpPr/>
                <p:nvPr userDrawn="1"/>
              </p:nvGrpSpPr>
              <p:grpSpPr>
                <a:xfrm>
                  <a:off x="13000382" y="4006891"/>
                  <a:ext cx="373259" cy="315747"/>
                  <a:chOff x="12968836" y="3354170"/>
                  <a:chExt cx="404806" cy="342433"/>
                </a:xfrm>
              </p:grpSpPr>
              <p:sp>
                <p:nvSpPr>
                  <p:cNvPr id="169" name="Rechthoek: afgeronde hoeken 168">
                    <a:extLst>
                      <a:ext uri="{FF2B5EF4-FFF2-40B4-BE49-F238E27FC236}">
                        <a16:creationId xmlns:a16="http://schemas.microsoft.com/office/drawing/2014/main" id="{7E84D563-DE38-42A3-8AB4-236377D8104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C6DC5D25-5E1F-4EF9-9663-1731763429B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1" name="Rechthoek 170">
                    <a:extLst>
                      <a:ext uri="{FF2B5EF4-FFF2-40B4-BE49-F238E27FC236}">
                        <a16:creationId xmlns:a16="http://schemas.microsoft.com/office/drawing/2014/main" id="{FB538D7D-CD8C-44B3-B8C0-E367C128A05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D033F024-CB5C-4927-98B7-F5D1681A9DF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3" name="Rechthoek 172">
                    <a:extLst>
                      <a:ext uri="{FF2B5EF4-FFF2-40B4-BE49-F238E27FC236}">
                        <a16:creationId xmlns:a16="http://schemas.microsoft.com/office/drawing/2014/main" id="{9F9CE184-E21E-472D-96EE-AC1482B2194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FCAA227F-EC8B-4649-B399-9263D46A2B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68" name="Boog 167">
                  <a:extLst>
                    <a:ext uri="{FF2B5EF4-FFF2-40B4-BE49-F238E27FC236}">
                      <a16:creationId xmlns:a16="http://schemas.microsoft.com/office/drawing/2014/main" id="{D230612A-709C-4B45-A884-EF7EA9F8522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64" name="Tekstvak 163">
                <a:extLst>
                  <a:ext uri="{FF2B5EF4-FFF2-40B4-BE49-F238E27FC236}">
                    <a16:creationId xmlns:a16="http://schemas.microsoft.com/office/drawing/2014/main" id="{7C680940-E5C3-4CC6-863B-488181463D59}"/>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65" name="Tekstvak 164">
                <a:extLst>
                  <a:ext uri="{FF2B5EF4-FFF2-40B4-BE49-F238E27FC236}">
                    <a16:creationId xmlns:a16="http://schemas.microsoft.com/office/drawing/2014/main" id="{5733DD4E-5929-4588-85E9-BE7BE1AA115B}"/>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66" name="Vrije vorm: vorm 165">
                <a:extLst>
                  <a:ext uri="{FF2B5EF4-FFF2-40B4-BE49-F238E27FC236}">
                    <a16:creationId xmlns:a16="http://schemas.microsoft.com/office/drawing/2014/main" id="{FFA6C80A-5386-42DC-B25A-166FD3414D5F}"/>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133101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en Beeld (M)">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022CA9A0-2D40-4CEA-A98C-40B521F5D625}"/>
              </a:ext>
            </a:extLst>
          </p:cNvPr>
          <p:cNvSpPr>
            <a:spLocks noGrp="1"/>
          </p:cNvSpPr>
          <p:nvPr>
            <p:ph type="pic" sz="quarter" idx="14" hasCustomPrompt="1"/>
          </p:nvPr>
        </p:nvSpPr>
        <p:spPr>
          <a:xfrm>
            <a:off x="6341163" y="517525"/>
            <a:ext cx="5330137" cy="5818187"/>
          </a:xfrm>
          <a:custGeom>
            <a:avLst/>
            <a:gdLst>
              <a:gd name="connsiteX0" fmla="*/ 305996 w 5330137"/>
              <a:gd name="connsiteY0" fmla="*/ 0 h 5818187"/>
              <a:gd name="connsiteX1" fmla="*/ 712408 w 5330137"/>
              <a:gd name="connsiteY1" fmla="*/ 0 h 5818187"/>
              <a:gd name="connsiteX2" fmla="*/ 1459197 w 5330137"/>
              <a:gd name="connsiteY2" fmla="*/ 0 h 5818187"/>
              <a:gd name="connsiteX3" fmla="*/ 5330137 w 5330137"/>
              <a:gd name="connsiteY3" fmla="*/ 0 h 5818187"/>
              <a:gd name="connsiteX4" fmla="*/ 5330137 w 5330137"/>
              <a:gd name="connsiteY4" fmla="*/ 5818187 h 5818187"/>
              <a:gd name="connsiteX5" fmla="*/ 712408 w 5330137"/>
              <a:gd name="connsiteY5" fmla="*/ 5818187 h 5818187"/>
              <a:gd name="connsiteX6" fmla="*/ 712408 w 5330137"/>
              <a:gd name="connsiteY6" fmla="*/ 5818186 h 5818187"/>
              <a:gd name="connsiteX7" fmla="*/ 305508 w 5330137"/>
              <a:gd name="connsiteY7" fmla="*/ 5818186 h 5818187"/>
              <a:gd name="connsiteX8" fmla="*/ 0 w 5330137"/>
              <a:gd name="connsiteY8" fmla="*/ 2911411 h 581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0137" h="5818187">
                <a:moveTo>
                  <a:pt x="305996" y="0"/>
                </a:moveTo>
                <a:lnTo>
                  <a:pt x="712408" y="0"/>
                </a:lnTo>
                <a:lnTo>
                  <a:pt x="1459197" y="0"/>
                </a:lnTo>
                <a:lnTo>
                  <a:pt x="5330137" y="0"/>
                </a:lnTo>
                <a:lnTo>
                  <a:pt x="5330137" y="5818187"/>
                </a:lnTo>
                <a:lnTo>
                  <a:pt x="712408" y="5818187"/>
                </a:lnTo>
                <a:lnTo>
                  <a:pt x="712408" y="5818186"/>
                </a:lnTo>
                <a:lnTo>
                  <a:pt x="305508" y="5818186"/>
                </a:lnTo>
                <a:lnTo>
                  <a:pt x="0" y="2911411"/>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3" name="Tijdelijke aanduiding voor verticale tekst 2"/>
          <p:cNvSpPr>
            <a:spLocks noGrp="1"/>
          </p:cNvSpPr>
          <p:nvPr>
            <p:ph type="body" orient="vert" idx="1" hasCustomPrompt="1"/>
          </p:nvPr>
        </p:nvSpPr>
        <p:spPr>
          <a:xfrm>
            <a:off x="515941" y="1347275"/>
            <a:ext cx="5209830"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736307D8-D2AE-444C-A09E-0A3B69F7CA75}"/>
              </a:ext>
            </a:extLst>
          </p:cNvPr>
          <p:cNvSpPr>
            <a:spLocks noGrp="1"/>
          </p:cNvSpPr>
          <p:nvPr>
            <p:ph type="title" hasCustomPrompt="1"/>
          </p:nvPr>
        </p:nvSpPr>
        <p:spPr>
          <a:xfrm>
            <a:off x="515941" y="517525"/>
            <a:ext cx="5209830" cy="488950"/>
          </a:xfrm>
        </p:spPr>
        <p:txBody>
          <a:bodyPr/>
          <a:lstStyle>
            <a:lvl1pPr>
              <a:defRPr/>
            </a:lvl1pPr>
          </a:lstStyle>
          <a:p>
            <a:r>
              <a:rPr lang="nl-NL" dirty="0"/>
              <a:t>Plaats hier je titel</a:t>
            </a:r>
          </a:p>
        </p:txBody>
      </p:sp>
      <p:grpSp>
        <p:nvGrpSpPr>
          <p:cNvPr id="131" name="INSTRUCTIE">
            <a:extLst>
              <a:ext uri="{FF2B5EF4-FFF2-40B4-BE49-F238E27FC236}">
                <a16:creationId xmlns:a16="http://schemas.microsoft.com/office/drawing/2014/main" id="{F421BD38-9792-4934-87E2-85F96AF2697D}"/>
              </a:ext>
            </a:extLst>
          </p:cNvPr>
          <p:cNvGrpSpPr/>
          <p:nvPr userDrawn="1"/>
        </p:nvGrpSpPr>
        <p:grpSpPr>
          <a:xfrm>
            <a:off x="8469641" y="7033211"/>
            <a:ext cx="3727954" cy="1728407"/>
            <a:chOff x="5846" y="7033211"/>
            <a:chExt cx="3727954" cy="1728407"/>
          </a:xfrm>
        </p:grpSpPr>
        <p:sp>
          <p:nvSpPr>
            <p:cNvPr id="132" name="Rechthoek 131">
              <a:extLst>
                <a:ext uri="{FF2B5EF4-FFF2-40B4-BE49-F238E27FC236}">
                  <a16:creationId xmlns:a16="http://schemas.microsoft.com/office/drawing/2014/main" id="{81D2C78C-67AB-44F4-AFF3-D741D5D66637}"/>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33" name="Ovaal 132">
              <a:extLst>
                <a:ext uri="{FF2B5EF4-FFF2-40B4-BE49-F238E27FC236}">
                  <a16:creationId xmlns:a16="http://schemas.microsoft.com/office/drawing/2014/main" id="{3D642D81-F6C2-4648-964B-176D872C059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E2CD0F1-01E9-481D-8948-1DF390737DCF}"/>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292ABC75-1527-45F0-BFD6-3B7D4F06566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7EDA069B-C8D1-4EA9-9AD7-ED2A4E01F5B7}"/>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7" name="Groep 136">
              <a:extLst>
                <a:ext uri="{FF2B5EF4-FFF2-40B4-BE49-F238E27FC236}">
                  <a16:creationId xmlns:a16="http://schemas.microsoft.com/office/drawing/2014/main" id="{650FA157-CA69-472D-8BB1-900177C2A7AE}"/>
                </a:ext>
              </a:extLst>
            </p:cNvPr>
            <p:cNvGrpSpPr/>
            <p:nvPr userDrawn="1"/>
          </p:nvGrpSpPr>
          <p:grpSpPr>
            <a:xfrm>
              <a:off x="2939884" y="7739834"/>
              <a:ext cx="681133" cy="750023"/>
              <a:chOff x="-910573" y="4987990"/>
              <a:chExt cx="681133" cy="750023"/>
            </a:xfrm>
          </p:grpSpPr>
          <p:grpSp>
            <p:nvGrpSpPr>
              <p:cNvPr id="138" name="Groep 137">
                <a:extLst>
                  <a:ext uri="{FF2B5EF4-FFF2-40B4-BE49-F238E27FC236}">
                    <a16:creationId xmlns:a16="http://schemas.microsoft.com/office/drawing/2014/main" id="{F4C5F142-85C6-4013-83B2-1598511B9CAF}"/>
                  </a:ext>
                </a:extLst>
              </p:cNvPr>
              <p:cNvGrpSpPr/>
              <p:nvPr userDrawn="1"/>
            </p:nvGrpSpPr>
            <p:grpSpPr>
              <a:xfrm>
                <a:off x="-713542" y="4987990"/>
                <a:ext cx="287071" cy="379107"/>
                <a:chOff x="-4050578" y="288410"/>
                <a:chExt cx="322125" cy="379107"/>
              </a:xfrm>
            </p:grpSpPr>
            <p:sp>
              <p:nvSpPr>
                <p:cNvPr id="140" name="Rechthoek met één afgeknipte en afgeronde hoek 47">
                  <a:extLst>
                    <a:ext uri="{FF2B5EF4-FFF2-40B4-BE49-F238E27FC236}">
                      <a16:creationId xmlns:a16="http://schemas.microsoft.com/office/drawing/2014/main" id="{FC06D66E-2F57-41D0-ABF3-1CFC74F725D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1" name="Rechthoekige driehoek 140">
                  <a:extLst>
                    <a:ext uri="{FF2B5EF4-FFF2-40B4-BE49-F238E27FC236}">
                      <a16:creationId xmlns:a16="http://schemas.microsoft.com/office/drawing/2014/main" id="{E373E805-189A-46D7-ADE6-B85EEF57D2D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 141">
                  <a:extLst>
                    <a:ext uri="{FF2B5EF4-FFF2-40B4-BE49-F238E27FC236}">
                      <a16:creationId xmlns:a16="http://schemas.microsoft.com/office/drawing/2014/main" id="{2DDB0414-F651-4EDB-8C55-BB17EF48E933}"/>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3" name="Rechthoek 142">
                  <a:extLst>
                    <a:ext uri="{FF2B5EF4-FFF2-40B4-BE49-F238E27FC236}">
                      <a16:creationId xmlns:a16="http://schemas.microsoft.com/office/drawing/2014/main" id="{C8D7938E-ECD1-4276-87EC-13493913328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9" name="Rechthoek 138">
                <a:extLst>
                  <a:ext uri="{FF2B5EF4-FFF2-40B4-BE49-F238E27FC236}">
                    <a16:creationId xmlns:a16="http://schemas.microsoft.com/office/drawing/2014/main" id="{649C6A0C-5C92-429D-AE5F-47950BBAF5CD}"/>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144" name="INSTRUCTIE">
            <a:extLst>
              <a:ext uri="{FF2B5EF4-FFF2-40B4-BE49-F238E27FC236}">
                <a16:creationId xmlns:a16="http://schemas.microsoft.com/office/drawing/2014/main" id="{7FA60A01-ED5C-4E20-936A-584A697D5077}"/>
              </a:ext>
            </a:extLst>
          </p:cNvPr>
          <p:cNvGrpSpPr/>
          <p:nvPr userDrawn="1"/>
        </p:nvGrpSpPr>
        <p:grpSpPr>
          <a:xfrm>
            <a:off x="-3786165" y="0"/>
            <a:ext cx="3593091" cy="4641338"/>
            <a:chOff x="-3786165" y="0"/>
            <a:chExt cx="3593091" cy="4641338"/>
          </a:xfrm>
        </p:grpSpPr>
        <p:sp>
          <p:nvSpPr>
            <p:cNvPr id="145" name="Rechthoek 144">
              <a:extLst>
                <a:ext uri="{FF2B5EF4-FFF2-40B4-BE49-F238E27FC236}">
                  <a16:creationId xmlns:a16="http://schemas.microsoft.com/office/drawing/2014/main" id="{6CF09FBC-84B9-4558-A5D7-B8AFB7712808}"/>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6" name="Ovaal 145">
              <a:extLst>
                <a:ext uri="{FF2B5EF4-FFF2-40B4-BE49-F238E27FC236}">
                  <a16:creationId xmlns:a16="http://schemas.microsoft.com/office/drawing/2014/main" id="{0E7301EA-1308-4506-9B83-0F23B80A855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7" name="Rechthoek 146">
              <a:extLst>
                <a:ext uri="{FF2B5EF4-FFF2-40B4-BE49-F238E27FC236}">
                  <a16:creationId xmlns:a16="http://schemas.microsoft.com/office/drawing/2014/main" id="{C15092DD-2DD1-460D-B728-55EFC97F7EB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148" name="Ovaal 147">
              <a:extLst>
                <a:ext uri="{FF2B5EF4-FFF2-40B4-BE49-F238E27FC236}">
                  <a16:creationId xmlns:a16="http://schemas.microsoft.com/office/drawing/2014/main" id="{186C7225-A88A-4004-BACE-AE8DB0EE9D8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9" name="Rechthoek 148">
              <a:extLst>
                <a:ext uri="{FF2B5EF4-FFF2-40B4-BE49-F238E27FC236}">
                  <a16:creationId xmlns:a16="http://schemas.microsoft.com/office/drawing/2014/main" id="{6500BAD3-9AE7-4D9E-A68C-AA535EDDDC2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50" name="Rechthoek 149">
              <a:extLst>
                <a:ext uri="{FF2B5EF4-FFF2-40B4-BE49-F238E27FC236}">
                  <a16:creationId xmlns:a16="http://schemas.microsoft.com/office/drawing/2014/main" id="{01A3C85B-936C-45AD-8B9A-16C6E67464E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151" name="Ovaal 150">
              <a:extLst>
                <a:ext uri="{FF2B5EF4-FFF2-40B4-BE49-F238E27FC236}">
                  <a16:creationId xmlns:a16="http://schemas.microsoft.com/office/drawing/2014/main" id="{55A4E35C-2ED0-4457-A7FC-73B5B370B38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2" name="Rechthoek 151">
              <a:extLst>
                <a:ext uri="{FF2B5EF4-FFF2-40B4-BE49-F238E27FC236}">
                  <a16:creationId xmlns:a16="http://schemas.microsoft.com/office/drawing/2014/main" id="{114F0D09-C90E-48D9-A83A-9B7F94DEF8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153" name="Ovaal 152">
              <a:extLst>
                <a:ext uri="{FF2B5EF4-FFF2-40B4-BE49-F238E27FC236}">
                  <a16:creationId xmlns:a16="http://schemas.microsoft.com/office/drawing/2014/main" id="{2EEE98CA-76BF-4384-A49C-A2051A35B346}"/>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4" name="Rechthoek 153">
              <a:extLst>
                <a:ext uri="{FF2B5EF4-FFF2-40B4-BE49-F238E27FC236}">
                  <a16:creationId xmlns:a16="http://schemas.microsoft.com/office/drawing/2014/main" id="{FD06563F-5BCB-4D31-8598-1AF432A71569}"/>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155" name="Ovaal 154">
              <a:extLst>
                <a:ext uri="{FF2B5EF4-FFF2-40B4-BE49-F238E27FC236}">
                  <a16:creationId xmlns:a16="http://schemas.microsoft.com/office/drawing/2014/main" id="{795B097D-E19F-4225-86F4-60FF178B7AA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56" name="Rechthoek 155">
              <a:extLst>
                <a:ext uri="{FF2B5EF4-FFF2-40B4-BE49-F238E27FC236}">
                  <a16:creationId xmlns:a16="http://schemas.microsoft.com/office/drawing/2014/main" id="{3312EFED-DD62-4F67-BA39-670853660FA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157" name="Ovaal 156">
              <a:extLst>
                <a:ext uri="{FF2B5EF4-FFF2-40B4-BE49-F238E27FC236}">
                  <a16:creationId xmlns:a16="http://schemas.microsoft.com/office/drawing/2014/main" id="{4CE4ED6B-ADD0-42FC-8006-26C8524FAB1E}"/>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58" name="Rechthoek 157">
              <a:extLst>
                <a:ext uri="{FF2B5EF4-FFF2-40B4-BE49-F238E27FC236}">
                  <a16:creationId xmlns:a16="http://schemas.microsoft.com/office/drawing/2014/main" id="{6112E3C5-BA08-4BDD-8CAF-BC89397F8DB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59" name="Ovaal 158">
              <a:extLst>
                <a:ext uri="{FF2B5EF4-FFF2-40B4-BE49-F238E27FC236}">
                  <a16:creationId xmlns:a16="http://schemas.microsoft.com/office/drawing/2014/main" id="{03744B09-DDBB-40F4-BCBD-130BFD3CE9C7}"/>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60" name="Rechthoek 159">
              <a:extLst>
                <a:ext uri="{FF2B5EF4-FFF2-40B4-BE49-F238E27FC236}">
                  <a16:creationId xmlns:a16="http://schemas.microsoft.com/office/drawing/2014/main" id="{530BE350-CC04-43A2-AF0F-C2ADE489EE2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61" name="Ovaal 160">
              <a:extLst>
                <a:ext uri="{FF2B5EF4-FFF2-40B4-BE49-F238E27FC236}">
                  <a16:creationId xmlns:a16="http://schemas.microsoft.com/office/drawing/2014/main" id="{A980CE57-1791-4988-A3EC-96B2CABEF6A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62" name="Rechthoek 161">
              <a:extLst>
                <a:ext uri="{FF2B5EF4-FFF2-40B4-BE49-F238E27FC236}">
                  <a16:creationId xmlns:a16="http://schemas.microsoft.com/office/drawing/2014/main" id="{E0A0AC1C-2EC1-4B46-AACC-47E38F439E4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63" name="Ovaal 162">
              <a:extLst>
                <a:ext uri="{FF2B5EF4-FFF2-40B4-BE49-F238E27FC236}">
                  <a16:creationId xmlns:a16="http://schemas.microsoft.com/office/drawing/2014/main" id="{C8D297F9-D9DF-48CE-A973-3AAD1204602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64" name="Rechthoek 163">
              <a:extLst>
                <a:ext uri="{FF2B5EF4-FFF2-40B4-BE49-F238E27FC236}">
                  <a16:creationId xmlns:a16="http://schemas.microsoft.com/office/drawing/2014/main" id="{EF4AB177-E4D9-44FE-869B-0B443828C8F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65" name="VOORBEELD">
              <a:extLst>
                <a:ext uri="{FF2B5EF4-FFF2-40B4-BE49-F238E27FC236}">
                  <a16:creationId xmlns:a16="http://schemas.microsoft.com/office/drawing/2014/main" id="{DBCF3C91-5882-4DEC-AE3F-519011276F42}"/>
                </a:ext>
              </a:extLst>
            </p:cNvPr>
            <p:cNvGrpSpPr/>
            <p:nvPr userDrawn="1"/>
          </p:nvGrpSpPr>
          <p:grpSpPr>
            <a:xfrm>
              <a:off x="-3605171" y="458674"/>
              <a:ext cx="3234311" cy="558875"/>
              <a:chOff x="-3605171" y="458674"/>
              <a:chExt cx="3234311" cy="558875"/>
            </a:xfrm>
          </p:grpSpPr>
          <p:sp>
            <p:nvSpPr>
              <p:cNvPr id="166" name="Rechthoek 165">
                <a:extLst>
                  <a:ext uri="{FF2B5EF4-FFF2-40B4-BE49-F238E27FC236}">
                    <a16:creationId xmlns:a16="http://schemas.microsoft.com/office/drawing/2014/main" id="{9EBA55AD-5D95-44BE-AE87-CEAA164FEAAB}"/>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67" name="Rechthoek 166">
                <a:extLst>
                  <a:ext uri="{FF2B5EF4-FFF2-40B4-BE49-F238E27FC236}">
                    <a16:creationId xmlns:a16="http://schemas.microsoft.com/office/drawing/2014/main" id="{35A92396-A543-4006-9221-61CB74410D9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68" name="Groep 167">
                <a:extLst>
                  <a:ext uri="{FF2B5EF4-FFF2-40B4-BE49-F238E27FC236}">
                    <a16:creationId xmlns:a16="http://schemas.microsoft.com/office/drawing/2014/main" id="{7F560E3D-45B5-440E-AB92-A0CFB665E9D9}"/>
                  </a:ext>
                </a:extLst>
              </p:cNvPr>
              <p:cNvGrpSpPr/>
              <p:nvPr userDrawn="1"/>
            </p:nvGrpSpPr>
            <p:grpSpPr>
              <a:xfrm>
                <a:off x="-3386247" y="830871"/>
                <a:ext cx="139423" cy="109566"/>
                <a:chOff x="-2866744" y="827071"/>
                <a:chExt cx="168701" cy="132575"/>
              </a:xfrm>
            </p:grpSpPr>
            <p:grpSp>
              <p:nvGrpSpPr>
                <p:cNvPr id="199" name="Groep 198">
                  <a:extLst>
                    <a:ext uri="{FF2B5EF4-FFF2-40B4-BE49-F238E27FC236}">
                      <a16:creationId xmlns:a16="http://schemas.microsoft.com/office/drawing/2014/main" id="{CB97CDE2-B250-4E04-95E9-840121B304DE}"/>
                    </a:ext>
                  </a:extLst>
                </p:cNvPr>
                <p:cNvGrpSpPr/>
                <p:nvPr userDrawn="1"/>
              </p:nvGrpSpPr>
              <p:grpSpPr>
                <a:xfrm>
                  <a:off x="-2866744" y="827071"/>
                  <a:ext cx="168701" cy="132575"/>
                  <a:chOff x="-2866744" y="827071"/>
                  <a:chExt cx="168701" cy="132575"/>
                </a:xfrm>
              </p:grpSpPr>
              <p:cxnSp>
                <p:nvCxnSpPr>
                  <p:cNvPr id="201" name="Rechte verbindingslijn 200">
                    <a:extLst>
                      <a:ext uri="{FF2B5EF4-FFF2-40B4-BE49-F238E27FC236}">
                        <a16:creationId xmlns:a16="http://schemas.microsoft.com/office/drawing/2014/main" id="{BD49A608-7B52-40BB-A923-DA35A576F52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02" name="Rechte verbindingslijn 201">
                    <a:extLst>
                      <a:ext uri="{FF2B5EF4-FFF2-40B4-BE49-F238E27FC236}">
                        <a16:creationId xmlns:a16="http://schemas.microsoft.com/office/drawing/2014/main" id="{851A05F6-7726-49B8-B1CB-69A74FC654F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03" name="Rechte verbindingslijn 202">
                    <a:extLst>
                      <a:ext uri="{FF2B5EF4-FFF2-40B4-BE49-F238E27FC236}">
                        <a16:creationId xmlns:a16="http://schemas.microsoft.com/office/drawing/2014/main" id="{7FD2CEDF-18EB-44C4-A194-E243811162D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04" name="Rechte verbindingslijn 203">
                    <a:extLst>
                      <a:ext uri="{FF2B5EF4-FFF2-40B4-BE49-F238E27FC236}">
                        <a16:creationId xmlns:a16="http://schemas.microsoft.com/office/drawing/2014/main" id="{8EF66587-89B7-41D4-A269-6A0C916E3B8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05" name="Rechte verbindingslijn 204">
                    <a:extLst>
                      <a:ext uri="{FF2B5EF4-FFF2-40B4-BE49-F238E27FC236}">
                        <a16:creationId xmlns:a16="http://schemas.microsoft.com/office/drawing/2014/main" id="{75F7ABD8-9C45-400D-869F-C8201C71E4A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00" name="Pijl: rechts 199">
                  <a:extLst>
                    <a:ext uri="{FF2B5EF4-FFF2-40B4-BE49-F238E27FC236}">
                      <a16:creationId xmlns:a16="http://schemas.microsoft.com/office/drawing/2014/main" id="{3304D304-789C-4E65-8D11-9BB75617E22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9" name="Groep 168">
                <a:extLst>
                  <a:ext uri="{FF2B5EF4-FFF2-40B4-BE49-F238E27FC236}">
                    <a16:creationId xmlns:a16="http://schemas.microsoft.com/office/drawing/2014/main" id="{EF6917BB-07C5-406C-A490-359645492FC7}"/>
                  </a:ext>
                </a:extLst>
              </p:cNvPr>
              <p:cNvGrpSpPr/>
              <p:nvPr userDrawn="1"/>
            </p:nvGrpSpPr>
            <p:grpSpPr>
              <a:xfrm>
                <a:off x="-3605171" y="830871"/>
                <a:ext cx="139423" cy="109566"/>
                <a:chOff x="-2866744" y="518074"/>
                <a:chExt cx="168701" cy="132575"/>
              </a:xfrm>
            </p:grpSpPr>
            <p:grpSp>
              <p:nvGrpSpPr>
                <p:cNvPr id="192" name="Groep 191">
                  <a:extLst>
                    <a:ext uri="{FF2B5EF4-FFF2-40B4-BE49-F238E27FC236}">
                      <a16:creationId xmlns:a16="http://schemas.microsoft.com/office/drawing/2014/main" id="{99362496-C961-4B2A-908C-C345EF968E2B}"/>
                    </a:ext>
                  </a:extLst>
                </p:cNvPr>
                <p:cNvGrpSpPr/>
                <p:nvPr userDrawn="1"/>
              </p:nvGrpSpPr>
              <p:grpSpPr>
                <a:xfrm>
                  <a:off x="-2866744" y="518074"/>
                  <a:ext cx="168701" cy="132575"/>
                  <a:chOff x="-2866744" y="518074"/>
                  <a:chExt cx="168701" cy="132575"/>
                </a:xfrm>
              </p:grpSpPr>
              <p:cxnSp>
                <p:nvCxnSpPr>
                  <p:cNvPr id="194" name="Rechte verbindingslijn 193">
                    <a:extLst>
                      <a:ext uri="{FF2B5EF4-FFF2-40B4-BE49-F238E27FC236}">
                        <a16:creationId xmlns:a16="http://schemas.microsoft.com/office/drawing/2014/main" id="{CA672714-66F8-4568-A131-C391FE044D4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0AF7D98A-AFA5-4328-9915-030405250AC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338117C1-9121-4311-AADE-868BAB5CEDA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5A4B21F8-18FB-4EC0-909F-F238ACF2CDA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A52403C1-62E4-4A38-AF27-0D2557191CE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0461D108-AC7A-420C-9645-FD71EA02A0F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70" name="Rechte verbindingslijn 169">
                <a:extLst>
                  <a:ext uri="{FF2B5EF4-FFF2-40B4-BE49-F238E27FC236}">
                    <a16:creationId xmlns:a16="http://schemas.microsoft.com/office/drawing/2014/main" id="{9DC2FC9F-106F-419F-B041-CD2D73B4531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id="{D96880C9-FCC7-4AB4-AD6B-BE624AA5199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72" name="Rechthoek 171">
                <a:extLst>
                  <a:ext uri="{FF2B5EF4-FFF2-40B4-BE49-F238E27FC236}">
                    <a16:creationId xmlns:a16="http://schemas.microsoft.com/office/drawing/2014/main" id="{5CA04235-789C-40CD-9364-37D71017FE7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73" name="Rechthoek 172">
                <a:extLst>
                  <a:ext uri="{FF2B5EF4-FFF2-40B4-BE49-F238E27FC236}">
                    <a16:creationId xmlns:a16="http://schemas.microsoft.com/office/drawing/2014/main" id="{493154A4-8768-446B-8832-BD303F7848FD}"/>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74" name="Groep 173">
                <a:extLst>
                  <a:ext uri="{FF2B5EF4-FFF2-40B4-BE49-F238E27FC236}">
                    <a16:creationId xmlns:a16="http://schemas.microsoft.com/office/drawing/2014/main" id="{8890D7C6-162B-450B-806A-4754D860A655}"/>
                  </a:ext>
                </a:extLst>
              </p:cNvPr>
              <p:cNvGrpSpPr/>
              <p:nvPr userDrawn="1"/>
            </p:nvGrpSpPr>
            <p:grpSpPr>
              <a:xfrm>
                <a:off x="-2916763" y="769168"/>
                <a:ext cx="268738" cy="248381"/>
                <a:chOff x="-2916763" y="769168"/>
                <a:chExt cx="268738" cy="248381"/>
              </a:xfrm>
            </p:grpSpPr>
            <p:sp>
              <p:nvSpPr>
                <p:cNvPr id="184" name="Rechthoek 183">
                  <a:extLst>
                    <a:ext uri="{FF2B5EF4-FFF2-40B4-BE49-F238E27FC236}">
                      <a16:creationId xmlns:a16="http://schemas.microsoft.com/office/drawing/2014/main" id="{BF33F242-3E98-4841-A687-9396828D81D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85" name="Groep 184">
                  <a:extLst>
                    <a:ext uri="{FF2B5EF4-FFF2-40B4-BE49-F238E27FC236}">
                      <a16:creationId xmlns:a16="http://schemas.microsoft.com/office/drawing/2014/main" id="{04B9E5A5-4B5C-4705-B4BF-E32FEDF210BF}"/>
                    </a:ext>
                  </a:extLst>
                </p:cNvPr>
                <p:cNvGrpSpPr/>
                <p:nvPr userDrawn="1"/>
              </p:nvGrpSpPr>
              <p:grpSpPr>
                <a:xfrm>
                  <a:off x="-2866744" y="827071"/>
                  <a:ext cx="168701" cy="132575"/>
                  <a:chOff x="-2866744" y="827071"/>
                  <a:chExt cx="168701" cy="132575"/>
                </a:xfrm>
              </p:grpSpPr>
              <p:cxnSp>
                <p:nvCxnSpPr>
                  <p:cNvPr id="187" name="Rechte verbindingslijn 186">
                    <a:extLst>
                      <a:ext uri="{FF2B5EF4-FFF2-40B4-BE49-F238E27FC236}">
                        <a16:creationId xmlns:a16="http://schemas.microsoft.com/office/drawing/2014/main" id="{B0AC3C05-B5B3-4757-9DB9-ED4F3C39BB6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15D3822E-C8ED-4A14-92C0-6C2181E22E1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C848156D-FC4F-4FA1-8D2E-008BBF75EAD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EF57422D-EC03-4566-B434-520D7ABB9F2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B67EE0F5-1926-406E-92E5-DD047554E4E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45CB9364-D400-4A3F-A4B0-DB23456B2AC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75" name="Groep 174">
                <a:extLst>
                  <a:ext uri="{FF2B5EF4-FFF2-40B4-BE49-F238E27FC236}">
                    <a16:creationId xmlns:a16="http://schemas.microsoft.com/office/drawing/2014/main" id="{A8D2ED88-DD40-4A22-B12B-11802FFDE901}"/>
                  </a:ext>
                </a:extLst>
              </p:cNvPr>
              <p:cNvGrpSpPr/>
              <p:nvPr userDrawn="1"/>
            </p:nvGrpSpPr>
            <p:grpSpPr>
              <a:xfrm>
                <a:off x="-2916763" y="460171"/>
                <a:ext cx="268738" cy="248381"/>
                <a:chOff x="-2916763" y="460171"/>
                <a:chExt cx="268738" cy="248381"/>
              </a:xfrm>
            </p:grpSpPr>
            <p:sp>
              <p:nvSpPr>
                <p:cNvPr id="176" name="Rechthoek 175">
                  <a:extLst>
                    <a:ext uri="{FF2B5EF4-FFF2-40B4-BE49-F238E27FC236}">
                      <a16:creationId xmlns:a16="http://schemas.microsoft.com/office/drawing/2014/main" id="{65522396-F81E-469E-BEC4-6DC47D1C4CA5}"/>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77" name="Groep 176">
                  <a:extLst>
                    <a:ext uri="{FF2B5EF4-FFF2-40B4-BE49-F238E27FC236}">
                      <a16:creationId xmlns:a16="http://schemas.microsoft.com/office/drawing/2014/main" id="{BF850456-14D3-4035-9516-C844B2CF354A}"/>
                    </a:ext>
                  </a:extLst>
                </p:cNvPr>
                <p:cNvGrpSpPr/>
                <p:nvPr userDrawn="1"/>
              </p:nvGrpSpPr>
              <p:grpSpPr>
                <a:xfrm>
                  <a:off x="-2866744" y="518074"/>
                  <a:ext cx="168701" cy="132575"/>
                  <a:chOff x="-2866744" y="518074"/>
                  <a:chExt cx="168701" cy="132575"/>
                </a:xfrm>
              </p:grpSpPr>
              <p:cxnSp>
                <p:nvCxnSpPr>
                  <p:cNvPr id="179" name="Rechte verbindingslijn 178">
                    <a:extLst>
                      <a:ext uri="{FF2B5EF4-FFF2-40B4-BE49-F238E27FC236}">
                        <a16:creationId xmlns:a16="http://schemas.microsoft.com/office/drawing/2014/main" id="{2659434B-8D7A-4C23-814D-973DA62DA8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0" name="Rechte verbindingslijn 179">
                    <a:extLst>
                      <a:ext uri="{FF2B5EF4-FFF2-40B4-BE49-F238E27FC236}">
                        <a16:creationId xmlns:a16="http://schemas.microsoft.com/office/drawing/2014/main" id="{A40D435C-AB3C-44DD-A43D-6CB990516A5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2D7F87E5-9FA9-4E6C-A648-CB253B819F6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8BFF38B5-7985-4288-830F-5C446C28E55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F273CB2F-8619-4F62-BC46-B2A1E3C041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8" name="Pijl: rechts 177">
                  <a:extLst>
                    <a:ext uri="{FF2B5EF4-FFF2-40B4-BE49-F238E27FC236}">
                      <a16:creationId xmlns:a16="http://schemas.microsoft.com/office/drawing/2014/main" id="{8C7D936D-FDF5-4ED7-B439-34A3A90106F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267" name="Groep 266">
            <a:extLst>
              <a:ext uri="{FF2B5EF4-FFF2-40B4-BE49-F238E27FC236}">
                <a16:creationId xmlns:a16="http://schemas.microsoft.com/office/drawing/2014/main" id="{A33D2389-D229-480C-8D1A-F99F55804CCB}"/>
              </a:ext>
            </a:extLst>
          </p:cNvPr>
          <p:cNvGrpSpPr/>
          <p:nvPr userDrawn="1"/>
        </p:nvGrpSpPr>
        <p:grpSpPr>
          <a:xfrm>
            <a:off x="12377867" y="0"/>
            <a:ext cx="3593091" cy="6025208"/>
            <a:chOff x="12377867" y="0"/>
            <a:chExt cx="3593091" cy="6025208"/>
          </a:xfrm>
        </p:grpSpPr>
        <p:sp>
          <p:nvSpPr>
            <p:cNvPr id="268" name="Rechthoek 267">
              <a:extLst>
                <a:ext uri="{FF2B5EF4-FFF2-40B4-BE49-F238E27FC236}">
                  <a16:creationId xmlns:a16="http://schemas.microsoft.com/office/drawing/2014/main" id="{220D2098-1F7F-4DB8-A8F4-D7C0F4BF7D29}"/>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69" name="Ovaal 268">
              <a:extLst>
                <a:ext uri="{FF2B5EF4-FFF2-40B4-BE49-F238E27FC236}">
                  <a16:creationId xmlns:a16="http://schemas.microsoft.com/office/drawing/2014/main" id="{59C0222E-EDB4-425F-B7E1-8B11603C1389}"/>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70" name="Rechthoek 269">
              <a:extLst>
                <a:ext uri="{FF2B5EF4-FFF2-40B4-BE49-F238E27FC236}">
                  <a16:creationId xmlns:a16="http://schemas.microsoft.com/office/drawing/2014/main" id="{4D5253EA-CE81-400E-8B57-2F3FEC363168}"/>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1" name="Groep 270">
              <a:extLst>
                <a:ext uri="{FF2B5EF4-FFF2-40B4-BE49-F238E27FC236}">
                  <a16:creationId xmlns:a16="http://schemas.microsoft.com/office/drawing/2014/main" id="{87EA949D-E59F-4388-90D3-3A83632838E2}"/>
                </a:ext>
              </a:extLst>
            </p:cNvPr>
            <p:cNvGrpSpPr/>
            <p:nvPr userDrawn="1"/>
          </p:nvGrpSpPr>
          <p:grpSpPr>
            <a:xfrm>
              <a:off x="12847853" y="1231351"/>
              <a:ext cx="294789" cy="318834"/>
              <a:chOff x="14466489" y="1001522"/>
              <a:chExt cx="290627" cy="314333"/>
            </a:xfrm>
          </p:grpSpPr>
          <p:sp>
            <p:nvSpPr>
              <p:cNvPr id="322" name="Rechthoek 321">
                <a:extLst>
                  <a:ext uri="{FF2B5EF4-FFF2-40B4-BE49-F238E27FC236}">
                    <a16:creationId xmlns:a16="http://schemas.microsoft.com/office/drawing/2014/main" id="{3DB64F1D-38AE-4C4E-935A-7798877C4AB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23" name="Ovaal 322">
                <a:extLst>
                  <a:ext uri="{FF2B5EF4-FFF2-40B4-BE49-F238E27FC236}">
                    <a16:creationId xmlns:a16="http://schemas.microsoft.com/office/drawing/2014/main" id="{D067C6DA-EA95-46EF-BF7A-6BFDE7BD033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324" name="Vrije vorm: vorm 323">
                <a:extLst>
                  <a:ext uri="{FF2B5EF4-FFF2-40B4-BE49-F238E27FC236}">
                    <a16:creationId xmlns:a16="http://schemas.microsoft.com/office/drawing/2014/main" id="{8CA0DABC-BD2E-4A88-9A10-D4580CBE448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325" name="Rechthoek: afgeronde hoeken 324">
                <a:extLst>
                  <a:ext uri="{FF2B5EF4-FFF2-40B4-BE49-F238E27FC236}">
                    <a16:creationId xmlns:a16="http://schemas.microsoft.com/office/drawing/2014/main" id="{3244A56D-EA86-4ACB-B0EC-7678F45EB24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326" name="Rechte verbindingslijn 325">
                <a:extLst>
                  <a:ext uri="{FF2B5EF4-FFF2-40B4-BE49-F238E27FC236}">
                    <a16:creationId xmlns:a16="http://schemas.microsoft.com/office/drawing/2014/main" id="{B1A5B10B-D48A-42B1-9314-B8F6393560A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327" name="Rechte verbindingslijn 326">
                <a:extLst>
                  <a:ext uri="{FF2B5EF4-FFF2-40B4-BE49-F238E27FC236}">
                    <a16:creationId xmlns:a16="http://schemas.microsoft.com/office/drawing/2014/main" id="{ABD87853-61AE-43B8-9087-CB7A6EDE8790}"/>
                  </a:ext>
                </a:extLst>
              </p:cNvPr>
              <p:cNvCxnSpPr>
                <a:cxnSpLocks/>
                <a:stCxn id="32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2" name="Ovaal 271">
              <a:extLst>
                <a:ext uri="{FF2B5EF4-FFF2-40B4-BE49-F238E27FC236}">
                  <a16:creationId xmlns:a16="http://schemas.microsoft.com/office/drawing/2014/main" id="{5615763D-C855-4A2D-A774-7411F66F7B12}"/>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73" name="Rechthoek 272">
              <a:extLst>
                <a:ext uri="{FF2B5EF4-FFF2-40B4-BE49-F238E27FC236}">
                  <a16:creationId xmlns:a16="http://schemas.microsoft.com/office/drawing/2014/main" id="{C8041A60-A9E2-4DEE-AFB1-7F446F2CFB1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4" name="Groep 273">
              <a:extLst>
                <a:ext uri="{FF2B5EF4-FFF2-40B4-BE49-F238E27FC236}">
                  <a16:creationId xmlns:a16="http://schemas.microsoft.com/office/drawing/2014/main" id="{2AA37494-5C03-49EA-9EA6-963EBE4A5A50}"/>
                </a:ext>
              </a:extLst>
            </p:cNvPr>
            <p:cNvGrpSpPr/>
            <p:nvPr userDrawn="1"/>
          </p:nvGrpSpPr>
          <p:grpSpPr>
            <a:xfrm>
              <a:off x="12852713" y="2164285"/>
              <a:ext cx="825500" cy="209550"/>
              <a:chOff x="13504624" y="2482850"/>
              <a:chExt cx="825500" cy="209550"/>
            </a:xfrm>
          </p:grpSpPr>
          <p:sp>
            <p:nvSpPr>
              <p:cNvPr id="319" name="Rechthoek 318">
                <a:extLst>
                  <a:ext uri="{FF2B5EF4-FFF2-40B4-BE49-F238E27FC236}">
                    <a16:creationId xmlns:a16="http://schemas.microsoft.com/office/drawing/2014/main" id="{6263351F-E91B-4776-A9E6-4BB20C671B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320" name="Rechte verbindingslijn 319">
                <a:extLst>
                  <a:ext uri="{FF2B5EF4-FFF2-40B4-BE49-F238E27FC236}">
                    <a16:creationId xmlns:a16="http://schemas.microsoft.com/office/drawing/2014/main" id="{7C7EDE7A-E740-4D42-94C2-C6B6F9BE7705}"/>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1" name="Gelijkbenige driehoek 320">
                <a:extLst>
                  <a:ext uri="{FF2B5EF4-FFF2-40B4-BE49-F238E27FC236}">
                    <a16:creationId xmlns:a16="http://schemas.microsoft.com/office/drawing/2014/main" id="{693C987F-2776-4035-BA28-DFF5F1690B8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275" name="Ovaal 274">
              <a:extLst>
                <a:ext uri="{FF2B5EF4-FFF2-40B4-BE49-F238E27FC236}">
                  <a16:creationId xmlns:a16="http://schemas.microsoft.com/office/drawing/2014/main" id="{BF1D9E5D-F2F4-4ECF-88A3-C60DD862565B}"/>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76" name="Rechthoek 275">
              <a:extLst>
                <a:ext uri="{FF2B5EF4-FFF2-40B4-BE49-F238E27FC236}">
                  <a16:creationId xmlns:a16="http://schemas.microsoft.com/office/drawing/2014/main" id="{E67513BA-6BE9-42C9-9637-00BE54F0D7DE}"/>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77" name="Ovaal 276">
              <a:extLst>
                <a:ext uri="{FF2B5EF4-FFF2-40B4-BE49-F238E27FC236}">
                  <a16:creationId xmlns:a16="http://schemas.microsoft.com/office/drawing/2014/main" id="{533321C2-E250-4C1F-AE3D-C34A5D785E76}"/>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78" name="Rechthoek 277">
              <a:extLst>
                <a:ext uri="{FF2B5EF4-FFF2-40B4-BE49-F238E27FC236}">
                  <a16:creationId xmlns:a16="http://schemas.microsoft.com/office/drawing/2014/main" id="{829CC722-72C9-4AA8-824A-BDCB1E12AFD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279" name="Groep 278">
              <a:extLst>
                <a:ext uri="{FF2B5EF4-FFF2-40B4-BE49-F238E27FC236}">
                  <a16:creationId xmlns:a16="http://schemas.microsoft.com/office/drawing/2014/main" id="{0A616F00-F50A-4DB2-A41E-D77B76327431}"/>
                </a:ext>
              </a:extLst>
            </p:cNvPr>
            <p:cNvGrpSpPr/>
            <p:nvPr userDrawn="1"/>
          </p:nvGrpSpPr>
          <p:grpSpPr>
            <a:xfrm>
              <a:off x="12755738" y="5236167"/>
              <a:ext cx="622283" cy="612919"/>
              <a:chOff x="12617641" y="3403239"/>
              <a:chExt cx="752963" cy="741634"/>
            </a:xfrm>
          </p:grpSpPr>
          <p:grpSp>
            <p:nvGrpSpPr>
              <p:cNvPr id="303" name="Groep 302">
                <a:extLst>
                  <a:ext uri="{FF2B5EF4-FFF2-40B4-BE49-F238E27FC236}">
                    <a16:creationId xmlns:a16="http://schemas.microsoft.com/office/drawing/2014/main" id="{0147B837-71EC-4717-AA68-41217D115BB9}"/>
                  </a:ext>
                </a:extLst>
              </p:cNvPr>
              <p:cNvGrpSpPr/>
              <p:nvPr userDrawn="1"/>
            </p:nvGrpSpPr>
            <p:grpSpPr>
              <a:xfrm>
                <a:off x="12771550" y="3403239"/>
                <a:ext cx="467156" cy="448491"/>
                <a:chOff x="12782177" y="3403239"/>
                <a:chExt cx="467156" cy="448491"/>
              </a:xfrm>
            </p:grpSpPr>
            <p:grpSp>
              <p:nvGrpSpPr>
                <p:cNvPr id="306" name="Groep 305">
                  <a:extLst>
                    <a:ext uri="{FF2B5EF4-FFF2-40B4-BE49-F238E27FC236}">
                      <a16:creationId xmlns:a16="http://schemas.microsoft.com/office/drawing/2014/main" id="{B81D7DA3-4A3E-4D5F-BB5D-6332A3D9EEDA}"/>
                    </a:ext>
                  </a:extLst>
                </p:cNvPr>
                <p:cNvGrpSpPr/>
                <p:nvPr userDrawn="1"/>
              </p:nvGrpSpPr>
              <p:grpSpPr>
                <a:xfrm>
                  <a:off x="12782177" y="3403239"/>
                  <a:ext cx="412972" cy="396132"/>
                  <a:chOff x="13554906" y="3320109"/>
                  <a:chExt cx="443912" cy="425811"/>
                </a:xfrm>
              </p:grpSpPr>
              <p:grpSp>
                <p:nvGrpSpPr>
                  <p:cNvPr id="313" name="Groep 312">
                    <a:extLst>
                      <a:ext uri="{FF2B5EF4-FFF2-40B4-BE49-F238E27FC236}">
                        <a16:creationId xmlns:a16="http://schemas.microsoft.com/office/drawing/2014/main" id="{5D61A1BD-3F89-47F4-91F3-DF18DA207DF5}"/>
                      </a:ext>
                    </a:extLst>
                  </p:cNvPr>
                  <p:cNvGrpSpPr/>
                  <p:nvPr userDrawn="1"/>
                </p:nvGrpSpPr>
                <p:grpSpPr>
                  <a:xfrm>
                    <a:off x="13554906" y="3320109"/>
                    <a:ext cx="443912" cy="425811"/>
                    <a:chOff x="12909684" y="1276143"/>
                    <a:chExt cx="443912" cy="425811"/>
                  </a:xfrm>
                </p:grpSpPr>
                <p:sp>
                  <p:nvSpPr>
                    <p:cNvPr id="316" name="Rechthoek 315">
                      <a:extLst>
                        <a:ext uri="{FF2B5EF4-FFF2-40B4-BE49-F238E27FC236}">
                          <a16:creationId xmlns:a16="http://schemas.microsoft.com/office/drawing/2014/main" id="{0573EF95-F9BC-4141-A716-D82C0DD18F4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17" name="Rechthoek 316">
                      <a:extLst>
                        <a:ext uri="{FF2B5EF4-FFF2-40B4-BE49-F238E27FC236}">
                          <a16:creationId xmlns:a16="http://schemas.microsoft.com/office/drawing/2014/main" id="{7BE96F61-E49B-4598-8E2D-4819D547BF1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318" name="Ovaal 317">
                      <a:extLst>
                        <a:ext uri="{FF2B5EF4-FFF2-40B4-BE49-F238E27FC236}">
                          <a16:creationId xmlns:a16="http://schemas.microsoft.com/office/drawing/2014/main" id="{D065EEDA-2197-41C5-A8D7-AB41362CC7F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314" name="Afbeelding 313">
                    <a:extLst>
                      <a:ext uri="{FF2B5EF4-FFF2-40B4-BE49-F238E27FC236}">
                        <a16:creationId xmlns:a16="http://schemas.microsoft.com/office/drawing/2014/main" id="{5BF571C6-AEA6-4BFE-916B-00407AFF703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315" name="Afbeelding 314">
                    <a:extLst>
                      <a:ext uri="{FF2B5EF4-FFF2-40B4-BE49-F238E27FC236}">
                        <a16:creationId xmlns:a16="http://schemas.microsoft.com/office/drawing/2014/main" id="{B72A5FDA-FEDD-4A1B-88D3-4993A77298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307" name="Groep 306">
                  <a:extLst>
                    <a:ext uri="{FF2B5EF4-FFF2-40B4-BE49-F238E27FC236}">
                      <a16:creationId xmlns:a16="http://schemas.microsoft.com/office/drawing/2014/main" id="{BE5E0931-05BF-4CD5-A164-6FE25ABB375B}"/>
                    </a:ext>
                  </a:extLst>
                </p:cNvPr>
                <p:cNvGrpSpPr/>
                <p:nvPr userDrawn="1"/>
              </p:nvGrpSpPr>
              <p:grpSpPr>
                <a:xfrm>
                  <a:off x="13103513" y="3705268"/>
                  <a:ext cx="145820" cy="146462"/>
                  <a:chOff x="13096169" y="3602278"/>
                  <a:chExt cx="145820" cy="146462"/>
                </a:xfrm>
              </p:grpSpPr>
              <p:sp>
                <p:nvSpPr>
                  <p:cNvPr id="311" name="Rechthoek 310">
                    <a:extLst>
                      <a:ext uri="{FF2B5EF4-FFF2-40B4-BE49-F238E27FC236}">
                        <a16:creationId xmlns:a16="http://schemas.microsoft.com/office/drawing/2014/main" id="{CFB237BF-B0AC-4077-96EC-3FF64595914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12" name="Rechthoek 311">
                    <a:extLst>
                      <a:ext uri="{FF2B5EF4-FFF2-40B4-BE49-F238E27FC236}">
                        <a16:creationId xmlns:a16="http://schemas.microsoft.com/office/drawing/2014/main" id="{D078669B-2F27-45AD-B89B-D435D46034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08" name="Groep 307">
                  <a:extLst>
                    <a:ext uri="{FF2B5EF4-FFF2-40B4-BE49-F238E27FC236}">
                      <a16:creationId xmlns:a16="http://schemas.microsoft.com/office/drawing/2014/main" id="{8DE2E413-D420-4D52-BFD8-82C988257295}"/>
                    </a:ext>
                  </a:extLst>
                </p:cNvPr>
                <p:cNvGrpSpPr/>
                <p:nvPr userDrawn="1"/>
              </p:nvGrpSpPr>
              <p:grpSpPr>
                <a:xfrm rot="10800000">
                  <a:off x="13061402" y="3665637"/>
                  <a:ext cx="145820" cy="146462"/>
                  <a:chOff x="13096169" y="3602278"/>
                  <a:chExt cx="145820" cy="146462"/>
                </a:xfrm>
              </p:grpSpPr>
              <p:sp>
                <p:nvSpPr>
                  <p:cNvPr id="309" name="Rechthoek 308">
                    <a:extLst>
                      <a:ext uri="{FF2B5EF4-FFF2-40B4-BE49-F238E27FC236}">
                        <a16:creationId xmlns:a16="http://schemas.microsoft.com/office/drawing/2014/main" id="{B352DFA1-840C-4463-A4B1-C49CD154DA1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10" name="Rechthoek 309">
                    <a:extLst>
                      <a:ext uri="{FF2B5EF4-FFF2-40B4-BE49-F238E27FC236}">
                        <a16:creationId xmlns:a16="http://schemas.microsoft.com/office/drawing/2014/main" id="{3BCDC9B7-B1C8-4773-BEBE-7E3F47A9A80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304" name="Rechthoek 303">
                <a:extLst>
                  <a:ext uri="{FF2B5EF4-FFF2-40B4-BE49-F238E27FC236}">
                    <a16:creationId xmlns:a16="http://schemas.microsoft.com/office/drawing/2014/main" id="{3A6BB184-50F3-4134-93D4-66F58DCD55F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305" name="Gelijkbenige driehoek 304">
                <a:extLst>
                  <a:ext uri="{FF2B5EF4-FFF2-40B4-BE49-F238E27FC236}">
                    <a16:creationId xmlns:a16="http://schemas.microsoft.com/office/drawing/2014/main" id="{E8FFE4C1-01DA-4D23-A79F-05051941143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80" name="Rechthoek 279">
              <a:extLst>
                <a:ext uri="{FF2B5EF4-FFF2-40B4-BE49-F238E27FC236}">
                  <a16:creationId xmlns:a16="http://schemas.microsoft.com/office/drawing/2014/main" id="{EE700D66-6647-4C09-B385-2C393BA53C41}"/>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281" name="Groep 280">
              <a:extLst>
                <a:ext uri="{FF2B5EF4-FFF2-40B4-BE49-F238E27FC236}">
                  <a16:creationId xmlns:a16="http://schemas.microsoft.com/office/drawing/2014/main" id="{2283EB88-1598-4E4D-A6FF-28E1477220BE}"/>
                </a:ext>
              </a:extLst>
            </p:cNvPr>
            <p:cNvGrpSpPr/>
            <p:nvPr userDrawn="1"/>
          </p:nvGrpSpPr>
          <p:grpSpPr>
            <a:xfrm>
              <a:off x="13678213" y="3399207"/>
              <a:ext cx="1222990" cy="563933"/>
              <a:chOff x="-2485819" y="3399207"/>
              <a:chExt cx="1222990" cy="563933"/>
            </a:xfrm>
          </p:grpSpPr>
          <p:sp>
            <p:nvSpPr>
              <p:cNvPr id="282" name="Rechthoek 281">
                <a:extLst>
                  <a:ext uri="{FF2B5EF4-FFF2-40B4-BE49-F238E27FC236}">
                    <a16:creationId xmlns:a16="http://schemas.microsoft.com/office/drawing/2014/main" id="{13E15A65-A5A7-494D-8062-0E1218734B4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83" name="Rechthoek 282">
                <a:extLst>
                  <a:ext uri="{FF2B5EF4-FFF2-40B4-BE49-F238E27FC236}">
                    <a16:creationId xmlns:a16="http://schemas.microsoft.com/office/drawing/2014/main" id="{4E8FDCCB-990F-4ADE-9E6F-F341893143A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284" name="Groep 283">
                <a:extLst>
                  <a:ext uri="{FF2B5EF4-FFF2-40B4-BE49-F238E27FC236}">
                    <a16:creationId xmlns:a16="http://schemas.microsoft.com/office/drawing/2014/main" id="{F628F25A-F47B-4233-884D-0A5FE603E6F8}"/>
                  </a:ext>
                </a:extLst>
              </p:cNvPr>
              <p:cNvGrpSpPr/>
              <p:nvPr userDrawn="1"/>
            </p:nvGrpSpPr>
            <p:grpSpPr>
              <a:xfrm>
                <a:off x="-2403869" y="3460544"/>
                <a:ext cx="155951" cy="131922"/>
                <a:chOff x="12968836" y="3354170"/>
                <a:chExt cx="404806" cy="342433"/>
              </a:xfrm>
            </p:grpSpPr>
            <p:sp>
              <p:nvSpPr>
                <p:cNvPr id="297" name="Rechthoek: afgeronde hoeken 296">
                  <a:extLst>
                    <a:ext uri="{FF2B5EF4-FFF2-40B4-BE49-F238E27FC236}">
                      <a16:creationId xmlns:a16="http://schemas.microsoft.com/office/drawing/2014/main" id="{C6207971-E8D5-4B75-9211-B2047512497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98" name="Rechthoek 297">
                  <a:extLst>
                    <a:ext uri="{FF2B5EF4-FFF2-40B4-BE49-F238E27FC236}">
                      <a16:creationId xmlns:a16="http://schemas.microsoft.com/office/drawing/2014/main" id="{E288AD94-453A-4753-89CF-4DAEDA5B1D77}"/>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9" name="Rechthoek 298">
                  <a:extLst>
                    <a:ext uri="{FF2B5EF4-FFF2-40B4-BE49-F238E27FC236}">
                      <a16:creationId xmlns:a16="http://schemas.microsoft.com/office/drawing/2014/main" id="{C7538146-C83D-4CF5-B7CB-65D5699F7E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0" name="Rechthoek 299">
                  <a:extLst>
                    <a:ext uri="{FF2B5EF4-FFF2-40B4-BE49-F238E27FC236}">
                      <a16:creationId xmlns:a16="http://schemas.microsoft.com/office/drawing/2014/main" id="{72A21FD2-C98E-431E-9EA6-1CA0B07FD77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1" name="Rechthoek 300">
                  <a:extLst>
                    <a:ext uri="{FF2B5EF4-FFF2-40B4-BE49-F238E27FC236}">
                      <a16:creationId xmlns:a16="http://schemas.microsoft.com/office/drawing/2014/main" id="{E65687C7-E5B0-4605-8B33-546B9449DF4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302" name="Rechthoek 301">
                  <a:extLst>
                    <a:ext uri="{FF2B5EF4-FFF2-40B4-BE49-F238E27FC236}">
                      <a16:creationId xmlns:a16="http://schemas.microsoft.com/office/drawing/2014/main" id="{9CD8054A-0300-454D-AB22-B92F67A1209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285" name="Groep 284">
                <a:extLst>
                  <a:ext uri="{FF2B5EF4-FFF2-40B4-BE49-F238E27FC236}">
                    <a16:creationId xmlns:a16="http://schemas.microsoft.com/office/drawing/2014/main" id="{92FC7118-EF45-4B7B-A527-69A141EBED49}"/>
                  </a:ext>
                </a:extLst>
              </p:cNvPr>
              <p:cNvGrpSpPr/>
              <p:nvPr userDrawn="1"/>
            </p:nvGrpSpPr>
            <p:grpSpPr>
              <a:xfrm>
                <a:off x="-2423424" y="3690208"/>
                <a:ext cx="166739" cy="218963"/>
                <a:chOff x="12940828" y="3950597"/>
                <a:chExt cx="432813" cy="568367"/>
              </a:xfrm>
            </p:grpSpPr>
            <p:grpSp>
              <p:nvGrpSpPr>
                <p:cNvPr id="289" name="Groep 288">
                  <a:extLst>
                    <a:ext uri="{FF2B5EF4-FFF2-40B4-BE49-F238E27FC236}">
                      <a16:creationId xmlns:a16="http://schemas.microsoft.com/office/drawing/2014/main" id="{A9A790F4-DE7E-45B9-9D2D-E93F639BABB8}"/>
                    </a:ext>
                  </a:extLst>
                </p:cNvPr>
                <p:cNvGrpSpPr/>
                <p:nvPr userDrawn="1"/>
              </p:nvGrpSpPr>
              <p:grpSpPr>
                <a:xfrm>
                  <a:off x="13000382" y="4006891"/>
                  <a:ext cx="373259" cy="315747"/>
                  <a:chOff x="12968836" y="3354170"/>
                  <a:chExt cx="404806" cy="342433"/>
                </a:xfrm>
              </p:grpSpPr>
              <p:sp>
                <p:nvSpPr>
                  <p:cNvPr id="291" name="Rechthoek: afgeronde hoeken 290">
                    <a:extLst>
                      <a:ext uri="{FF2B5EF4-FFF2-40B4-BE49-F238E27FC236}">
                        <a16:creationId xmlns:a16="http://schemas.microsoft.com/office/drawing/2014/main" id="{F9C3B55F-7BAA-4E62-8298-60333438302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92" name="Rechthoek 291">
                    <a:extLst>
                      <a:ext uri="{FF2B5EF4-FFF2-40B4-BE49-F238E27FC236}">
                        <a16:creationId xmlns:a16="http://schemas.microsoft.com/office/drawing/2014/main" id="{D5423D85-12CD-40F3-818C-8A18FAC3148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3" name="Rechthoek 292">
                    <a:extLst>
                      <a:ext uri="{FF2B5EF4-FFF2-40B4-BE49-F238E27FC236}">
                        <a16:creationId xmlns:a16="http://schemas.microsoft.com/office/drawing/2014/main" id="{45848C47-C7BE-465E-BB7C-AE7AA6D5652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4" name="Rechthoek 293">
                    <a:extLst>
                      <a:ext uri="{FF2B5EF4-FFF2-40B4-BE49-F238E27FC236}">
                        <a16:creationId xmlns:a16="http://schemas.microsoft.com/office/drawing/2014/main" id="{551E2356-DB2C-4146-8C36-73AF688DC86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5" name="Rechthoek 294">
                    <a:extLst>
                      <a:ext uri="{FF2B5EF4-FFF2-40B4-BE49-F238E27FC236}">
                        <a16:creationId xmlns:a16="http://schemas.microsoft.com/office/drawing/2014/main" id="{6B2B6BDC-BFEE-4767-81AE-49C1C8CE9EC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96" name="Rechthoek 295">
                    <a:extLst>
                      <a:ext uri="{FF2B5EF4-FFF2-40B4-BE49-F238E27FC236}">
                        <a16:creationId xmlns:a16="http://schemas.microsoft.com/office/drawing/2014/main" id="{5889D9B1-C858-45B3-B674-405A08CE588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90" name="Boog 289">
                  <a:extLst>
                    <a:ext uri="{FF2B5EF4-FFF2-40B4-BE49-F238E27FC236}">
                      <a16:creationId xmlns:a16="http://schemas.microsoft.com/office/drawing/2014/main" id="{16FF3F75-7734-4BD9-97E1-47BD58306F2A}"/>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286" name="Tekstvak 285">
                <a:extLst>
                  <a:ext uri="{FF2B5EF4-FFF2-40B4-BE49-F238E27FC236}">
                    <a16:creationId xmlns:a16="http://schemas.microsoft.com/office/drawing/2014/main" id="{08B59015-32DB-4DB4-95DF-BAFA4CDB2D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287" name="Tekstvak 286">
                <a:extLst>
                  <a:ext uri="{FF2B5EF4-FFF2-40B4-BE49-F238E27FC236}">
                    <a16:creationId xmlns:a16="http://schemas.microsoft.com/office/drawing/2014/main" id="{9294383D-54C7-4BE6-B66F-3BB857E65908}"/>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288" name="Vrije vorm: vorm 287">
                <a:extLst>
                  <a:ext uri="{FF2B5EF4-FFF2-40B4-BE49-F238E27FC236}">
                    <a16:creationId xmlns:a16="http://schemas.microsoft.com/office/drawing/2014/main" id="{C0E0663F-3F58-4E7D-A82B-037EEDBCCD3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7827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 en Beeld (L)">
    <p:spTree>
      <p:nvGrpSpPr>
        <p:cNvPr id="1" name=""/>
        <p:cNvGrpSpPr/>
        <p:nvPr/>
      </p:nvGrpSpPr>
      <p:grpSpPr>
        <a:xfrm>
          <a:off x="0" y="0"/>
          <a:ext cx="0" cy="0"/>
          <a:chOff x="0" y="0"/>
          <a:chExt cx="0" cy="0"/>
        </a:xfrm>
      </p:grpSpPr>
      <p:sp>
        <p:nvSpPr>
          <p:cNvPr id="17" name="Tijdelijke aanduiding voor afbeelding 16">
            <a:extLst>
              <a:ext uri="{FF2B5EF4-FFF2-40B4-BE49-F238E27FC236}">
                <a16:creationId xmlns:a16="http://schemas.microsoft.com/office/drawing/2014/main" id="{64515711-5DF2-4DF4-9916-2C338B1F300F}"/>
              </a:ext>
            </a:extLst>
          </p:cNvPr>
          <p:cNvSpPr>
            <a:spLocks noGrp="1"/>
          </p:cNvSpPr>
          <p:nvPr>
            <p:ph type="pic" sz="quarter" idx="14" hasCustomPrompt="1"/>
          </p:nvPr>
        </p:nvSpPr>
        <p:spPr>
          <a:xfrm>
            <a:off x="4514229" y="517526"/>
            <a:ext cx="7157071" cy="5827842"/>
          </a:xfrm>
          <a:custGeom>
            <a:avLst/>
            <a:gdLst>
              <a:gd name="connsiteX0" fmla="*/ 305995 w 7157071"/>
              <a:gd name="connsiteY0" fmla="*/ 0 h 5827842"/>
              <a:gd name="connsiteX1" fmla="*/ 7157071 w 7157071"/>
              <a:gd name="connsiteY1" fmla="*/ 0 h 5827842"/>
              <a:gd name="connsiteX2" fmla="*/ 7157071 w 7157071"/>
              <a:gd name="connsiteY2" fmla="*/ 5827842 h 5827842"/>
              <a:gd name="connsiteX3" fmla="*/ 711826 w 7157071"/>
              <a:gd name="connsiteY3" fmla="*/ 5827842 h 5827842"/>
              <a:gd name="connsiteX4" fmla="*/ 711826 w 7157071"/>
              <a:gd name="connsiteY4" fmla="*/ 5827841 h 5827842"/>
              <a:gd name="connsiteX5" fmla="*/ 243328 w 7157071"/>
              <a:gd name="connsiteY5" fmla="*/ 5827841 h 5827842"/>
              <a:gd name="connsiteX6" fmla="*/ 242814 w 7157071"/>
              <a:gd name="connsiteY6" fmla="*/ 5822952 h 5827842"/>
              <a:gd name="connsiteX7" fmla="*/ 306009 w 7157071"/>
              <a:gd name="connsiteY7" fmla="*/ 5822952 h 5827842"/>
              <a:gd name="connsiteX8" fmla="*/ 0 w 7157071"/>
              <a:gd name="connsiteY8" fmla="*/ 2911410 h 5827842"/>
              <a:gd name="connsiteX0" fmla="*/ 305995 w 7157071"/>
              <a:gd name="connsiteY0" fmla="*/ 0 h 5827842"/>
              <a:gd name="connsiteX1" fmla="*/ 7157071 w 7157071"/>
              <a:gd name="connsiteY1" fmla="*/ 0 h 5827842"/>
              <a:gd name="connsiteX2" fmla="*/ 7157071 w 7157071"/>
              <a:gd name="connsiteY2" fmla="*/ 5827842 h 5827842"/>
              <a:gd name="connsiteX3" fmla="*/ 711826 w 7157071"/>
              <a:gd name="connsiteY3" fmla="*/ 5827842 h 5827842"/>
              <a:gd name="connsiteX4" fmla="*/ 711826 w 7157071"/>
              <a:gd name="connsiteY4" fmla="*/ 5827841 h 5827842"/>
              <a:gd name="connsiteX5" fmla="*/ 243328 w 7157071"/>
              <a:gd name="connsiteY5" fmla="*/ 5827841 h 5827842"/>
              <a:gd name="connsiteX6" fmla="*/ 242814 w 7157071"/>
              <a:gd name="connsiteY6" fmla="*/ 5822952 h 5827842"/>
              <a:gd name="connsiteX7" fmla="*/ 0 w 7157071"/>
              <a:gd name="connsiteY7" fmla="*/ 2911410 h 5827842"/>
              <a:gd name="connsiteX8" fmla="*/ 305995 w 7157071"/>
              <a:gd name="connsiteY8" fmla="*/ 0 h 582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7071" h="5827842">
                <a:moveTo>
                  <a:pt x="305995" y="0"/>
                </a:moveTo>
                <a:lnTo>
                  <a:pt x="7157071" y="0"/>
                </a:lnTo>
                <a:lnTo>
                  <a:pt x="7157071" y="5827842"/>
                </a:lnTo>
                <a:lnTo>
                  <a:pt x="711826" y="5827842"/>
                </a:lnTo>
                <a:lnTo>
                  <a:pt x="711826" y="5827841"/>
                </a:lnTo>
                <a:lnTo>
                  <a:pt x="243328" y="5827841"/>
                </a:lnTo>
                <a:cubicBezTo>
                  <a:pt x="243157" y="5826211"/>
                  <a:pt x="242985" y="5824582"/>
                  <a:pt x="242814" y="5822952"/>
                </a:cubicBezTo>
                <a:lnTo>
                  <a:pt x="0" y="2911410"/>
                </a:lnTo>
                <a:lnTo>
                  <a:pt x="305995" y="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3" name="Tijdelijke aanduiding voor verticale tekst 2"/>
          <p:cNvSpPr>
            <a:spLocks noGrp="1"/>
          </p:cNvSpPr>
          <p:nvPr>
            <p:ph type="body" orient="vert" idx="1" hasCustomPrompt="1"/>
          </p:nvPr>
        </p:nvSpPr>
        <p:spPr>
          <a:xfrm>
            <a:off x="515938" y="1347275"/>
            <a:ext cx="3422562"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07411392-B9AE-48CE-911E-F56D1FDA3CBF}"/>
              </a:ext>
            </a:extLst>
          </p:cNvPr>
          <p:cNvSpPr>
            <a:spLocks noGrp="1"/>
          </p:cNvSpPr>
          <p:nvPr>
            <p:ph type="title" hasCustomPrompt="1"/>
          </p:nvPr>
        </p:nvSpPr>
        <p:spPr>
          <a:xfrm>
            <a:off x="515941" y="517525"/>
            <a:ext cx="3422559" cy="488950"/>
          </a:xfrm>
        </p:spPr>
        <p:txBody>
          <a:bodyPr/>
          <a:lstStyle>
            <a:lvl1pPr>
              <a:defRPr/>
            </a:lvl1pPr>
          </a:lstStyle>
          <a:p>
            <a:r>
              <a:rPr lang="nl-NL" dirty="0"/>
              <a:t>Plaats hier je titel</a:t>
            </a:r>
          </a:p>
        </p:txBody>
      </p:sp>
      <p:grpSp>
        <p:nvGrpSpPr>
          <p:cNvPr id="131" name="INSTRUCTIE">
            <a:extLst>
              <a:ext uri="{FF2B5EF4-FFF2-40B4-BE49-F238E27FC236}">
                <a16:creationId xmlns:a16="http://schemas.microsoft.com/office/drawing/2014/main" id="{EF575C5E-7A92-4802-9DAA-29A6962125E9}"/>
              </a:ext>
            </a:extLst>
          </p:cNvPr>
          <p:cNvGrpSpPr/>
          <p:nvPr userDrawn="1"/>
        </p:nvGrpSpPr>
        <p:grpSpPr>
          <a:xfrm>
            <a:off x="8469641" y="7033211"/>
            <a:ext cx="3727954" cy="1728407"/>
            <a:chOff x="5846" y="7033211"/>
            <a:chExt cx="3727954" cy="1728407"/>
          </a:xfrm>
        </p:grpSpPr>
        <p:sp>
          <p:nvSpPr>
            <p:cNvPr id="132" name="Rechthoek 131">
              <a:extLst>
                <a:ext uri="{FF2B5EF4-FFF2-40B4-BE49-F238E27FC236}">
                  <a16:creationId xmlns:a16="http://schemas.microsoft.com/office/drawing/2014/main" id="{75DB7479-6BF1-48C9-BAE7-B092E6D0FEAF}"/>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33" name="Ovaal 132">
              <a:extLst>
                <a:ext uri="{FF2B5EF4-FFF2-40B4-BE49-F238E27FC236}">
                  <a16:creationId xmlns:a16="http://schemas.microsoft.com/office/drawing/2014/main" id="{AD6676A8-3773-4CB5-BFC6-25648ABBCB77}"/>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05FBBEF6-418A-4C8C-874D-FA8C71FC4ED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7B820A19-09B3-4EE4-A703-3C7C3A88146F}"/>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56707045-DE78-4B70-A525-4506584FFF2E}"/>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7" name="Groep 136">
              <a:extLst>
                <a:ext uri="{FF2B5EF4-FFF2-40B4-BE49-F238E27FC236}">
                  <a16:creationId xmlns:a16="http://schemas.microsoft.com/office/drawing/2014/main" id="{0C18D5A3-98C4-4A4E-ABE5-E1CD0159C864}"/>
                </a:ext>
              </a:extLst>
            </p:cNvPr>
            <p:cNvGrpSpPr/>
            <p:nvPr userDrawn="1"/>
          </p:nvGrpSpPr>
          <p:grpSpPr>
            <a:xfrm>
              <a:off x="2939884" y="7739834"/>
              <a:ext cx="681133" cy="750023"/>
              <a:chOff x="-910573" y="4987990"/>
              <a:chExt cx="681133" cy="750023"/>
            </a:xfrm>
          </p:grpSpPr>
          <p:grpSp>
            <p:nvGrpSpPr>
              <p:cNvPr id="138" name="Groep 137">
                <a:extLst>
                  <a:ext uri="{FF2B5EF4-FFF2-40B4-BE49-F238E27FC236}">
                    <a16:creationId xmlns:a16="http://schemas.microsoft.com/office/drawing/2014/main" id="{5342BA78-03FD-4F28-AD42-DF4F2FB857B9}"/>
                  </a:ext>
                </a:extLst>
              </p:cNvPr>
              <p:cNvGrpSpPr/>
              <p:nvPr userDrawn="1"/>
            </p:nvGrpSpPr>
            <p:grpSpPr>
              <a:xfrm>
                <a:off x="-713542" y="4987990"/>
                <a:ext cx="287071" cy="379107"/>
                <a:chOff x="-4050578" y="288410"/>
                <a:chExt cx="322125" cy="379107"/>
              </a:xfrm>
            </p:grpSpPr>
            <p:sp>
              <p:nvSpPr>
                <p:cNvPr id="140" name="Rechthoek met één afgeknipte en afgeronde hoek 47">
                  <a:extLst>
                    <a:ext uri="{FF2B5EF4-FFF2-40B4-BE49-F238E27FC236}">
                      <a16:creationId xmlns:a16="http://schemas.microsoft.com/office/drawing/2014/main" id="{E99F7C0C-1EF6-426F-8D99-88227E4DE874}"/>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1" name="Rechthoekige driehoek 140">
                  <a:extLst>
                    <a:ext uri="{FF2B5EF4-FFF2-40B4-BE49-F238E27FC236}">
                      <a16:creationId xmlns:a16="http://schemas.microsoft.com/office/drawing/2014/main" id="{E049915B-6CE2-4D21-B68A-D04F947A49C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 141">
                  <a:extLst>
                    <a:ext uri="{FF2B5EF4-FFF2-40B4-BE49-F238E27FC236}">
                      <a16:creationId xmlns:a16="http://schemas.microsoft.com/office/drawing/2014/main" id="{D3BD52A0-7037-4C43-AEA2-B30693D057EF}"/>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3" name="Rechthoek 142">
                  <a:extLst>
                    <a:ext uri="{FF2B5EF4-FFF2-40B4-BE49-F238E27FC236}">
                      <a16:creationId xmlns:a16="http://schemas.microsoft.com/office/drawing/2014/main" id="{509FC19D-D5A8-4FBD-8800-B832E204726C}"/>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9" name="Rechthoek 138">
                <a:extLst>
                  <a:ext uri="{FF2B5EF4-FFF2-40B4-BE49-F238E27FC236}">
                    <a16:creationId xmlns:a16="http://schemas.microsoft.com/office/drawing/2014/main" id="{D121F625-9AA1-4B9C-ADEE-19A26D15ED25}"/>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144" name="INSTRUCTIE">
            <a:extLst>
              <a:ext uri="{FF2B5EF4-FFF2-40B4-BE49-F238E27FC236}">
                <a16:creationId xmlns:a16="http://schemas.microsoft.com/office/drawing/2014/main" id="{31FA6939-31C6-4BA2-8AB6-D0B1660D0790}"/>
              </a:ext>
            </a:extLst>
          </p:cNvPr>
          <p:cNvGrpSpPr/>
          <p:nvPr userDrawn="1"/>
        </p:nvGrpSpPr>
        <p:grpSpPr>
          <a:xfrm>
            <a:off x="-3786165" y="0"/>
            <a:ext cx="3593091" cy="4641338"/>
            <a:chOff x="-3786165" y="0"/>
            <a:chExt cx="3593091" cy="4641338"/>
          </a:xfrm>
        </p:grpSpPr>
        <p:sp>
          <p:nvSpPr>
            <p:cNvPr id="145" name="Rechthoek 144">
              <a:extLst>
                <a:ext uri="{FF2B5EF4-FFF2-40B4-BE49-F238E27FC236}">
                  <a16:creationId xmlns:a16="http://schemas.microsoft.com/office/drawing/2014/main" id="{959E1152-1CB3-4020-B78E-4C66C5808D89}"/>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6" name="Ovaal 145">
              <a:extLst>
                <a:ext uri="{FF2B5EF4-FFF2-40B4-BE49-F238E27FC236}">
                  <a16:creationId xmlns:a16="http://schemas.microsoft.com/office/drawing/2014/main" id="{2FABEAA2-8918-4FA7-916E-E3A29F618A0E}"/>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7" name="Rechthoek 146">
              <a:extLst>
                <a:ext uri="{FF2B5EF4-FFF2-40B4-BE49-F238E27FC236}">
                  <a16:creationId xmlns:a16="http://schemas.microsoft.com/office/drawing/2014/main" id="{B3DF0649-425E-4ECE-BD85-E0997C2BED8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148" name="Ovaal 147">
              <a:extLst>
                <a:ext uri="{FF2B5EF4-FFF2-40B4-BE49-F238E27FC236}">
                  <a16:creationId xmlns:a16="http://schemas.microsoft.com/office/drawing/2014/main" id="{D0289A59-D30D-4900-81BF-7E3DF01FCB24}"/>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9" name="Rechthoek 148">
              <a:extLst>
                <a:ext uri="{FF2B5EF4-FFF2-40B4-BE49-F238E27FC236}">
                  <a16:creationId xmlns:a16="http://schemas.microsoft.com/office/drawing/2014/main" id="{EA1306DD-0CDD-4457-B375-013F9C05995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50" name="Rechthoek 149">
              <a:extLst>
                <a:ext uri="{FF2B5EF4-FFF2-40B4-BE49-F238E27FC236}">
                  <a16:creationId xmlns:a16="http://schemas.microsoft.com/office/drawing/2014/main" id="{C149FC6F-C9EF-45EB-BE3F-7EB6BEB9727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151" name="Ovaal 150">
              <a:extLst>
                <a:ext uri="{FF2B5EF4-FFF2-40B4-BE49-F238E27FC236}">
                  <a16:creationId xmlns:a16="http://schemas.microsoft.com/office/drawing/2014/main" id="{CD6A8030-BAD4-4F6B-9353-D57171876F05}"/>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2" name="Rechthoek 151">
              <a:extLst>
                <a:ext uri="{FF2B5EF4-FFF2-40B4-BE49-F238E27FC236}">
                  <a16:creationId xmlns:a16="http://schemas.microsoft.com/office/drawing/2014/main" id="{35CA3B65-A3F6-4184-9961-C234040029B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153" name="Ovaal 152">
              <a:extLst>
                <a:ext uri="{FF2B5EF4-FFF2-40B4-BE49-F238E27FC236}">
                  <a16:creationId xmlns:a16="http://schemas.microsoft.com/office/drawing/2014/main" id="{48D3B72E-CA06-4D7D-84BC-BE13A4F7CA31}"/>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4" name="Rechthoek 153">
              <a:extLst>
                <a:ext uri="{FF2B5EF4-FFF2-40B4-BE49-F238E27FC236}">
                  <a16:creationId xmlns:a16="http://schemas.microsoft.com/office/drawing/2014/main" id="{DF8C9368-E83A-4F0D-A3F5-50EF8A591148}"/>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155" name="Ovaal 154">
              <a:extLst>
                <a:ext uri="{FF2B5EF4-FFF2-40B4-BE49-F238E27FC236}">
                  <a16:creationId xmlns:a16="http://schemas.microsoft.com/office/drawing/2014/main" id="{77990471-CCD0-41C1-9DCE-754669B0FF0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56" name="Rechthoek 155">
              <a:extLst>
                <a:ext uri="{FF2B5EF4-FFF2-40B4-BE49-F238E27FC236}">
                  <a16:creationId xmlns:a16="http://schemas.microsoft.com/office/drawing/2014/main" id="{4DF08366-F136-43CB-9DBA-2328FA1F7DB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157" name="Ovaal 156">
              <a:extLst>
                <a:ext uri="{FF2B5EF4-FFF2-40B4-BE49-F238E27FC236}">
                  <a16:creationId xmlns:a16="http://schemas.microsoft.com/office/drawing/2014/main" id="{0C35F430-3448-464F-AB19-7C3BCA0640D6}"/>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58" name="Rechthoek 157">
              <a:extLst>
                <a:ext uri="{FF2B5EF4-FFF2-40B4-BE49-F238E27FC236}">
                  <a16:creationId xmlns:a16="http://schemas.microsoft.com/office/drawing/2014/main" id="{64F146AF-5388-456C-B959-0A9DB6328F16}"/>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59" name="Ovaal 158">
              <a:extLst>
                <a:ext uri="{FF2B5EF4-FFF2-40B4-BE49-F238E27FC236}">
                  <a16:creationId xmlns:a16="http://schemas.microsoft.com/office/drawing/2014/main" id="{E232A872-6B88-4F87-88E3-34C2CB940358}"/>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60" name="Rechthoek 159">
              <a:extLst>
                <a:ext uri="{FF2B5EF4-FFF2-40B4-BE49-F238E27FC236}">
                  <a16:creationId xmlns:a16="http://schemas.microsoft.com/office/drawing/2014/main" id="{066E1595-D812-4B44-9AD2-A7B930C8CCB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61" name="Ovaal 160">
              <a:extLst>
                <a:ext uri="{FF2B5EF4-FFF2-40B4-BE49-F238E27FC236}">
                  <a16:creationId xmlns:a16="http://schemas.microsoft.com/office/drawing/2014/main" id="{86AC7872-126E-45E7-9DAB-D445E57521D2}"/>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62" name="Rechthoek 161">
              <a:extLst>
                <a:ext uri="{FF2B5EF4-FFF2-40B4-BE49-F238E27FC236}">
                  <a16:creationId xmlns:a16="http://schemas.microsoft.com/office/drawing/2014/main" id="{CB75761E-C563-40F1-B5B1-687353E7161E}"/>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63" name="Ovaal 162">
              <a:extLst>
                <a:ext uri="{FF2B5EF4-FFF2-40B4-BE49-F238E27FC236}">
                  <a16:creationId xmlns:a16="http://schemas.microsoft.com/office/drawing/2014/main" id="{BC5C4E4F-C35D-41A5-A4F1-3B9D4B4CC8A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64" name="Rechthoek 163">
              <a:extLst>
                <a:ext uri="{FF2B5EF4-FFF2-40B4-BE49-F238E27FC236}">
                  <a16:creationId xmlns:a16="http://schemas.microsoft.com/office/drawing/2014/main" id="{94EE57EB-097E-4C59-8D34-3E191AFED8B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65" name="VOORBEELD">
              <a:extLst>
                <a:ext uri="{FF2B5EF4-FFF2-40B4-BE49-F238E27FC236}">
                  <a16:creationId xmlns:a16="http://schemas.microsoft.com/office/drawing/2014/main" id="{27E6A63E-C727-49F6-91B3-5C2016288CF7}"/>
                </a:ext>
              </a:extLst>
            </p:cNvPr>
            <p:cNvGrpSpPr/>
            <p:nvPr userDrawn="1"/>
          </p:nvGrpSpPr>
          <p:grpSpPr>
            <a:xfrm>
              <a:off x="-3605171" y="458674"/>
              <a:ext cx="3234311" cy="558875"/>
              <a:chOff x="-3605171" y="458674"/>
              <a:chExt cx="3234311" cy="558875"/>
            </a:xfrm>
          </p:grpSpPr>
          <p:sp>
            <p:nvSpPr>
              <p:cNvPr id="166" name="Rechthoek 165">
                <a:extLst>
                  <a:ext uri="{FF2B5EF4-FFF2-40B4-BE49-F238E27FC236}">
                    <a16:creationId xmlns:a16="http://schemas.microsoft.com/office/drawing/2014/main" id="{560E070F-3955-4DCA-A4CE-F0122B733E4F}"/>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67" name="Rechthoek 166">
                <a:extLst>
                  <a:ext uri="{FF2B5EF4-FFF2-40B4-BE49-F238E27FC236}">
                    <a16:creationId xmlns:a16="http://schemas.microsoft.com/office/drawing/2014/main" id="{8D345CE7-323F-4A84-86C1-FE295FAA7AFF}"/>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68" name="Groep 167">
                <a:extLst>
                  <a:ext uri="{FF2B5EF4-FFF2-40B4-BE49-F238E27FC236}">
                    <a16:creationId xmlns:a16="http://schemas.microsoft.com/office/drawing/2014/main" id="{D8F6B722-BD1B-421E-AAC2-39C4B97FE9CD}"/>
                  </a:ext>
                </a:extLst>
              </p:cNvPr>
              <p:cNvGrpSpPr/>
              <p:nvPr userDrawn="1"/>
            </p:nvGrpSpPr>
            <p:grpSpPr>
              <a:xfrm>
                <a:off x="-3386247" y="830871"/>
                <a:ext cx="139423" cy="109566"/>
                <a:chOff x="-2866744" y="827071"/>
                <a:chExt cx="168701" cy="132575"/>
              </a:xfrm>
            </p:grpSpPr>
            <p:grpSp>
              <p:nvGrpSpPr>
                <p:cNvPr id="199" name="Groep 198">
                  <a:extLst>
                    <a:ext uri="{FF2B5EF4-FFF2-40B4-BE49-F238E27FC236}">
                      <a16:creationId xmlns:a16="http://schemas.microsoft.com/office/drawing/2014/main" id="{1A508771-7D07-4411-9BCE-BBD48EA7D6A0}"/>
                    </a:ext>
                  </a:extLst>
                </p:cNvPr>
                <p:cNvGrpSpPr/>
                <p:nvPr userDrawn="1"/>
              </p:nvGrpSpPr>
              <p:grpSpPr>
                <a:xfrm>
                  <a:off x="-2866744" y="827071"/>
                  <a:ext cx="168701" cy="132575"/>
                  <a:chOff x="-2866744" y="827071"/>
                  <a:chExt cx="168701" cy="132575"/>
                </a:xfrm>
              </p:grpSpPr>
              <p:cxnSp>
                <p:nvCxnSpPr>
                  <p:cNvPr id="201" name="Rechte verbindingslijn 200">
                    <a:extLst>
                      <a:ext uri="{FF2B5EF4-FFF2-40B4-BE49-F238E27FC236}">
                        <a16:creationId xmlns:a16="http://schemas.microsoft.com/office/drawing/2014/main" id="{6A42449C-C2B7-44C4-829B-601655783E1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02" name="Rechte verbindingslijn 201">
                    <a:extLst>
                      <a:ext uri="{FF2B5EF4-FFF2-40B4-BE49-F238E27FC236}">
                        <a16:creationId xmlns:a16="http://schemas.microsoft.com/office/drawing/2014/main" id="{8AD0F300-2EA8-42DB-AB5E-8234BF9F60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03" name="Rechte verbindingslijn 202">
                    <a:extLst>
                      <a:ext uri="{FF2B5EF4-FFF2-40B4-BE49-F238E27FC236}">
                        <a16:creationId xmlns:a16="http://schemas.microsoft.com/office/drawing/2014/main" id="{6D87B870-B326-437B-97C6-A4472E9D2302}"/>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04" name="Rechte verbindingslijn 203">
                    <a:extLst>
                      <a:ext uri="{FF2B5EF4-FFF2-40B4-BE49-F238E27FC236}">
                        <a16:creationId xmlns:a16="http://schemas.microsoft.com/office/drawing/2014/main" id="{0E9D917B-2FAE-4682-AD80-3A9E56800AE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05" name="Rechte verbindingslijn 204">
                    <a:extLst>
                      <a:ext uri="{FF2B5EF4-FFF2-40B4-BE49-F238E27FC236}">
                        <a16:creationId xmlns:a16="http://schemas.microsoft.com/office/drawing/2014/main" id="{D0A4D8AC-2F1D-4D74-B884-F865467187BB}"/>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00" name="Pijl: rechts 199">
                  <a:extLst>
                    <a:ext uri="{FF2B5EF4-FFF2-40B4-BE49-F238E27FC236}">
                      <a16:creationId xmlns:a16="http://schemas.microsoft.com/office/drawing/2014/main" id="{4B8DCDA3-34E0-428D-8952-ECBCED89176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9" name="Groep 168">
                <a:extLst>
                  <a:ext uri="{FF2B5EF4-FFF2-40B4-BE49-F238E27FC236}">
                    <a16:creationId xmlns:a16="http://schemas.microsoft.com/office/drawing/2014/main" id="{8B8641C7-284D-4B99-AD2A-AD20FA41EA1D}"/>
                  </a:ext>
                </a:extLst>
              </p:cNvPr>
              <p:cNvGrpSpPr/>
              <p:nvPr userDrawn="1"/>
            </p:nvGrpSpPr>
            <p:grpSpPr>
              <a:xfrm>
                <a:off x="-3605171" y="830871"/>
                <a:ext cx="139423" cy="109566"/>
                <a:chOff x="-2866744" y="518074"/>
                <a:chExt cx="168701" cy="132575"/>
              </a:xfrm>
            </p:grpSpPr>
            <p:grpSp>
              <p:nvGrpSpPr>
                <p:cNvPr id="192" name="Groep 191">
                  <a:extLst>
                    <a:ext uri="{FF2B5EF4-FFF2-40B4-BE49-F238E27FC236}">
                      <a16:creationId xmlns:a16="http://schemas.microsoft.com/office/drawing/2014/main" id="{EC97B161-2C26-4961-945B-2CFE689CD14B}"/>
                    </a:ext>
                  </a:extLst>
                </p:cNvPr>
                <p:cNvGrpSpPr/>
                <p:nvPr userDrawn="1"/>
              </p:nvGrpSpPr>
              <p:grpSpPr>
                <a:xfrm>
                  <a:off x="-2866744" y="518074"/>
                  <a:ext cx="168701" cy="132575"/>
                  <a:chOff x="-2866744" y="518074"/>
                  <a:chExt cx="168701" cy="132575"/>
                </a:xfrm>
              </p:grpSpPr>
              <p:cxnSp>
                <p:nvCxnSpPr>
                  <p:cNvPr id="194" name="Rechte verbindingslijn 193">
                    <a:extLst>
                      <a:ext uri="{FF2B5EF4-FFF2-40B4-BE49-F238E27FC236}">
                        <a16:creationId xmlns:a16="http://schemas.microsoft.com/office/drawing/2014/main" id="{9CEE9F96-3125-497F-AABE-770ED1C5621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2E2CF3D6-3EEA-4544-A3AC-61F8E0419730}"/>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A27B3A69-A061-45F9-BADA-CDB11BEDC92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28B9804B-C9BF-4096-8701-71D27C7D1CF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B0ACBB2D-ADAB-4E0D-AE99-C84E6103672B}"/>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936EB289-2F09-4E69-A806-6A54DE110A5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70" name="Rechte verbindingslijn 169">
                <a:extLst>
                  <a:ext uri="{FF2B5EF4-FFF2-40B4-BE49-F238E27FC236}">
                    <a16:creationId xmlns:a16="http://schemas.microsoft.com/office/drawing/2014/main" id="{121E329C-F6C6-4B0F-9D38-E83968738E31}"/>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id="{E5D0C3A5-305C-4EE9-AC8F-D1B18BC94A8B}"/>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72" name="Rechthoek 171">
                <a:extLst>
                  <a:ext uri="{FF2B5EF4-FFF2-40B4-BE49-F238E27FC236}">
                    <a16:creationId xmlns:a16="http://schemas.microsoft.com/office/drawing/2014/main" id="{7A3D56BA-9231-43F0-AD77-3EB024B6545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73" name="Rechthoek 172">
                <a:extLst>
                  <a:ext uri="{FF2B5EF4-FFF2-40B4-BE49-F238E27FC236}">
                    <a16:creationId xmlns:a16="http://schemas.microsoft.com/office/drawing/2014/main" id="{73D482EB-EF22-4E46-9CE1-0B4EDC875DC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74" name="Groep 173">
                <a:extLst>
                  <a:ext uri="{FF2B5EF4-FFF2-40B4-BE49-F238E27FC236}">
                    <a16:creationId xmlns:a16="http://schemas.microsoft.com/office/drawing/2014/main" id="{5C081577-DFC1-42B1-BFEF-3702BE6AD1AD}"/>
                  </a:ext>
                </a:extLst>
              </p:cNvPr>
              <p:cNvGrpSpPr/>
              <p:nvPr userDrawn="1"/>
            </p:nvGrpSpPr>
            <p:grpSpPr>
              <a:xfrm>
                <a:off x="-2916763" y="769168"/>
                <a:ext cx="268738" cy="248381"/>
                <a:chOff x="-2916763" y="769168"/>
                <a:chExt cx="268738" cy="248381"/>
              </a:xfrm>
            </p:grpSpPr>
            <p:sp>
              <p:nvSpPr>
                <p:cNvPr id="184" name="Rechthoek 183">
                  <a:extLst>
                    <a:ext uri="{FF2B5EF4-FFF2-40B4-BE49-F238E27FC236}">
                      <a16:creationId xmlns:a16="http://schemas.microsoft.com/office/drawing/2014/main" id="{45759356-CBA9-4188-8D50-873E317291C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85" name="Groep 184">
                  <a:extLst>
                    <a:ext uri="{FF2B5EF4-FFF2-40B4-BE49-F238E27FC236}">
                      <a16:creationId xmlns:a16="http://schemas.microsoft.com/office/drawing/2014/main" id="{680400B8-2E01-41C8-A65B-F34A5158A4A7}"/>
                    </a:ext>
                  </a:extLst>
                </p:cNvPr>
                <p:cNvGrpSpPr/>
                <p:nvPr userDrawn="1"/>
              </p:nvGrpSpPr>
              <p:grpSpPr>
                <a:xfrm>
                  <a:off x="-2866744" y="827071"/>
                  <a:ext cx="168701" cy="132575"/>
                  <a:chOff x="-2866744" y="827071"/>
                  <a:chExt cx="168701" cy="132575"/>
                </a:xfrm>
              </p:grpSpPr>
              <p:cxnSp>
                <p:nvCxnSpPr>
                  <p:cNvPr id="187" name="Rechte verbindingslijn 186">
                    <a:extLst>
                      <a:ext uri="{FF2B5EF4-FFF2-40B4-BE49-F238E27FC236}">
                        <a16:creationId xmlns:a16="http://schemas.microsoft.com/office/drawing/2014/main" id="{347435BE-8215-4E1D-A319-B48B72CABA8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5C05C493-DDEC-4B41-A89C-28D968D8164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CDE34B26-B453-4ED4-B899-1DD2D1BAD40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2B910B62-7890-45EC-A828-CE4E696EA7A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4442CEB2-1D92-4392-BE54-10B1B6C21FE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A0AF04DC-282E-4CAE-9670-3A000426655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75" name="Groep 174">
                <a:extLst>
                  <a:ext uri="{FF2B5EF4-FFF2-40B4-BE49-F238E27FC236}">
                    <a16:creationId xmlns:a16="http://schemas.microsoft.com/office/drawing/2014/main" id="{A852730C-A788-4C13-A3F0-B352969801CF}"/>
                  </a:ext>
                </a:extLst>
              </p:cNvPr>
              <p:cNvGrpSpPr/>
              <p:nvPr userDrawn="1"/>
            </p:nvGrpSpPr>
            <p:grpSpPr>
              <a:xfrm>
                <a:off x="-2916763" y="460171"/>
                <a:ext cx="268738" cy="248381"/>
                <a:chOff x="-2916763" y="460171"/>
                <a:chExt cx="268738" cy="248381"/>
              </a:xfrm>
            </p:grpSpPr>
            <p:sp>
              <p:nvSpPr>
                <p:cNvPr id="176" name="Rechthoek 175">
                  <a:extLst>
                    <a:ext uri="{FF2B5EF4-FFF2-40B4-BE49-F238E27FC236}">
                      <a16:creationId xmlns:a16="http://schemas.microsoft.com/office/drawing/2014/main" id="{3D3C908F-795B-423B-8620-6999E9DBA8B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77" name="Groep 176">
                  <a:extLst>
                    <a:ext uri="{FF2B5EF4-FFF2-40B4-BE49-F238E27FC236}">
                      <a16:creationId xmlns:a16="http://schemas.microsoft.com/office/drawing/2014/main" id="{13FFBB14-EF3F-4CFF-8B66-747FA75C2B35}"/>
                    </a:ext>
                  </a:extLst>
                </p:cNvPr>
                <p:cNvGrpSpPr/>
                <p:nvPr userDrawn="1"/>
              </p:nvGrpSpPr>
              <p:grpSpPr>
                <a:xfrm>
                  <a:off x="-2866744" y="518074"/>
                  <a:ext cx="168701" cy="132575"/>
                  <a:chOff x="-2866744" y="518074"/>
                  <a:chExt cx="168701" cy="132575"/>
                </a:xfrm>
              </p:grpSpPr>
              <p:cxnSp>
                <p:nvCxnSpPr>
                  <p:cNvPr id="179" name="Rechte verbindingslijn 178">
                    <a:extLst>
                      <a:ext uri="{FF2B5EF4-FFF2-40B4-BE49-F238E27FC236}">
                        <a16:creationId xmlns:a16="http://schemas.microsoft.com/office/drawing/2014/main" id="{51F7F91C-86ED-4807-8A6E-E62338C6C40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0" name="Rechte verbindingslijn 179">
                    <a:extLst>
                      <a:ext uri="{FF2B5EF4-FFF2-40B4-BE49-F238E27FC236}">
                        <a16:creationId xmlns:a16="http://schemas.microsoft.com/office/drawing/2014/main" id="{8AEC0C1B-175C-4321-B9BC-67D4AB196F1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A4FC9718-FE4B-42B6-ACF4-4BF92548085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089E8640-3160-4589-9EDF-042055F04D8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53A9C954-2EC1-4C72-BB3C-5EA5444BD6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8" name="Pijl: rechts 177">
                  <a:extLst>
                    <a:ext uri="{FF2B5EF4-FFF2-40B4-BE49-F238E27FC236}">
                      <a16:creationId xmlns:a16="http://schemas.microsoft.com/office/drawing/2014/main" id="{E32242DD-1E6B-4DF5-B247-FDE0F2483DB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grpSp>
        <p:nvGrpSpPr>
          <p:cNvPr id="206" name="Groep 205">
            <a:extLst>
              <a:ext uri="{FF2B5EF4-FFF2-40B4-BE49-F238E27FC236}">
                <a16:creationId xmlns:a16="http://schemas.microsoft.com/office/drawing/2014/main" id="{CBC4571D-C10D-48DB-A015-0FD15573D7F0}"/>
              </a:ext>
            </a:extLst>
          </p:cNvPr>
          <p:cNvGrpSpPr/>
          <p:nvPr userDrawn="1"/>
        </p:nvGrpSpPr>
        <p:grpSpPr>
          <a:xfrm>
            <a:off x="12377867" y="0"/>
            <a:ext cx="3593091" cy="6025208"/>
            <a:chOff x="12377867" y="0"/>
            <a:chExt cx="3593091" cy="6025208"/>
          </a:xfrm>
        </p:grpSpPr>
        <p:sp>
          <p:nvSpPr>
            <p:cNvPr id="207" name="Rechthoek 206">
              <a:extLst>
                <a:ext uri="{FF2B5EF4-FFF2-40B4-BE49-F238E27FC236}">
                  <a16:creationId xmlns:a16="http://schemas.microsoft.com/office/drawing/2014/main" id="{38469D7C-BB18-46CB-B7BB-B3896301A1EF}"/>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08" name="Ovaal 207">
              <a:extLst>
                <a:ext uri="{FF2B5EF4-FFF2-40B4-BE49-F238E27FC236}">
                  <a16:creationId xmlns:a16="http://schemas.microsoft.com/office/drawing/2014/main" id="{73760270-5E44-49D7-9625-35D2A7388A2D}"/>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09" name="Rechthoek 208">
              <a:extLst>
                <a:ext uri="{FF2B5EF4-FFF2-40B4-BE49-F238E27FC236}">
                  <a16:creationId xmlns:a16="http://schemas.microsoft.com/office/drawing/2014/main" id="{BC2446EA-3DAF-4772-95F3-F2D7EA050D77}"/>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10" name="Groep 209">
              <a:extLst>
                <a:ext uri="{FF2B5EF4-FFF2-40B4-BE49-F238E27FC236}">
                  <a16:creationId xmlns:a16="http://schemas.microsoft.com/office/drawing/2014/main" id="{14AEE625-C382-460E-B064-3216EEF357E6}"/>
                </a:ext>
              </a:extLst>
            </p:cNvPr>
            <p:cNvGrpSpPr/>
            <p:nvPr userDrawn="1"/>
          </p:nvGrpSpPr>
          <p:grpSpPr>
            <a:xfrm>
              <a:off x="12847853" y="1231351"/>
              <a:ext cx="294789" cy="318834"/>
              <a:chOff x="14466489" y="1001522"/>
              <a:chExt cx="290627" cy="314333"/>
            </a:xfrm>
          </p:grpSpPr>
          <p:sp>
            <p:nvSpPr>
              <p:cNvPr id="261" name="Rechthoek 260">
                <a:extLst>
                  <a:ext uri="{FF2B5EF4-FFF2-40B4-BE49-F238E27FC236}">
                    <a16:creationId xmlns:a16="http://schemas.microsoft.com/office/drawing/2014/main" id="{55B7ACEF-DDF8-49EF-BA29-DD528F3D9D2C}"/>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62" name="Ovaal 261">
                <a:extLst>
                  <a:ext uri="{FF2B5EF4-FFF2-40B4-BE49-F238E27FC236}">
                    <a16:creationId xmlns:a16="http://schemas.microsoft.com/office/drawing/2014/main" id="{D4E77558-91DA-4971-B935-371A5C364F0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63" name="Vrije vorm: vorm 262">
                <a:extLst>
                  <a:ext uri="{FF2B5EF4-FFF2-40B4-BE49-F238E27FC236}">
                    <a16:creationId xmlns:a16="http://schemas.microsoft.com/office/drawing/2014/main" id="{A80F5D2A-0201-4489-A44F-F68410BDAE0F}"/>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64" name="Rechthoek: afgeronde hoeken 263">
                <a:extLst>
                  <a:ext uri="{FF2B5EF4-FFF2-40B4-BE49-F238E27FC236}">
                    <a16:creationId xmlns:a16="http://schemas.microsoft.com/office/drawing/2014/main" id="{657801D3-C772-4DB6-A048-DF75957A84C0}"/>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65" name="Rechte verbindingslijn 264">
                <a:extLst>
                  <a:ext uri="{FF2B5EF4-FFF2-40B4-BE49-F238E27FC236}">
                    <a16:creationId xmlns:a16="http://schemas.microsoft.com/office/drawing/2014/main" id="{D3C1E28B-A3DC-4EA6-90C2-3DBAF25CBDB1}"/>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66" name="Rechte verbindingslijn 265">
                <a:extLst>
                  <a:ext uri="{FF2B5EF4-FFF2-40B4-BE49-F238E27FC236}">
                    <a16:creationId xmlns:a16="http://schemas.microsoft.com/office/drawing/2014/main" id="{834F114A-A4E7-4337-9664-D5BB693F789E}"/>
                  </a:ext>
                </a:extLst>
              </p:cNvPr>
              <p:cNvCxnSpPr>
                <a:cxnSpLocks/>
                <a:stCxn id="26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1" name="Ovaal 210">
              <a:extLst>
                <a:ext uri="{FF2B5EF4-FFF2-40B4-BE49-F238E27FC236}">
                  <a16:creationId xmlns:a16="http://schemas.microsoft.com/office/drawing/2014/main" id="{2D7556A3-3AB6-4164-A6C7-EF28879F2211}"/>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2" name="Rechthoek 211">
              <a:extLst>
                <a:ext uri="{FF2B5EF4-FFF2-40B4-BE49-F238E27FC236}">
                  <a16:creationId xmlns:a16="http://schemas.microsoft.com/office/drawing/2014/main" id="{2AB848D7-A50D-4306-8C49-CC34ED93B69A}"/>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13" name="Groep 212">
              <a:extLst>
                <a:ext uri="{FF2B5EF4-FFF2-40B4-BE49-F238E27FC236}">
                  <a16:creationId xmlns:a16="http://schemas.microsoft.com/office/drawing/2014/main" id="{54ABCB5A-E0E9-4C1D-9EDE-84D59A415E55}"/>
                </a:ext>
              </a:extLst>
            </p:cNvPr>
            <p:cNvGrpSpPr/>
            <p:nvPr userDrawn="1"/>
          </p:nvGrpSpPr>
          <p:grpSpPr>
            <a:xfrm>
              <a:off x="12852713" y="2164285"/>
              <a:ext cx="825500" cy="209550"/>
              <a:chOff x="13504624" y="2482850"/>
              <a:chExt cx="825500" cy="209550"/>
            </a:xfrm>
          </p:grpSpPr>
          <p:sp>
            <p:nvSpPr>
              <p:cNvPr id="258" name="Rechthoek 257">
                <a:extLst>
                  <a:ext uri="{FF2B5EF4-FFF2-40B4-BE49-F238E27FC236}">
                    <a16:creationId xmlns:a16="http://schemas.microsoft.com/office/drawing/2014/main" id="{D8A46F7B-06DF-4773-965F-9C3A66C6CB2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259" name="Rechte verbindingslijn 258">
                <a:extLst>
                  <a:ext uri="{FF2B5EF4-FFF2-40B4-BE49-F238E27FC236}">
                    <a16:creationId xmlns:a16="http://schemas.microsoft.com/office/drawing/2014/main" id="{CC0E3CA8-5B3A-431D-B872-50D61E55B1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60" name="Gelijkbenige driehoek 259">
                <a:extLst>
                  <a:ext uri="{FF2B5EF4-FFF2-40B4-BE49-F238E27FC236}">
                    <a16:creationId xmlns:a16="http://schemas.microsoft.com/office/drawing/2014/main" id="{00C6100B-815E-478A-87C1-D7C47716E200}"/>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214" name="Ovaal 213">
              <a:extLst>
                <a:ext uri="{FF2B5EF4-FFF2-40B4-BE49-F238E27FC236}">
                  <a16:creationId xmlns:a16="http://schemas.microsoft.com/office/drawing/2014/main" id="{900ED88E-EAC8-4745-A2A8-5C9449AF8A6B}"/>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15" name="Rechthoek 214">
              <a:extLst>
                <a:ext uri="{FF2B5EF4-FFF2-40B4-BE49-F238E27FC236}">
                  <a16:creationId xmlns:a16="http://schemas.microsoft.com/office/drawing/2014/main" id="{77DB4144-BC1A-44F9-90C2-F4B25F573224}"/>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216" name="Ovaal 215">
              <a:extLst>
                <a:ext uri="{FF2B5EF4-FFF2-40B4-BE49-F238E27FC236}">
                  <a16:creationId xmlns:a16="http://schemas.microsoft.com/office/drawing/2014/main" id="{DDD5F81E-A42B-4FC2-8A17-DCD02AAC50EE}"/>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17" name="Rechthoek 216">
              <a:extLst>
                <a:ext uri="{FF2B5EF4-FFF2-40B4-BE49-F238E27FC236}">
                  <a16:creationId xmlns:a16="http://schemas.microsoft.com/office/drawing/2014/main" id="{6D0DD906-5132-4588-97E6-43925DA6BBCB}"/>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218" name="Groep 217">
              <a:extLst>
                <a:ext uri="{FF2B5EF4-FFF2-40B4-BE49-F238E27FC236}">
                  <a16:creationId xmlns:a16="http://schemas.microsoft.com/office/drawing/2014/main" id="{B0DAE8B9-7350-4D29-BBAB-A0A3DC97E062}"/>
                </a:ext>
              </a:extLst>
            </p:cNvPr>
            <p:cNvGrpSpPr/>
            <p:nvPr userDrawn="1"/>
          </p:nvGrpSpPr>
          <p:grpSpPr>
            <a:xfrm>
              <a:off x="12755738" y="5236167"/>
              <a:ext cx="622283" cy="612919"/>
              <a:chOff x="12617641" y="3403239"/>
              <a:chExt cx="752963" cy="741634"/>
            </a:xfrm>
          </p:grpSpPr>
          <p:grpSp>
            <p:nvGrpSpPr>
              <p:cNvPr id="242" name="Groep 241">
                <a:extLst>
                  <a:ext uri="{FF2B5EF4-FFF2-40B4-BE49-F238E27FC236}">
                    <a16:creationId xmlns:a16="http://schemas.microsoft.com/office/drawing/2014/main" id="{0E684804-7FEC-4A48-9E4C-98FF8FF7B63A}"/>
                  </a:ext>
                </a:extLst>
              </p:cNvPr>
              <p:cNvGrpSpPr/>
              <p:nvPr userDrawn="1"/>
            </p:nvGrpSpPr>
            <p:grpSpPr>
              <a:xfrm>
                <a:off x="12771550" y="3403239"/>
                <a:ext cx="467156" cy="448491"/>
                <a:chOff x="12782177" y="3403239"/>
                <a:chExt cx="467156" cy="448491"/>
              </a:xfrm>
            </p:grpSpPr>
            <p:grpSp>
              <p:nvGrpSpPr>
                <p:cNvPr id="245" name="Groep 244">
                  <a:extLst>
                    <a:ext uri="{FF2B5EF4-FFF2-40B4-BE49-F238E27FC236}">
                      <a16:creationId xmlns:a16="http://schemas.microsoft.com/office/drawing/2014/main" id="{FE996ACA-52B5-4C40-8EC9-DFB77A249158}"/>
                    </a:ext>
                  </a:extLst>
                </p:cNvPr>
                <p:cNvGrpSpPr/>
                <p:nvPr userDrawn="1"/>
              </p:nvGrpSpPr>
              <p:grpSpPr>
                <a:xfrm>
                  <a:off x="12782177" y="3403239"/>
                  <a:ext cx="412972" cy="396132"/>
                  <a:chOff x="13554906" y="3320109"/>
                  <a:chExt cx="443912" cy="425811"/>
                </a:xfrm>
              </p:grpSpPr>
              <p:grpSp>
                <p:nvGrpSpPr>
                  <p:cNvPr id="252" name="Groep 251">
                    <a:extLst>
                      <a:ext uri="{FF2B5EF4-FFF2-40B4-BE49-F238E27FC236}">
                        <a16:creationId xmlns:a16="http://schemas.microsoft.com/office/drawing/2014/main" id="{BFC99395-C669-4B27-827D-ED3028935F5B}"/>
                      </a:ext>
                    </a:extLst>
                  </p:cNvPr>
                  <p:cNvGrpSpPr/>
                  <p:nvPr userDrawn="1"/>
                </p:nvGrpSpPr>
                <p:grpSpPr>
                  <a:xfrm>
                    <a:off x="13554906" y="3320109"/>
                    <a:ext cx="443912" cy="425811"/>
                    <a:chOff x="12909684" y="1276143"/>
                    <a:chExt cx="443912" cy="425811"/>
                  </a:xfrm>
                </p:grpSpPr>
                <p:sp>
                  <p:nvSpPr>
                    <p:cNvPr id="255" name="Rechthoek 254">
                      <a:extLst>
                        <a:ext uri="{FF2B5EF4-FFF2-40B4-BE49-F238E27FC236}">
                          <a16:creationId xmlns:a16="http://schemas.microsoft.com/office/drawing/2014/main" id="{CD913F4D-CE64-4E9A-99C8-E9F82F2FAA6D}"/>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56" name="Rechthoek 255">
                      <a:extLst>
                        <a:ext uri="{FF2B5EF4-FFF2-40B4-BE49-F238E27FC236}">
                          <a16:creationId xmlns:a16="http://schemas.microsoft.com/office/drawing/2014/main" id="{CF54DB0E-736D-41AE-BCEB-C43BC60E833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57" name="Ovaal 256">
                      <a:extLst>
                        <a:ext uri="{FF2B5EF4-FFF2-40B4-BE49-F238E27FC236}">
                          <a16:creationId xmlns:a16="http://schemas.microsoft.com/office/drawing/2014/main" id="{EAEBC478-A023-4C1C-B716-88E9C03D1C3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253" name="Afbeelding 252">
                    <a:extLst>
                      <a:ext uri="{FF2B5EF4-FFF2-40B4-BE49-F238E27FC236}">
                        <a16:creationId xmlns:a16="http://schemas.microsoft.com/office/drawing/2014/main" id="{DEA7CF74-407E-46CA-92D8-AF6D3ACE2BF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254" name="Afbeelding 253">
                    <a:extLst>
                      <a:ext uri="{FF2B5EF4-FFF2-40B4-BE49-F238E27FC236}">
                        <a16:creationId xmlns:a16="http://schemas.microsoft.com/office/drawing/2014/main" id="{7A987BAD-A31E-4DB7-A744-1C00DF82E442}"/>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246" name="Groep 245">
                  <a:extLst>
                    <a:ext uri="{FF2B5EF4-FFF2-40B4-BE49-F238E27FC236}">
                      <a16:creationId xmlns:a16="http://schemas.microsoft.com/office/drawing/2014/main" id="{375CBC5B-93F3-4D51-B2B2-86D92FDDF284}"/>
                    </a:ext>
                  </a:extLst>
                </p:cNvPr>
                <p:cNvGrpSpPr/>
                <p:nvPr userDrawn="1"/>
              </p:nvGrpSpPr>
              <p:grpSpPr>
                <a:xfrm>
                  <a:off x="13103513" y="3705268"/>
                  <a:ext cx="145820" cy="146462"/>
                  <a:chOff x="13096169" y="3602278"/>
                  <a:chExt cx="145820" cy="146462"/>
                </a:xfrm>
              </p:grpSpPr>
              <p:sp>
                <p:nvSpPr>
                  <p:cNvPr id="250" name="Rechthoek 249">
                    <a:extLst>
                      <a:ext uri="{FF2B5EF4-FFF2-40B4-BE49-F238E27FC236}">
                        <a16:creationId xmlns:a16="http://schemas.microsoft.com/office/drawing/2014/main" id="{75320522-B907-48E9-8C92-98C4909D35A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51" name="Rechthoek 250">
                    <a:extLst>
                      <a:ext uri="{FF2B5EF4-FFF2-40B4-BE49-F238E27FC236}">
                        <a16:creationId xmlns:a16="http://schemas.microsoft.com/office/drawing/2014/main" id="{792C76CE-4A30-4D84-ACE7-524AB6DAEDE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247" name="Groep 246">
                  <a:extLst>
                    <a:ext uri="{FF2B5EF4-FFF2-40B4-BE49-F238E27FC236}">
                      <a16:creationId xmlns:a16="http://schemas.microsoft.com/office/drawing/2014/main" id="{EA2163C7-D151-441D-B919-8F3F44280173}"/>
                    </a:ext>
                  </a:extLst>
                </p:cNvPr>
                <p:cNvGrpSpPr/>
                <p:nvPr userDrawn="1"/>
              </p:nvGrpSpPr>
              <p:grpSpPr>
                <a:xfrm rot="10800000">
                  <a:off x="13061402" y="3665637"/>
                  <a:ext cx="145820" cy="146462"/>
                  <a:chOff x="13096169" y="3602278"/>
                  <a:chExt cx="145820" cy="146462"/>
                </a:xfrm>
              </p:grpSpPr>
              <p:sp>
                <p:nvSpPr>
                  <p:cNvPr id="248" name="Rechthoek 247">
                    <a:extLst>
                      <a:ext uri="{FF2B5EF4-FFF2-40B4-BE49-F238E27FC236}">
                        <a16:creationId xmlns:a16="http://schemas.microsoft.com/office/drawing/2014/main" id="{87BCE913-69A2-494F-84F8-98F24F7174D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49" name="Rechthoek 248">
                    <a:extLst>
                      <a:ext uri="{FF2B5EF4-FFF2-40B4-BE49-F238E27FC236}">
                        <a16:creationId xmlns:a16="http://schemas.microsoft.com/office/drawing/2014/main" id="{AFD2AD4E-261B-45C1-B171-6B38E9B951A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243" name="Rechthoek 242">
                <a:extLst>
                  <a:ext uri="{FF2B5EF4-FFF2-40B4-BE49-F238E27FC236}">
                    <a16:creationId xmlns:a16="http://schemas.microsoft.com/office/drawing/2014/main" id="{DFE1B221-84A2-4D04-A04C-312B3F997F2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244" name="Gelijkbenige driehoek 243">
                <a:extLst>
                  <a:ext uri="{FF2B5EF4-FFF2-40B4-BE49-F238E27FC236}">
                    <a16:creationId xmlns:a16="http://schemas.microsoft.com/office/drawing/2014/main" id="{038718AF-7094-4CFE-AA93-53EA81EBC69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19" name="Rechthoek 218">
              <a:extLst>
                <a:ext uri="{FF2B5EF4-FFF2-40B4-BE49-F238E27FC236}">
                  <a16:creationId xmlns:a16="http://schemas.microsoft.com/office/drawing/2014/main" id="{4AB2DE0C-40C6-4517-BAF1-049F72586C8C}"/>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220" name="Groep 219">
              <a:extLst>
                <a:ext uri="{FF2B5EF4-FFF2-40B4-BE49-F238E27FC236}">
                  <a16:creationId xmlns:a16="http://schemas.microsoft.com/office/drawing/2014/main" id="{4C3948F8-70A4-42CF-8FF4-9B1ABC4CAE38}"/>
                </a:ext>
              </a:extLst>
            </p:cNvPr>
            <p:cNvGrpSpPr/>
            <p:nvPr userDrawn="1"/>
          </p:nvGrpSpPr>
          <p:grpSpPr>
            <a:xfrm>
              <a:off x="13678213" y="3399207"/>
              <a:ext cx="1222990" cy="563933"/>
              <a:chOff x="-2485819" y="3399207"/>
              <a:chExt cx="1222990" cy="563933"/>
            </a:xfrm>
          </p:grpSpPr>
          <p:sp>
            <p:nvSpPr>
              <p:cNvPr id="221" name="Rechthoek 220">
                <a:extLst>
                  <a:ext uri="{FF2B5EF4-FFF2-40B4-BE49-F238E27FC236}">
                    <a16:creationId xmlns:a16="http://schemas.microsoft.com/office/drawing/2014/main" id="{9C30EB24-1A3A-46FB-8E4B-5917555AF6E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D33B9AEA-4EC6-48B4-8858-0DAF4C538B27}"/>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223" name="Groep 222">
                <a:extLst>
                  <a:ext uri="{FF2B5EF4-FFF2-40B4-BE49-F238E27FC236}">
                    <a16:creationId xmlns:a16="http://schemas.microsoft.com/office/drawing/2014/main" id="{C0883F05-7A96-4A47-84D8-067191E2200E}"/>
                  </a:ext>
                </a:extLst>
              </p:cNvPr>
              <p:cNvGrpSpPr/>
              <p:nvPr userDrawn="1"/>
            </p:nvGrpSpPr>
            <p:grpSpPr>
              <a:xfrm>
                <a:off x="-2403869" y="3460544"/>
                <a:ext cx="155951" cy="131922"/>
                <a:chOff x="12968836" y="3354170"/>
                <a:chExt cx="404806" cy="342433"/>
              </a:xfrm>
            </p:grpSpPr>
            <p:sp>
              <p:nvSpPr>
                <p:cNvPr id="236" name="Rechthoek: afgeronde hoeken 235">
                  <a:extLst>
                    <a:ext uri="{FF2B5EF4-FFF2-40B4-BE49-F238E27FC236}">
                      <a16:creationId xmlns:a16="http://schemas.microsoft.com/office/drawing/2014/main" id="{F66ADD58-C18B-46E8-8C14-B3189555EAB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37" name="Rechthoek 236">
                  <a:extLst>
                    <a:ext uri="{FF2B5EF4-FFF2-40B4-BE49-F238E27FC236}">
                      <a16:creationId xmlns:a16="http://schemas.microsoft.com/office/drawing/2014/main" id="{170C0236-28EE-4C7D-B8A6-7CC2F91BA77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8" name="Rechthoek 237">
                  <a:extLst>
                    <a:ext uri="{FF2B5EF4-FFF2-40B4-BE49-F238E27FC236}">
                      <a16:creationId xmlns:a16="http://schemas.microsoft.com/office/drawing/2014/main" id="{3EF893F7-B3A7-468C-B021-CD083EC1FCC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9" name="Rechthoek 238">
                  <a:extLst>
                    <a:ext uri="{FF2B5EF4-FFF2-40B4-BE49-F238E27FC236}">
                      <a16:creationId xmlns:a16="http://schemas.microsoft.com/office/drawing/2014/main" id="{BBF0FC6E-C350-45B6-9E01-7A82A7D94F9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40" name="Rechthoek 239">
                  <a:extLst>
                    <a:ext uri="{FF2B5EF4-FFF2-40B4-BE49-F238E27FC236}">
                      <a16:creationId xmlns:a16="http://schemas.microsoft.com/office/drawing/2014/main" id="{A0EB22CE-30C0-4386-9D2D-1963A22B30C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41" name="Rechthoek 240">
                  <a:extLst>
                    <a:ext uri="{FF2B5EF4-FFF2-40B4-BE49-F238E27FC236}">
                      <a16:creationId xmlns:a16="http://schemas.microsoft.com/office/drawing/2014/main" id="{ACDFB3D1-5A49-4795-9E14-55D29EB8CC6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224" name="Groep 223">
                <a:extLst>
                  <a:ext uri="{FF2B5EF4-FFF2-40B4-BE49-F238E27FC236}">
                    <a16:creationId xmlns:a16="http://schemas.microsoft.com/office/drawing/2014/main" id="{B1D0CB74-0AD9-4E6D-8ECC-55F943EC2513}"/>
                  </a:ext>
                </a:extLst>
              </p:cNvPr>
              <p:cNvGrpSpPr/>
              <p:nvPr userDrawn="1"/>
            </p:nvGrpSpPr>
            <p:grpSpPr>
              <a:xfrm>
                <a:off x="-2423424" y="3690208"/>
                <a:ext cx="166739" cy="218963"/>
                <a:chOff x="12940828" y="3950597"/>
                <a:chExt cx="432813" cy="568367"/>
              </a:xfrm>
            </p:grpSpPr>
            <p:grpSp>
              <p:nvGrpSpPr>
                <p:cNvPr id="228" name="Groep 227">
                  <a:extLst>
                    <a:ext uri="{FF2B5EF4-FFF2-40B4-BE49-F238E27FC236}">
                      <a16:creationId xmlns:a16="http://schemas.microsoft.com/office/drawing/2014/main" id="{75388776-6B92-4095-AD6D-04D8CF1F03DF}"/>
                    </a:ext>
                  </a:extLst>
                </p:cNvPr>
                <p:cNvGrpSpPr/>
                <p:nvPr userDrawn="1"/>
              </p:nvGrpSpPr>
              <p:grpSpPr>
                <a:xfrm>
                  <a:off x="13000382" y="4006891"/>
                  <a:ext cx="373259" cy="315747"/>
                  <a:chOff x="12968836" y="3354170"/>
                  <a:chExt cx="404806" cy="342433"/>
                </a:xfrm>
              </p:grpSpPr>
              <p:sp>
                <p:nvSpPr>
                  <p:cNvPr id="230" name="Rechthoek: afgeronde hoeken 229">
                    <a:extLst>
                      <a:ext uri="{FF2B5EF4-FFF2-40B4-BE49-F238E27FC236}">
                        <a16:creationId xmlns:a16="http://schemas.microsoft.com/office/drawing/2014/main" id="{D222A823-67EF-45E5-920E-06FA784C909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31" name="Rechthoek 230">
                    <a:extLst>
                      <a:ext uri="{FF2B5EF4-FFF2-40B4-BE49-F238E27FC236}">
                        <a16:creationId xmlns:a16="http://schemas.microsoft.com/office/drawing/2014/main" id="{5C990AE0-48C9-4D2F-B8CC-EF29B98C688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2" name="Rechthoek 231">
                    <a:extLst>
                      <a:ext uri="{FF2B5EF4-FFF2-40B4-BE49-F238E27FC236}">
                        <a16:creationId xmlns:a16="http://schemas.microsoft.com/office/drawing/2014/main" id="{DA6369D4-89C0-4CA5-AC81-D5ADEFF4BC3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3" name="Rechthoek 232">
                    <a:extLst>
                      <a:ext uri="{FF2B5EF4-FFF2-40B4-BE49-F238E27FC236}">
                        <a16:creationId xmlns:a16="http://schemas.microsoft.com/office/drawing/2014/main" id="{3163BF31-17CE-4ABE-A525-6BBD7091A508}"/>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4" name="Rechthoek 233">
                    <a:extLst>
                      <a:ext uri="{FF2B5EF4-FFF2-40B4-BE49-F238E27FC236}">
                        <a16:creationId xmlns:a16="http://schemas.microsoft.com/office/drawing/2014/main" id="{9B3DD5D3-C8FF-4024-9FD3-D90F34E433D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235" name="Rechthoek 234">
                    <a:extLst>
                      <a:ext uri="{FF2B5EF4-FFF2-40B4-BE49-F238E27FC236}">
                        <a16:creationId xmlns:a16="http://schemas.microsoft.com/office/drawing/2014/main" id="{50C29472-1D00-4D22-ACBD-E72F7F7EF51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229" name="Boog 228">
                  <a:extLst>
                    <a:ext uri="{FF2B5EF4-FFF2-40B4-BE49-F238E27FC236}">
                      <a16:creationId xmlns:a16="http://schemas.microsoft.com/office/drawing/2014/main" id="{51DA14C2-4D78-4745-9147-079FB57087D5}"/>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225" name="Tekstvak 224">
                <a:extLst>
                  <a:ext uri="{FF2B5EF4-FFF2-40B4-BE49-F238E27FC236}">
                    <a16:creationId xmlns:a16="http://schemas.microsoft.com/office/drawing/2014/main" id="{FA5458DE-70DC-4DEA-8003-D8F4B322BAA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226" name="Tekstvak 225">
                <a:extLst>
                  <a:ext uri="{FF2B5EF4-FFF2-40B4-BE49-F238E27FC236}">
                    <a16:creationId xmlns:a16="http://schemas.microsoft.com/office/drawing/2014/main" id="{580E8BD1-FF1E-489D-B713-335F5BECCFF7}"/>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227" name="Vrije vorm: vorm 226">
                <a:extLst>
                  <a:ext uri="{FF2B5EF4-FFF2-40B4-BE49-F238E27FC236}">
                    <a16:creationId xmlns:a16="http://schemas.microsoft.com/office/drawing/2014/main" id="{10335E95-68EA-4E8A-99FD-7AD1840E97A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54132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 en Quote">
    <p:spTree>
      <p:nvGrpSpPr>
        <p:cNvPr id="1" name=""/>
        <p:cNvGrpSpPr/>
        <p:nvPr/>
      </p:nvGrpSpPr>
      <p:grpSpPr>
        <a:xfrm>
          <a:off x="0" y="0"/>
          <a:ext cx="0" cy="0"/>
          <a:chOff x="0" y="0"/>
          <a:chExt cx="0" cy="0"/>
        </a:xfrm>
      </p:grpSpPr>
      <p:sp>
        <p:nvSpPr>
          <p:cNvPr id="2" name="Pijl: vijfhoek 1">
            <a:extLst>
              <a:ext uri="{FF2B5EF4-FFF2-40B4-BE49-F238E27FC236}">
                <a16:creationId xmlns:a16="http://schemas.microsoft.com/office/drawing/2014/main" id="{E8692EF5-0C21-4EC4-8CBC-AB5FB95BD0AF}"/>
              </a:ext>
            </a:extLst>
          </p:cNvPr>
          <p:cNvSpPr/>
          <p:nvPr userDrawn="1"/>
        </p:nvSpPr>
        <p:spPr>
          <a:xfrm flipH="1">
            <a:off x="6338701" y="517525"/>
            <a:ext cx="5332598" cy="5841704"/>
          </a:xfrm>
          <a:prstGeom prst="homePlate">
            <a:avLst>
              <a:gd name="adj" fmla="val 5941"/>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verticale tekst 2"/>
          <p:cNvSpPr>
            <a:spLocks noGrp="1"/>
          </p:cNvSpPr>
          <p:nvPr>
            <p:ph type="body" orient="vert" idx="1" hasCustomPrompt="1"/>
          </p:nvPr>
        </p:nvSpPr>
        <p:spPr>
          <a:xfrm>
            <a:off x="515941" y="1347275"/>
            <a:ext cx="5209830"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736307D8-D2AE-444C-A09E-0A3B69F7CA75}"/>
              </a:ext>
            </a:extLst>
          </p:cNvPr>
          <p:cNvSpPr>
            <a:spLocks noGrp="1"/>
          </p:cNvSpPr>
          <p:nvPr>
            <p:ph type="title" hasCustomPrompt="1"/>
          </p:nvPr>
        </p:nvSpPr>
        <p:spPr>
          <a:xfrm>
            <a:off x="515941" y="517525"/>
            <a:ext cx="5209830" cy="488950"/>
          </a:xfrm>
        </p:spPr>
        <p:txBody>
          <a:bodyPr/>
          <a:lstStyle>
            <a:lvl1pPr>
              <a:defRPr/>
            </a:lvl1pPr>
          </a:lstStyle>
          <a:p>
            <a:r>
              <a:rPr lang="nl-NL" dirty="0"/>
              <a:t>Plaats hier je titel</a:t>
            </a:r>
          </a:p>
        </p:txBody>
      </p:sp>
      <p:grpSp>
        <p:nvGrpSpPr>
          <p:cNvPr id="131" name="INSTRUCTIE">
            <a:extLst>
              <a:ext uri="{FF2B5EF4-FFF2-40B4-BE49-F238E27FC236}">
                <a16:creationId xmlns:a16="http://schemas.microsoft.com/office/drawing/2014/main" id="{F421BD38-9792-4934-87E2-85F96AF2697D}"/>
              </a:ext>
            </a:extLst>
          </p:cNvPr>
          <p:cNvGrpSpPr/>
          <p:nvPr userDrawn="1"/>
        </p:nvGrpSpPr>
        <p:grpSpPr>
          <a:xfrm>
            <a:off x="8469641" y="7033211"/>
            <a:ext cx="3727954" cy="1728407"/>
            <a:chOff x="5846" y="7033211"/>
            <a:chExt cx="3727954" cy="1728407"/>
          </a:xfrm>
        </p:grpSpPr>
        <p:sp>
          <p:nvSpPr>
            <p:cNvPr id="132" name="Rechthoek 131">
              <a:extLst>
                <a:ext uri="{FF2B5EF4-FFF2-40B4-BE49-F238E27FC236}">
                  <a16:creationId xmlns:a16="http://schemas.microsoft.com/office/drawing/2014/main" id="{81D2C78C-67AB-44F4-AFF3-D741D5D66637}"/>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33" name="Ovaal 132">
              <a:extLst>
                <a:ext uri="{FF2B5EF4-FFF2-40B4-BE49-F238E27FC236}">
                  <a16:creationId xmlns:a16="http://schemas.microsoft.com/office/drawing/2014/main" id="{3D642D81-F6C2-4648-964B-176D872C0593}"/>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E2CD0F1-01E9-481D-8948-1DF390737DCF}"/>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5" name="Ovaal 134">
              <a:extLst>
                <a:ext uri="{FF2B5EF4-FFF2-40B4-BE49-F238E27FC236}">
                  <a16:creationId xmlns:a16="http://schemas.microsoft.com/office/drawing/2014/main" id="{292ABC75-1527-45F0-BFD6-3B7D4F06566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6" name="Rechthoek 135">
              <a:extLst>
                <a:ext uri="{FF2B5EF4-FFF2-40B4-BE49-F238E27FC236}">
                  <a16:creationId xmlns:a16="http://schemas.microsoft.com/office/drawing/2014/main" id="{7EDA069B-C8D1-4EA9-9AD7-ED2A4E01F5B7}"/>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37" name="Groep 136">
              <a:extLst>
                <a:ext uri="{FF2B5EF4-FFF2-40B4-BE49-F238E27FC236}">
                  <a16:creationId xmlns:a16="http://schemas.microsoft.com/office/drawing/2014/main" id="{650FA157-CA69-472D-8BB1-900177C2A7AE}"/>
                </a:ext>
              </a:extLst>
            </p:cNvPr>
            <p:cNvGrpSpPr/>
            <p:nvPr userDrawn="1"/>
          </p:nvGrpSpPr>
          <p:grpSpPr>
            <a:xfrm>
              <a:off x="2939884" y="7739834"/>
              <a:ext cx="681133" cy="750023"/>
              <a:chOff x="-910573" y="4987990"/>
              <a:chExt cx="681133" cy="750023"/>
            </a:xfrm>
          </p:grpSpPr>
          <p:grpSp>
            <p:nvGrpSpPr>
              <p:cNvPr id="138" name="Groep 137">
                <a:extLst>
                  <a:ext uri="{FF2B5EF4-FFF2-40B4-BE49-F238E27FC236}">
                    <a16:creationId xmlns:a16="http://schemas.microsoft.com/office/drawing/2014/main" id="{F4C5F142-85C6-4013-83B2-1598511B9CAF}"/>
                  </a:ext>
                </a:extLst>
              </p:cNvPr>
              <p:cNvGrpSpPr/>
              <p:nvPr userDrawn="1"/>
            </p:nvGrpSpPr>
            <p:grpSpPr>
              <a:xfrm>
                <a:off x="-713542" y="4987990"/>
                <a:ext cx="287071" cy="379107"/>
                <a:chOff x="-4050578" y="288410"/>
                <a:chExt cx="322125" cy="379107"/>
              </a:xfrm>
            </p:grpSpPr>
            <p:sp>
              <p:nvSpPr>
                <p:cNvPr id="140" name="Rechthoek met één afgeknipte en afgeronde hoek 47">
                  <a:extLst>
                    <a:ext uri="{FF2B5EF4-FFF2-40B4-BE49-F238E27FC236}">
                      <a16:creationId xmlns:a16="http://schemas.microsoft.com/office/drawing/2014/main" id="{FC06D66E-2F57-41D0-ABF3-1CFC74F725D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1" name="Rechthoekige driehoek 140">
                  <a:extLst>
                    <a:ext uri="{FF2B5EF4-FFF2-40B4-BE49-F238E27FC236}">
                      <a16:creationId xmlns:a16="http://schemas.microsoft.com/office/drawing/2014/main" id="{E373E805-189A-46D7-ADE6-B85EEF57D2D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2" name="Rechthoek 141">
                  <a:extLst>
                    <a:ext uri="{FF2B5EF4-FFF2-40B4-BE49-F238E27FC236}">
                      <a16:creationId xmlns:a16="http://schemas.microsoft.com/office/drawing/2014/main" id="{2DDB0414-F651-4EDB-8C55-BB17EF48E933}"/>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43" name="Rechthoek 142">
                  <a:extLst>
                    <a:ext uri="{FF2B5EF4-FFF2-40B4-BE49-F238E27FC236}">
                      <a16:creationId xmlns:a16="http://schemas.microsoft.com/office/drawing/2014/main" id="{C8D7938E-ECD1-4276-87EC-13493913328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39" name="Rechthoek 138">
                <a:extLst>
                  <a:ext uri="{FF2B5EF4-FFF2-40B4-BE49-F238E27FC236}">
                    <a16:creationId xmlns:a16="http://schemas.microsoft.com/office/drawing/2014/main" id="{649C6A0C-5C92-429D-AE5F-47950BBAF5CD}"/>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144" name="INSTRUCTIE">
            <a:extLst>
              <a:ext uri="{FF2B5EF4-FFF2-40B4-BE49-F238E27FC236}">
                <a16:creationId xmlns:a16="http://schemas.microsoft.com/office/drawing/2014/main" id="{7FA60A01-ED5C-4E20-936A-584A697D5077}"/>
              </a:ext>
            </a:extLst>
          </p:cNvPr>
          <p:cNvGrpSpPr/>
          <p:nvPr userDrawn="1"/>
        </p:nvGrpSpPr>
        <p:grpSpPr>
          <a:xfrm>
            <a:off x="-3786165" y="0"/>
            <a:ext cx="3593091" cy="4641338"/>
            <a:chOff x="-3786165" y="0"/>
            <a:chExt cx="3593091" cy="4641338"/>
          </a:xfrm>
        </p:grpSpPr>
        <p:sp>
          <p:nvSpPr>
            <p:cNvPr id="145" name="Rechthoek 144">
              <a:extLst>
                <a:ext uri="{FF2B5EF4-FFF2-40B4-BE49-F238E27FC236}">
                  <a16:creationId xmlns:a16="http://schemas.microsoft.com/office/drawing/2014/main" id="{6CF09FBC-84B9-4558-A5D7-B8AFB7712808}"/>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146" name="Ovaal 145">
              <a:extLst>
                <a:ext uri="{FF2B5EF4-FFF2-40B4-BE49-F238E27FC236}">
                  <a16:creationId xmlns:a16="http://schemas.microsoft.com/office/drawing/2014/main" id="{0E7301EA-1308-4506-9B83-0F23B80A855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47" name="Rechthoek 146">
              <a:extLst>
                <a:ext uri="{FF2B5EF4-FFF2-40B4-BE49-F238E27FC236}">
                  <a16:creationId xmlns:a16="http://schemas.microsoft.com/office/drawing/2014/main" id="{C15092DD-2DD1-460D-B728-55EFC97F7EBD}"/>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148" name="Ovaal 147">
              <a:extLst>
                <a:ext uri="{FF2B5EF4-FFF2-40B4-BE49-F238E27FC236}">
                  <a16:creationId xmlns:a16="http://schemas.microsoft.com/office/drawing/2014/main" id="{186C7225-A88A-4004-BACE-AE8DB0EE9D8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9" name="Rechthoek 148">
              <a:extLst>
                <a:ext uri="{FF2B5EF4-FFF2-40B4-BE49-F238E27FC236}">
                  <a16:creationId xmlns:a16="http://schemas.microsoft.com/office/drawing/2014/main" id="{6500BAD3-9AE7-4D9E-A68C-AA535EDDDC2F}"/>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50" name="Rechthoek 149">
              <a:extLst>
                <a:ext uri="{FF2B5EF4-FFF2-40B4-BE49-F238E27FC236}">
                  <a16:creationId xmlns:a16="http://schemas.microsoft.com/office/drawing/2014/main" id="{01A3C85B-936C-45AD-8B9A-16C6E67464E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151" name="Ovaal 150">
              <a:extLst>
                <a:ext uri="{FF2B5EF4-FFF2-40B4-BE49-F238E27FC236}">
                  <a16:creationId xmlns:a16="http://schemas.microsoft.com/office/drawing/2014/main" id="{55A4E35C-2ED0-4457-A7FC-73B5B370B38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2" name="Rechthoek 151">
              <a:extLst>
                <a:ext uri="{FF2B5EF4-FFF2-40B4-BE49-F238E27FC236}">
                  <a16:creationId xmlns:a16="http://schemas.microsoft.com/office/drawing/2014/main" id="{114F0D09-C90E-48D9-A83A-9B7F94DEF84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153" name="Ovaal 152">
              <a:extLst>
                <a:ext uri="{FF2B5EF4-FFF2-40B4-BE49-F238E27FC236}">
                  <a16:creationId xmlns:a16="http://schemas.microsoft.com/office/drawing/2014/main" id="{2EEE98CA-76BF-4384-A49C-A2051A35B346}"/>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4" name="Rechthoek 153">
              <a:extLst>
                <a:ext uri="{FF2B5EF4-FFF2-40B4-BE49-F238E27FC236}">
                  <a16:creationId xmlns:a16="http://schemas.microsoft.com/office/drawing/2014/main" id="{FD06563F-5BCB-4D31-8598-1AF432A71569}"/>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155" name="Ovaal 154">
              <a:extLst>
                <a:ext uri="{FF2B5EF4-FFF2-40B4-BE49-F238E27FC236}">
                  <a16:creationId xmlns:a16="http://schemas.microsoft.com/office/drawing/2014/main" id="{795B097D-E19F-4225-86F4-60FF178B7AA0}"/>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56" name="Rechthoek 155">
              <a:extLst>
                <a:ext uri="{FF2B5EF4-FFF2-40B4-BE49-F238E27FC236}">
                  <a16:creationId xmlns:a16="http://schemas.microsoft.com/office/drawing/2014/main" id="{3312EFED-DD62-4F67-BA39-670853660FA5}"/>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157" name="Ovaal 156">
              <a:extLst>
                <a:ext uri="{FF2B5EF4-FFF2-40B4-BE49-F238E27FC236}">
                  <a16:creationId xmlns:a16="http://schemas.microsoft.com/office/drawing/2014/main" id="{4CE4ED6B-ADD0-42FC-8006-26C8524FAB1E}"/>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58" name="Rechthoek 157">
              <a:extLst>
                <a:ext uri="{FF2B5EF4-FFF2-40B4-BE49-F238E27FC236}">
                  <a16:creationId xmlns:a16="http://schemas.microsoft.com/office/drawing/2014/main" id="{6112E3C5-BA08-4BDD-8CAF-BC89397F8DBE}"/>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59" name="Ovaal 158">
              <a:extLst>
                <a:ext uri="{FF2B5EF4-FFF2-40B4-BE49-F238E27FC236}">
                  <a16:creationId xmlns:a16="http://schemas.microsoft.com/office/drawing/2014/main" id="{03744B09-DDBB-40F4-BCBD-130BFD3CE9C7}"/>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60" name="Rechthoek 159">
              <a:extLst>
                <a:ext uri="{FF2B5EF4-FFF2-40B4-BE49-F238E27FC236}">
                  <a16:creationId xmlns:a16="http://schemas.microsoft.com/office/drawing/2014/main" id="{530BE350-CC04-43A2-AF0F-C2ADE489EE26}"/>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61" name="Ovaal 160">
              <a:extLst>
                <a:ext uri="{FF2B5EF4-FFF2-40B4-BE49-F238E27FC236}">
                  <a16:creationId xmlns:a16="http://schemas.microsoft.com/office/drawing/2014/main" id="{A980CE57-1791-4988-A3EC-96B2CABEF6A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62" name="Rechthoek 161">
              <a:extLst>
                <a:ext uri="{FF2B5EF4-FFF2-40B4-BE49-F238E27FC236}">
                  <a16:creationId xmlns:a16="http://schemas.microsoft.com/office/drawing/2014/main" id="{E0A0AC1C-2EC1-4B46-AACC-47E38F439E4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63" name="Ovaal 162">
              <a:extLst>
                <a:ext uri="{FF2B5EF4-FFF2-40B4-BE49-F238E27FC236}">
                  <a16:creationId xmlns:a16="http://schemas.microsoft.com/office/drawing/2014/main" id="{C8D297F9-D9DF-48CE-A973-3AAD1204602C}"/>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64" name="Rechthoek 163">
              <a:extLst>
                <a:ext uri="{FF2B5EF4-FFF2-40B4-BE49-F238E27FC236}">
                  <a16:creationId xmlns:a16="http://schemas.microsoft.com/office/drawing/2014/main" id="{EF4AB177-E4D9-44FE-869B-0B443828C8FA}"/>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65" name="VOORBEELD">
              <a:extLst>
                <a:ext uri="{FF2B5EF4-FFF2-40B4-BE49-F238E27FC236}">
                  <a16:creationId xmlns:a16="http://schemas.microsoft.com/office/drawing/2014/main" id="{DBCF3C91-5882-4DEC-AE3F-519011276F42}"/>
                </a:ext>
              </a:extLst>
            </p:cNvPr>
            <p:cNvGrpSpPr/>
            <p:nvPr userDrawn="1"/>
          </p:nvGrpSpPr>
          <p:grpSpPr>
            <a:xfrm>
              <a:off x="-3605171" y="458674"/>
              <a:ext cx="3234311" cy="558875"/>
              <a:chOff x="-3605171" y="458674"/>
              <a:chExt cx="3234311" cy="558875"/>
            </a:xfrm>
          </p:grpSpPr>
          <p:sp>
            <p:nvSpPr>
              <p:cNvPr id="166" name="Rechthoek 165">
                <a:extLst>
                  <a:ext uri="{FF2B5EF4-FFF2-40B4-BE49-F238E27FC236}">
                    <a16:creationId xmlns:a16="http://schemas.microsoft.com/office/drawing/2014/main" id="{9EBA55AD-5D95-44BE-AE87-CEAA164FEAAB}"/>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67" name="Rechthoek 166">
                <a:extLst>
                  <a:ext uri="{FF2B5EF4-FFF2-40B4-BE49-F238E27FC236}">
                    <a16:creationId xmlns:a16="http://schemas.microsoft.com/office/drawing/2014/main" id="{35A92396-A543-4006-9221-61CB74410D9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68" name="Groep 167">
                <a:extLst>
                  <a:ext uri="{FF2B5EF4-FFF2-40B4-BE49-F238E27FC236}">
                    <a16:creationId xmlns:a16="http://schemas.microsoft.com/office/drawing/2014/main" id="{7F560E3D-45B5-440E-AB92-A0CFB665E9D9}"/>
                  </a:ext>
                </a:extLst>
              </p:cNvPr>
              <p:cNvGrpSpPr/>
              <p:nvPr userDrawn="1"/>
            </p:nvGrpSpPr>
            <p:grpSpPr>
              <a:xfrm>
                <a:off x="-3386247" y="830871"/>
                <a:ext cx="139423" cy="109566"/>
                <a:chOff x="-2866744" y="827071"/>
                <a:chExt cx="168701" cy="132575"/>
              </a:xfrm>
            </p:grpSpPr>
            <p:grpSp>
              <p:nvGrpSpPr>
                <p:cNvPr id="199" name="Groep 198">
                  <a:extLst>
                    <a:ext uri="{FF2B5EF4-FFF2-40B4-BE49-F238E27FC236}">
                      <a16:creationId xmlns:a16="http://schemas.microsoft.com/office/drawing/2014/main" id="{CB97CDE2-B250-4E04-95E9-840121B304DE}"/>
                    </a:ext>
                  </a:extLst>
                </p:cNvPr>
                <p:cNvGrpSpPr/>
                <p:nvPr userDrawn="1"/>
              </p:nvGrpSpPr>
              <p:grpSpPr>
                <a:xfrm>
                  <a:off x="-2866744" y="827071"/>
                  <a:ext cx="168701" cy="132575"/>
                  <a:chOff x="-2866744" y="827071"/>
                  <a:chExt cx="168701" cy="132575"/>
                </a:xfrm>
              </p:grpSpPr>
              <p:cxnSp>
                <p:nvCxnSpPr>
                  <p:cNvPr id="201" name="Rechte verbindingslijn 200">
                    <a:extLst>
                      <a:ext uri="{FF2B5EF4-FFF2-40B4-BE49-F238E27FC236}">
                        <a16:creationId xmlns:a16="http://schemas.microsoft.com/office/drawing/2014/main" id="{BD49A608-7B52-40BB-A923-DA35A576F52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02" name="Rechte verbindingslijn 201">
                    <a:extLst>
                      <a:ext uri="{FF2B5EF4-FFF2-40B4-BE49-F238E27FC236}">
                        <a16:creationId xmlns:a16="http://schemas.microsoft.com/office/drawing/2014/main" id="{851A05F6-7726-49B8-B1CB-69A74FC654F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03" name="Rechte verbindingslijn 202">
                    <a:extLst>
                      <a:ext uri="{FF2B5EF4-FFF2-40B4-BE49-F238E27FC236}">
                        <a16:creationId xmlns:a16="http://schemas.microsoft.com/office/drawing/2014/main" id="{7FD2CEDF-18EB-44C4-A194-E243811162D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04" name="Rechte verbindingslijn 203">
                    <a:extLst>
                      <a:ext uri="{FF2B5EF4-FFF2-40B4-BE49-F238E27FC236}">
                        <a16:creationId xmlns:a16="http://schemas.microsoft.com/office/drawing/2014/main" id="{8EF66587-89B7-41D4-A269-6A0C916E3B8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05" name="Rechte verbindingslijn 204">
                    <a:extLst>
                      <a:ext uri="{FF2B5EF4-FFF2-40B4-BE49-F238E27FC236}">
                        <a16:creationId xmlns:a16="http://schemas.microsoft.com/office/drawing/2014/main" id="{75F7ABD8-9C45-400D-869F-C8201C71E4A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00" name="Pijl: rechts 199">
                  <a:extLst>
                    <a:ext uri="{FF2B5EF4-FFF2-40B4-BE49-F238E27FC236}">
                      <a16:creationId xmlns:a16="http://schemas.microsoft.com/office/drawing/2014/main" id="{3304D304-789C-4E65-8D11-9BB75617E22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9" name="Groep 168">
                <a:extLst>
                  <a:ext uri="{FF2B5EF4-FFF2-40B4-BE49-F238E27FC236}">
                    <a16:creationId xmlns:a16="http://schemas.microsoft.com/office/drawing/2014/main" id="{EF6917BB-07C5-406C-A490-359645492FC7}"/>
                  </a:ext>
                </a:extLst>
              </p:cNvPr>
              <p:cNvGrpSpPr/>
              <p:nvPr userDrawn="1"/>
            </p:nvGrpSpPr>
            <p:grpSpPr>
              <a:xfrm>
                <a:off x="-3605171" y="830871"/>
                <a:ext cx="139423" cy="109566"/>
                <a:chOff x="-2866744" y="518074"/>
                <a:chExt cx="168701" cy="132575"/>
              </a:xfrm>
            </p:grpSpPr>
            <p:grpSp>
              <p:nvGrpSpPr>
                <p:cNvPr id="192" name="Groep 191">
                  <a:extLst>
                    <a:ext uri="{FF2B5EF4-FFF2-40B4-BE49-F238E27FC236}">
                      <a16:creationId xmlns:a16="http://schemas.microsoft.com/office/drawing/2014/main" id="{99362496-C961-4B2A-908C-C345EF968E2B}"/>
                    </a:ext>
                  </a:extLst>
                </p:cNvPr>
                <p:cNvGrpSpPr/>
                <p:nvPr userDrawn="1"/>
              </p:nvGrpSpPr>
              <p:grpSpPr>
                <a:xfrm>
                  <a:off x="-2866744" y="518074"/>
                  <a:ext cx="168701" cy="132575"/>
                  <a:chOff x="-2866744" y="518074"/>
                  <a:chExt cx="168701" cy="132575"/>
                </a:xfrm>
              </p:grpSpPr>
              <p:cxnSp>
                <p:nvCxnSpPr>
                  <p:cNvPr id="194" name="Rechte verbindingslijn 193">
                    <a:extLst>
                      <a:ext uri="{FF2B5EF4-FFF2-40B4-BE49-F238E27FC236}">
                        <a16:creationId xmlns:a16="http://schemas.microsoft.com/office/drawing/2014/main" id="{CA672714-66F8-4568-A131-C391FE044D4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95" name="Rechte verbindingslijn 194">
                    <a:extLst>
                      <a:ext uri="{FF2B5EF4-FFF2-40B4-BE49-F238E27FC236}">
                        <a16:creationId xmlns:a16="http://schemas.microsoft.com/office/drawing/2014/main" id="{0AF7D98A-AFA5-4328-9915-030405250AC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96" name="Rechte verbindingslijn 195">
                    <a:extLst>
                      <a:ext uri="{FF2B5EF4-FFF2-40B4-BE49-F238E27FC236}">
                        <a16:creationId xmlns:a16="http://schemas.microsoft.com/office/drawing/2014/main" id="{338117C1-9121-4311-AADE-868BAB5CEDA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97" name="Rechte verbindingslijn 196">
                    <a:extLst>
                      <a:ext uri="{FF2B5EF4-FFF2-40B4-BE49-F238E27FC236}">
                        <a16:creationId xmlns:a16="http://schemas.microsoft.com/office/drawing/2014/main" id="{5A4B21F8-18FB-4EC0-909F-F238ACF2CDA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98" name="Rechte verbindingslijn 197">
                    <a:extLst>
                      <a:ext uri="{FF2B5EF4-FFF2-40B4-BE49-F238E27FC236}">
                        <a16:creationId xmlns:a16="http://schemas.microsoft.com/office/drawing/2014/main" id="{A52403C1-62E4-4A38-AF27-0D2557191CE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93" name="Pijl: rechts 192">
                  <a:extLst>
                    <a:ext uri="{FF2B5EF4-FFF2-40B4-BE49-F238E27FC236}">
                      <a16:creationId xmlns:a16="http://schemas.microsoft.com/office/drawing/2014/main" id="{0461D108-AC7A-420C-9645-FD71EA02A0F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70" name="Rechte verbindingslijn 169">
                <a:extLst>
                  <a:ext uri="{FF2B5EF4-FFF2-40B4-BE49-F238E27FC236}">
                    <a16:creationId xmlns:a16="http://schemas.microsoft.com/office/drawing/2014/main" id="{9DC2FC9F-106F-419F-B041-CD2D73B45317}"/>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id="{D96880C9-FCC7-4AB4-AD6B-BE624AA5199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72" name="Rechthoek 171">
                <a:extLst>
                  <a:ext uri="{FF2B5EF4-FFF2-40B4-BE49-F238E27FC236}">
                    <a16:creationId xmlns:a16="http://schemas.microsoft.com/office/drawing/2014/main" id="{5CA04235-789C-40CD-9364-37D71017FE7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73" name="Rechthoek 172">
                <a:extLst>
                  <a:ext uri="{FF2B5EF4-FFF2-40B4-BE49-F238E27FC236}">
                    <a16:creationId xmlns:a16="http://schemas.microsoft.com/office/drawing/2014/main" id="{493154A4-8768-446B-8832-BD303F7848FD}"/>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74" name="Groep 173">
                <a:extLst>
                  <a:ext uri="{FF2B5EF4-FFF2-40B4-BE49-F238E27FC236}">
                    <a16:creationId xmlns:a16="http://schemas.microsoft.com/office/drawing/2014/main" id="{8890D7C6-162B-450B-806A-4754D860A655}"/>
                  </a:ext>
                </a:extLst>
              </p:cNvPr>
              <p:cNvGrpSpPr/>
              <p:nvPr userDrawn="1"/>
            </p:nvGrpSpPr>
            <p:grpSpPr>
              <a:xfrm>
                <a:off x="-2916763" y="769168"/>
                <a:ext cx="268738" cy="248381"/>
                <a:chOff x="-2916763" y="769168"/>
                <a:chExt cx="268738" cy="248381"/>
              </a:xfrm>
            </p:grpSpPr>
            <p:sp>
              <p:nvSpPr>
                <p:cNvPr id="184" name="Rechthoek 183">
                  <a:extLst>
                    <a:ext uri="{FF2B5EF4-FFF2-40B4-BE49-F238E27FC236}">
                      <a16:creationId xmlns:a16="http://schemas.microsoft.com/office/drawing/2014/main" id="{BF33F242-3E98-4841-A687-9396828D81D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85" name="Groep 184">
                  <a:extLst>
                    <a:ext uri="{FF2B5EF4-FFF2-40B4-BE49-F238E27FC236}">
                      <a16:creationId xmlns:a16="http://schemas.microsoft.com/office/drawing/2014/main" id="{04B9E5A5-4B5C-4705-B4BF-E32FEDF210BF}"/>
                    </a:ext>
                  </a:extLst>
                </p:cNvPr>
                <p:cNvGrpSpPr/>
                <p:nvPr userDrawn="1"/>
              </p:nvGrpSpPr>
              <p:grpSpPr>
                <a:xfrm>
                  <a:off x="-2866744" y="827071"/>
                  <a:ext cx="168701" cy="132575"/>
                  <a:chOff x="-2866744" y="827071"/>
                  <a:chExt cx="168701" cy="132575"/>
                </a:xfrm>
              </p:grpSpPr>
              <p:cxnSp>
                <p:nvCxnSpPr>
                  <p:cNvPr id="187" name="Rechte verbindingslijn 186">
                    <a:extLst>
                      <a:ext uri="{FF2B5EF4-FFF2-40B4-BE49-F238E27FC236}">
                        <a16:creationId xmlns:a16="http://schemas.microsoft.com/office/drawing/2014/main" id="{B0AC3C05-B5B3-4757-9DB9-ED4F3C39BB6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8" name="Rechte verbindingslijn 187">
                    <a:extLst>
                      <a:ext uri="{FF2B5EF4-FFF2-40B4-BE49-F238E27FC236}">
                        <a16:creationId xmlns:a16="http://schemas.microsoft.com/office/drawing/2014/main" id="{15D3822E-C8ED-4A14-92C0-6C2181E22E1C}"/>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9" name="Rechte verbindingslijn 188">
                    <a:extLst>
                      <a:ext uri="{FF2B5EF4-FFF2-40B4-BE49-F238E27FC236}">
                        <a16:creationId xmlns:a16="http://schemas.microsoft.com/office/drawing/2014/main" id="{C848156D-FC4F-4FA1-8D2E-008BBF75EAD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90" name="Rechte verbindingslijn 189">
                    <a:extLst>
                      <a:ext uri="{FF2B5EF4-FFF2-40B4-BE49-F238E27FC236}">
                        <a16:creationId xmlns:a16="http://schemas.microsoft.com/office/drawing/2014/main" id="{EF57422D-EC03-4566-B434-520D7ABB9F2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91" name="Rechte verbindingslijn 190">
                    <a:extLst>
                      <a:ext uri="{FF2B5EF4-FFF2-40B4-BE49-F238E27FC236}">
                        <a16:creationId xmlns:a16="http://schemas.microsoft.com/office/drawing/2014/main" id="{B67EE0F5-1926-406E-92E5-DD047554E4E2}"/>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6" name="Pijl: rechts 185">
                  <a:extLst>
                    <a:ext uri="{FF2B5EF4-FFF2-40B4-BE49-F238E27FC236}">
                      <a16:creationId xmlns:a16="http://schemas.microsoft.com/office/drawing/2014/main" id="{45CB9364-D400-4A3F-A4B0-DB23456B2AC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75" name="Groep 174">
                <a:extLst>
                  <a:ext uri="{FF2B5EF4-FFF2-40B4-BE49-F238E27FC236}">
                    <a16:creationId xmlns:a16="http://schemas.microsoft.com/office/drawing/2014/main" id="{A8D2ED88-DD40-4A22-B12B-11802FFDE901}"/>
                  </a:ext>
                </a:extLst>
              </p:cNvPr>
              <p:cNvGrpSpPr/>
              <p:nvPr userDrawn="1"/>
            </p:nvGrpSpPr>
            <p:grpSpPr>
              <a:xfrm>
                <a:off x="-2916763" y="460171"/>
                <a:ext cx="268738" cy="248381"/>
                <a:chOff x="-2916763" y="460171"/>
                <a:chExt cx="268738" cy="248381"/>
              </a:xfrm>
            </p:grpSpPr>
            <p:sp>
              <p:nvSpPr>
                <p:cNvPr id="176" name="Rechthoek 175">
                  <a:extLst>
                    <a:ext uri="{FF2B5EF4-FFF2-40B4-BE49-F238E27FC236}">
                      <a16:creationId xmlns:a16="http://schemas.microsoft.com/office/drawing/2014/main" id="{65522396-F81E-469E-BEC4-6DC47D1C4CA5}"/>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77" name="Groep 176">
                  <a:extLst>
                    <a:ext uri="{FF2B5EF4-FFF2-40B4-BE49-F238E27FC236}">
                      <a16:creationId xmlns:a16="http://schemas.microsoft.com/office/drawing/2014/main" id="{BF850456-14D3-4035-9516-C844B2CF354A}"/>
                    </a:ext>
                  </a:extLst>
                </p:cNvPr>
                <p:cNvGrpSpPr/>
                <p:nvPr userDrawn="1"/>
              </p:nvGrpSpPr>
              <p:grpSpPr>
                <a:xfrm>
                  <a:off x="-2866744" y="518074"/>
                  <a:ext cx="168701" cy="132575"/>
                  <a:chOff x="-2866744" y="518074"/>
                  <a:chExt cx="168701" cy="132575"/>
                </a:xfrm>
              </p:grpSpPr>
              <p:cxnSp>
                <p:nvCxnSpPr>
                  <p:cNvPr id="179" name="Rechte verbindingslijn 178">
                    <a:extLst>
                      <a:ext uri="{FF2B5EF4-FFF2-40B4-BE49-F238E27FC236}">
                        <a16:creationId xmlns:a16="http://schemas.microsoft.com/office/drawing/2014/main" id="{2659434B-8D7A-4C23-814D-973DA62DA8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80" name="Rechte verbindingslijn 179">
                    <a:extLst>
                      <a:ext uri="{FF2B5EF4-FFF2-40B4-BE49-F238E27FC236}">
                        <a16:creationId xmlns:a16="http://schemas.microsoft.com/office/drawing/2014/main" id="{A40D435C-AB3C-44DD-A43D-6CB990516A5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81" name="Rechte verbindingslijn 180">
                    <a:extLst>
                      <a:ext uri="{FF2B5EF4-FFF2-40B4-BE49-F238E27FC236}">
                        <a16:creationId xmlns:a16="http://schemas.microsoft.com/office/drawing/2014/main" id="{2D7F87E5-9FA9-4E6C-A648-CB253B819F6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8BFF38B5-7985-4288-830F-5C446C28E55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F273CB2F-8619-4F62-BC46-B2A1E3C0415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8" name="Pijl: rechts 177">
                  <a:extLst>
                    <a:ext uri="{FF2B5EF4-FFF2-40B4-BE49-F238E27FC236}">
                      <a16:creationId xmlns:a16="http://schemas.microsoft.com/office/drawing/2014/main" id="{8C7D936D-FDF5-4ED7-B439-34A3A90106F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
        <p:nvSpPr>
          <p:cNvPr id="8" name="Tijdelijke aanduiding voor tekst 7">
            <a:extLst>
              <a:ext uri="{FF2B5EF4-FFF2-40B4-BE49-F238E27FC236}">
                <a16:creationId xmlns:a16="http://schemas.microsoft.com/office/drawing/2014/main" id="{ECA8D6F7-F80C-472B-84E7-C3DB75A8B4FE}"/>
              </a:ext>
            </a:extLst>
          </p:cNvPr>
          <p:cNvSpPr>
            <a:spLocks noGrp="1"/>
          </p:cNvSpPr>
          <p:nvPr>
            <p:ph type="body" sz="quarter" idx="13" hasCustomPrompt="1"/>
          </p:nvPr>
        </p:nvSpPr>
        <p:spPr>
          <a:xfrm>
            <a:off x="7176899" y="1676401"/>
            <a:ext cx="4226780" cy="3523954"/>
          </a:xfrm>
        </p:spPr>
        <p:txBody>
          <a:bodyPr anchor="ctr" anchorCtr="0"/>
          <a:lstStyle>
            <a:lvl1pPr marL="0" indent="0" algn="l" defTabSz="914400" rtl="0" eaLnBrk="1" latinLnBrk="0" hangingPunct="1">
              <a:lnSpc>
                <a:spcPct val="90000"/>
              </a:lnSpc>
              <a:spcBef>
                <a:spcPct val="0"/>
              </a:spcBef>
              <a:buNone/>
              <a:tabLst>
                <a:tab pos="1255713" algn="l"/>
              </a:tabLst>
              <a:defRPr lang="nl-NL" sz="4800" b="1" kern="1200" dirty="0" smtClean="0">
                <a:solidFill>
                  <a:schemeClr val="tx2"/>
                </a:solidFill>
                <a:latin typeface="+mj-lt"/>
                <a:ea typeface="+mj-ea"/>
                <a:cs typeface="+mj-cs"/>
              </a:defRPr>
            </a:lvl1pPr>
            <a:lvl2pPr marL="263525" indent="0">
              <a:buNone/>
              <a:defRPr/>
            </a:lvl2pPr>
          </a:lstStyle>
          <a:p>
            <a:pPr lvl="0"/>
            <a:r>
              <a:rPr lang="nl-NL" dirty="0"/>
              <a:t>“Plaats hier </a:t>
            </a:r>
            <a:br>
              <a:rPr lang="nl-NL" dirty="0"/>
            </a:br>
            <a:r>
              <a:rPr lang="nl-NL" dirty="0"/>
              <a:t>  je Quote”</a:t>
            </a:r>
          </a:p>
        </p:txBody>
      </p:sp>
    </p:spTree>
    <p:extLst>
      <p:ext uri="{BB962C8B-B14F-4D97-AF65-F5344CB8AC3E}">
        <p14:creationId xmlns:p14="http://schemas.microsoft.com/office/powerpoint/2010/main" val="362218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en Illustratie">
    <p:bg>
      <p:bgPr>
        <a:solidFill>
          <a:schemeClr val="bg1"/>
        </a:solidFill>
        <a:effectLst/>
      </p:bgPr>
    </p:bg>
    <p:spTree>
      <p:nvGrpSpPr>
        <p:cNvPr id="1" name=""/>
        <p:cNvGrpSpPr/>
        <p:nvPr/>
      </p:nvGrpSpPr>
      <p:grpSpPr>
        <a:xfrm>
          <a:off x="0" y="0"/>
          <a:ext cx="0" cy="0"/>
          <a:chOff x="0" y="0"/>
          <a:chExt cx="0" cy="0"/>
        </a:xfrm>
      </p:grpSpPr>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afbeelding 8">
            <a:extLst>
              <a:ext uri="{FF2B5EF4-FFF2-40B4-BE49-F238E27FC236}">
                <a16:creationId xmlns:a16="http://schemas.microsoft.com/office/drawing/2014/main" id="{1EB01BAA-A260-4B36-BC7A-6D5D3E1E63EC}"/>
              </a:ext>
            </a:extLst>
          </p:cNvPr>
          <p:cNvSpPr>
            <a:spLocks noGrp="1"/>
          </p:cNvSpPr>
          <p:nvPr>
            <p:ph type="pic" sz="quarter" idx="14"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illustratie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
        <p:nvSpPr>
          <p:cNvPr id="7" name="Tijdelijke aanduiding voor voettekst 4">
            <a:extLst>
              <a:ext uri="{FF2B5EF4-FFF2-40B4-BE49-F238E27FC236}">
                <a16:creationId xmlns:a16="http://schemas.microsoft.com/office/drawing/2014/main" id="{32CDE956-D452-49A3-8677-A34CC14281C3}"/>
              </a:ext>
            </a:extLst>
          </p:cNvPr>
          <p:cNvSpPr>
            <a:spLocks noGrp="1"/>
          </p:cNvSpPr>
          <p:nvPr>
            <p:ph type="ftr" sz="quarter" idx="11"/>
          </p:nvPr>
        </p:nvSpPr>
        <p:spPr>
          <a:xfrm>
            <a:off x="521553" y="6472835"/>
            <a:ext cx="6273800" cy="225817"/>
          </a:xfrm>
        </p:spPr>
        <p:txBody>
          <a:bodyPr/>
          <a:lstStyle/>
          <a:p>
            <a:r>
              <a:rPr lang="nl-NL"/>
              <a:t>Zilveren Kruis | Naam presentatie</a:t>
            </a:r>
            <a:endParaRPr lang="nl-NL" dirty="0"/>
          </a:p>
        </p:txBody>
      </p:sp>
      <p:sp>
        <p:nvSpPr>
          <p:cNvPr id="9" name="Tijdelijke aanduiding voor dianummer 5">
            <a:extLst>
              <a:ext uri="{FF2B5EF4-FFF2-40B4-BE49-F238E27FC236}">
                <a16:creationId xmlns:a16="http://schemas.microsoft.com/office/drawing/2014/main" id="{F1D2D9A1-25D8-4701-8B3B-BA1F291467AF}"/>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grpSp>
        <p:nvGrpSpPr>
          <p:cNvPr id="10" name="INSTRUCTIE">
            <a:extLst>
              <a:ext uri="{FF2B5EF4-FFF2-40B4-BE49-F238E27FC236}">
                <a16:creationId xmlns:a16="http://schemas.microsoft.com/office/drawing/2014/main" id="{568A66DE-6BDF-4931-896D-DED193EB6608}"/>
              </a:ext>
            </a:extLst>
          </p:cNvPr>
          <p:cNvGrpSpPr/>
          <p:nvPr userDrawn="1"/>
        </p:nvGrpSpPr>
        <p:grpSpPr>
          <a:xfrm>
            <a:off x="8469641" y="7033211"/>
            <a:ext cx="3727954" cy="1728407"/>
            <a:chOff x="5846" y="7033211"/>
            <a:chExt cx="3727954" cy="1728407"/>
          </a:xfrm>
        </p:grpSpPr>
        <p:sp>
          <p:nvSpPr>
            <p:cNvPr id="11" name="Rechthoek 10">
              <a:extLst>
                <a:ext uri="{FF2B5EF4-FFF2-40B4-BE49-F238E27FC236}">
                  <a16:creationId xmlns:a16="http://schemas.microsoft.com/office/drawing/2014/main" id="{22C28782-FA9D-4CEB-A85B-39D346338898}"/>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2" name="Ovaal 11">
              <a:extLst>
                <a:ext uri="{FF2B5EF4-FFF2-40B4-BE49-F238E27FC236}">
                  <a16:creationId xmlns:a16="http://schemas.microsoft.com/office/drawing/2014/main" id="{CF5E2766-FF55-4FC8-9BC2-8075E249897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1B6A82AD-02E3-418F-81A1-0FAB54D8195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A43A0D93-B755-40BA-8E2B-60026BAA60EA}"/>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2A5FA903-7199-4323-A79F-02AAA8D02CF9}"/>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6" name="Groep 15">
              <a:extLst>
                <a:ext uri="{FF2B5EF4-FFF2-40B4-BE49-F238E27FC236}">
                  <a16:creationId xmlns:a16="http://schemas.microsoft.com/office/drawing/2014/main" id="{53F12ABE-8F57-494B-9F01-957F64D77EAE}"/>
                </a:ext>
              </a:extLst>
            </p:cNvPr>
            <p:cNvGrpSpPr/>
            <p:nvPr userDrawn="1"/>
          </p:nvGrpSpPr>
          <p:grpSpPr>
            <a:xfrm>
              <a:off x="2939884" y="7739834"/>
              <a:ext cx="681133" cy="750023"/>
              <a:chOff x="-910573" y="4987990"/>
              <a:chExt cx="681133" cy="750023"/>
            </a:xfrm>
          </p:grpSpPr>
          <p:grpSp>
            <p:nvGrpSpPr>
              <p:cNvPr id="17" name="Groep 16">
                <a:extLst>
                  <a:ext uri="{FF2B5EF4-FFF2-40B4-BE49-F238E27FC236}">
                    <a16:creationId xmlns:a16="http://schemas.microsoft.com/office/drawing/2014/main" id="{100612B9-F78A-47E2-BBFC-C8F6A872FCD5}"/>
                  </a:ext>
                </a:extLst>
              </p:cNvPr>
              <p:cNvGrpSpPr/>
              <p:nvPr userDrawn="1"/>
            </p:nvGrpSpPr>
            <p:grpSpPr>
              <a:xfrm>
                <a:off x="-713542" y="4987990"/>
                <a:ext cx="287071" cy="379107"/>
                <a:chOff x="-4050578" y="288410"/>
                <a:chExt cx="322125" cy="379107"/>
              </a:xfrm>
            </p:grpSpPr>
            <p:sp>
              <p:nvSpPr>
                <p:cNvPr id="19" name="Rechthoek met één afgeknipte en afgeronde hoek 47">
                  <a:extLst>
                    <a:ext uri="{FF2B5EF4-FFF2-40B4-BE49-F238E27FC236}">
                      <a16:creationId xmlns:a16="http://schemas.microsoft.com/office/drawing/2014/main" id="{E9194416-5529-47FE-B07C-84E38D2BA7E0}"/>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ige driehoek 19">
                  <a:extLst>
                    <a:ext uri="{FF2B5EF4-FFF2-40B4-BE49-F238E27FC236}">
                      <a16:creationId xmlns:a16="http://schemas.microsoft.com/office/drawing/2014/main" id="{E964EA91-4577-4C60-A085-F49C7AFBFD08}"/>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1" name="Rechthoek 20">
                  <a:extLst>
                    <a:ext uri="{FF2B5EF4-FFF2-40B4-BE49-F238E27FC236}">
                      <a16:creationId xmlns:a16="http://schemas.microsoft.com/office/drawing/2014/main" id="{AD6452E2-ADBF-40F3-A6ED-6A7C34A392C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2" name="Rechthoek 21">
                  <a:extLst>
                    <a:ext uri="{FF2B5EF4-FFF2-40B4-BE49-F238E27FC236}">
                      <a16:creationId xmlns:a16="http://schemas.microsoft.com/office/drawing/2014/main" id="{65CEC840-BA9C-4966-89C4-3F4DD665EE81}"/>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8" name="Rechthoek 17">
                <a:extLst>
                  <a:ext uri="{FF2B5EF4-FFF2-40B4-BE49-F238E27FC236}">
                    <a16:creationId xmlns:a16="http://schemas.microsoft.com/office/drawing/2014/main" id="{BA6AEA99-A9EB-40DA-8ABB-2AD6A90B7894}"/>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23" name="Groep 22">
            <a:extLst>
              <a:ext uri="{FF2B5EF4-FFF2-40B4-BE49-F238E27FC236}">
                <a16:creationId xmlns:a16="http://schemas.microsoft.com/office/drawing/2014/main" id="{ED717392-AFF0-4D85-BF1F-AC3BFC9F6744}"/>
              </a:ext>
            </a:extLst>
          </p:cNvPr>
          <p:cNvGrpSpPr/>
          <p:nvPr userDrawn="1"/>
        </p:nvGrpSpPr>
        <p:grpSpPr>
          <a:xfrm>
            <a:off x="12377867" y="0"/>
            <a:ext cx="3593091" cy="6025208"/>
            <a:chOff x="12377867" y="0"/>
            <a:chExt cx="3593091" cy="6025208"/>
          </a:xfrm>
        </p:grpSpPr>
        <p:sp>
          <p:nvSpPr>
            <p:cNvPr id="24" name="Rechthoek 23">
              <a:extLst>
                <a:ext uri="{FF2B5EF4-FFF2-40B4-BE49-F238E27FC236}">
                  <a16:creationId xmlns:a16="http://schemas.microsoft.com/office/drawing/2014/main" id="{72E93F74-58F4-4EBF-B173-990CBC5F1A9A}"/>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5" name="Ovaal 24">
              <a:extLst>
                <a:ext uri="{FF2B5EF4-FFF2-40B4-BE49-F238E27FC236}">
                  <a16:creationId xmlns:a16="http://schemas.microsoft.com/office/drawing/2014/main" id="{DF540BA3-73FD-4F4E-B2E9-F40560FDCB59}"/>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 name="Rechthoek 25">
              <a:extLst>
                <a:ext uri="{FF2B5EF4-FFF2-40B4-BE49-F238E27FC236}">
                  <a16:creationId xmlns:a16="http://schemas.microsoft.com/office/drawing/2014/main" id="{5750DF03-DD54-4A42-B46A-AFA2F48B5FCF}"/>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 name="Groep 26">
              <a:extLst>
                <a:ext uri="{FF2B5EF4-FFF2-40B4-BE49-F238E27FC236}">
                  <a16:creationId xmlns:a16="http://schemas.microsoft.com/office/drawing/2014/main" id="{BDFE76DB-B28D-4154-ADEA-A1E0EF143D9E}"/>
                </a:ext>
              </a:extLst>
            </p:cNvPr>
            <p:cNvGrpSpPr/>
            <p:nvPr userDrawn="1"/>
          </p:nvGrpSpPr>
          <p:grpSpPr>
            <a:xfrm>
              <a:off x="12847853" y="1231351"/>
              <a:ext cx="294789" cy="318834"/>
              <a:chOff x="14466489" y="1001522"/>
              <a:chExt cx="290627" cy="314333"/>
            </a:xfrm>
          </p:grpSpPr>
          <p:sp>
            <p:nvSpPr>
              <p:cNvPr id="81" name="Rechthoek 80">
                <a:extLst>
                  <a:ext uri="{FF2B5EF4-FFF2-40B4-BE49-F238E27FC236}">
                    <a16:creationId xmlns:a16="http://schemas.microsoft.com/office/drawing/2014/main" id="{CDC1DC28-4E31-45DE-8236-BDA9D876325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AC9B43D3-4B5A-4905-B1BE-A215214D49F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3" name="Vrije vorm: vorm 82">
                <a:extLst>
                  <a:ext uri="{FF2B5EF4-FFF2-40B4-BE49-F238E27FC236}">
                    <a16:creationId xmlns:a16="http://schemas.microsoft.com/office/drawing/2014/main" id="{81AB8D45-F07B-4731-903B-6FD5B2F63D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4" name="Rechthoek: afgeronde hoeken 83">
                <a:extLst>
                  <a:ext uri="{FF2B5EF4-FFF2-40B4-BE49-F238E27FC236}">
                    <a16:creationId xmlns:a16="http://schemas.microsoft.com/office/drawing/2014/main" id="{DEE5D1F5-E140-4A60-A36C-53EDCD5D3DD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85" name="Rechte verbindingslijn 84">
                <a:extLst>
                  <a:ext uri="{FF2B5EF4-FFF2-40B4-BE49-F238E27FC236}">
                    <a16:creationId xmlns:a16="http://schemas.microsoft.com/office/drawing/2014/main" id="{2DC71859-7831-426B-B70E-DCBAD88838B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6" name="Rechte verbindingslijn 85">
                <a:extLst>
                  <a:ext uri="{FF2B5EF4-FFF2-40B4-BE49-F238E27FC236}">
                    <a16:creationId xmlns:a16="http://schemas.microsoft.com/office/drawing/2014/main" id="{E248DF5A-23B3-4A69-B5EA-378CCE657FCD}"/>
                  </a:ext>
                </a:extLst>
              </p:cNvPr>
              <p:cNvCxnSpPr>
                <a:cxnSpLocks/>
                <a:stCxn id="8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8" name="Ovaal 27">
              <a:extLst>
                <a:ext uri="{FF2B5EF4-FFF2-40B4-BE49-F238E27FC236}">
                  <a16:creationId xmlns:a16="http://schemas.microsoft.com/office/drawing/2014/main" id="{23D3001C-10BB-4AFF-8CA9-3D9B857FEF78}"/>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9" name="Rechthoek 28">
              <a:extLst>
                <a:ext uri="{FF2B5EF4-FFF2-40B4-BE49-F238E27FC236}">
                  <a16:creationId xmlns:a16="http://schemas.microsoft.com/office/drawing/2014/main" id="{1B7075F3-19D6-420D-A866-B7D3C36ECD9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3" name="Groep 32">
              <a:extLst>
                <a:ext uri="{FF2B5EF4-FFF2-40B4-BE49-F238E27FC236}">
                  <a16:creationId xmlns:a16="http://schemas.microsoft.com/office/drawing/2014/main" id="{08473228-FAB6-41B6-9460-491BA11947C9}"/>
                </a:ext>
              </a:extLst>
            </p:cNvPr>
            <p:cNvGrpSpPr/>
            <p:nvPr userDrawn="1"/>
          </p:nvGrpSpPr>
          <p:grpSpPr>
            <a:xfrm>
              <a:off x="12852713" y="2164285"/>
              <a:ext cx="825500" cy="209550"/>
              <a:chOff x="13504624" y="2482850"/>
              <a:chExt cx="825500" cy="209550"/>
            </a:xfrm>
          </p:grpSpPr>
          <p:sp>
            <p:nvSpPr>
              <p:cNvPr id="78" name="Rechthoek 77">
                <a:extLst>
                  <a:ext uri="{FF2B5EF4-FFF2-40B4-BE49-F238E27FC236}">
                    <a16:creationId xmlns:a16="http://schemas.microsoft.com/office/drawing/2014/main" id="{5749F3B2-F0C8-4DCE-82ED-CBCAB0096FA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9" name="Rechte verbindingslijn 78">
                <a:extLst>
                  <a:ext uri="{FF2B5EF4-FFF2-40B4-BE49-F238E27FC236}">
                    <a16:creationId xmlns:a16="http://schemas.microsoft.com/office/drawing/2014/main" id="{953FE29B-0450-48C5-9CAF-469F96F8539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0" name="Gelijkbenige driehoek 79">
                <a:extLst>
                  <a:ext uri="{FF2B5EF4-FFF2-40B4-BE49-F238E27FC236}">
                    <a16:creationId xmlns:a16="http://schemas.microsoft.com/office/drawing/2014/main" id="{EB17A78C-7E03-4DFC-8B2A-0EEC0168E8E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4" name="Ovaal 33">
              <a:extLst>
                <a:ext uri="{FF2B5EF4-FFF2-40B4-BE49-F238E27FC236}">
                  <a16:creationId xmlns:a16="http://schemas.microsoft.com/office/drawing/2014/main" id="{002887FB-A5BE-46D9-96A1-911161D593AD}"/>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5" name="Rechthoek 34">
              <a:extLst>
                <a:ext uri="{FF2B5EF4-FFF2-40B4-BE49-F238E27FC236}">
                  <a16:creationId xmlns:a16="http://schemas.microsoft.com/office/drawing/2014/main" id="{DC0B4A22-EF7E-4601-A374-39427D0F45E7}"/>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6" name="Ovaal 35">
              <a:extLst>
                <a:ext uri="{FF2B5EF4-FFF2-40B4-BE49-F238E27FC236}">
                  <a16:creationId xmlns:a16="http://schemas.microsoft.com/office/drawing/2014/main" id="{8504FAB7-4C36-4ECF-BE26-00148AB07C82}"/>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7" name="Rechthoek 36">
              <a:extLst>
                <a:ext uri="{FF2B5EF4-FFF2-40B4-BE49-F238E27FC236}">
                  <a16:creationId xmlns:a16="http://schemas.microsoft.com/office/drawing/2014/main" id="{CA1661B2-74E0-48F5-888E-F47CFF47BE80}"/>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8" name="Groep 37">
              <a:extLst>
                <a:ext uri="{FF2B5EF4-FFF2-40B4-BE49-F238E27FC236}">
                  <a16:creationId xmlns:a16="http://schemas.microsoft.com/office/drawing/2014/main" id="{88955EF2-4B4C-4F80-82CE-E696D96DE587}"/>
                </a:ext>
              </a:extLst>
            </p:cNvPr>
            <p:cNvGrpSpPr/>
            <p:nvPr userDrawn="1"/>
          </p:nvGrpSpPr>
          <p:grpSpPr>
            <a:xfrm>
              <a:off x="12755738" y="5236167"/>
              <a:ext cx="622283" cy="612919"/>
              <a:chOff x="12617641" y="3403239"/>
              <a:chExt cx="752963" cy="741634"/>
            </a:xfrm>
          </p:grpSpPr>
          <p:grpSp>
            <p:nvGrpSpPr>
              <p:cNvPr id="62" name="Groep 61">
                <a:extLst>
                  <a:ext uri="{FF2B5EF4-FFF2-40B4-BE49-F238E27FC236}">
                    <a16:creationId xmlns:a16="http://schemas.microsoft.com/office/drawing/2014/main" id="{CCA9626C-B517-409A-8337-326813F167FB}"/>
                  </a:ext>
                </a:extLst>
              </p:cNvPr>
              <p:cNvGrpSpPr/>
              <p:nvPr userDrawn="1"/>
            </p:nvGrpSpPr>
            <p:grpSpPr>
              <a:xfrm>
                <a:off x="12771550" y="3403239"/>
                <a:ext cx="467156" cy="448491"/>
                <a:chOff x="12782177" y="3403239"/>
                <a:chExt cx="467156" cy="448491"/>
              </a:xfrm>
            </p:grpSpPr>
            <p:grpSp>
              <p:nvGrpSpPr>
                <p:cNvPr id="65" name="Groep 64">
                  <a:extLst>
                    <a:ext uri="{FF2B5EF4-FFF2-40B4-BE49-F238E27FC236}">
                      <a16:creationId xmlns:a16="http://schemas.microsoft.com/office/drawing/2014/main" id="{EE1CEA8E-27EB-46A5-9FEA-5B4CCBD0D679}"/>
                    </a:ext>
                  </a:extLst>
                </p:cNvPr>
                <p:cNvGrpSpPr/>
                <p:nvPr userDrawn="1"/>
              </p:nvGrpSpPr>
              <p:grpSpPr>
                <a:xfrm>
                  <a:off x="12782177" y="3403239"/>
                  <a:ext cx="412972" cy="396132"/>
                  <a:chOff x="13554906" y="3320109"/>
                  <a:chExt cx="443912" cy="425811"/>
                </a:xfrm>
              </p:grpSpPr>
              <p:grpSp>
                <p:nvGrpSpPr>
                  <p:cNvPr id="72" name="Groep 71">
                    <a:extLst>
                      <a:ext uri="{FF2B5EF4-FFF2-40B4-BE49-F238E27FC236}">
                        <a16:creationId xmlns:a16="http://schemas.microsoft.com/office/drawing/2014/main" id="{FAFCDF07-A369-4848-8069-97132CF66D8E}"/>
                      </a:ext>
                    </a:extLst>
                  </p:cNvPr>
                  <p:cNvGrpSpPr/>
                  <p:nvPr userDrawn="1"/>
                </p:nvGrpSpPr>
                <p:grpSpPr>
                  <a:xfrm>
                    <a:off x="13554906" y="3320109"/>
                    <a:ext cx="443912" cy="425811"/>
                    <a:chOff x="12909684" y="1276143"/>
                    <a:chExt cx="443912" cy="425811"/>
                  </a:xfrm>
                </p:grpSpPr>
                <p:sp>
                  <p:nvSpPr>
                    <p:cNvPr id="75" name="Rechthoek 74">
                      <a:extLst>
                        <a:ext uri="{FF2B5EF4-FFF2-40B4-BE49-F238E27FC236}">
                          <a16:creationId xmlns:a16="http://schemas.microsoft.com/office/drawing/2014/main" id="{B5DE094F-9307-4EFD-9DC7-9A9BED1CEF72}"/>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742A39DC-EF46-4663-B990-60EB7D085EF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7" name="Ovaal 76">
                      <a:extLst>
                        <a:ext uri="{FF2B5EF4-FFF2-40B4-BE49-F238E27FC236}">
                          <a16:creationId xmlns:a16="http://schemas.microsoft.com/office/drawing/2014/main" id="{B29E27BD-A4AB-4477-8FBC-1C239D396E0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73" name="Afbeelding 72">
                    <a:extLst>
                      <a:ext uri="{FF2B5EF4-FFF2-40B4-BE49-F238E27FC236}">
                        <a16:creationId xmlns:a16="http://schemas.microsoft.com/office/drawing/2014/main" id="{961042E2-8CAC-437D-A10B-58DC62E244F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74" name="Afbeelding 73">
                    <a:extLst>
                      <a:ext uri="{FF2B5EF4-FFF2-40B4-BE49-F238E27FC236}">
                        <a16:creationId xmlns:a16="http://schemas.microsoft.com/office/drawing/2014/main" id="{69BFF7FC-F351-4D9C-B1D5-5066F754D216}"/>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6" name="Groep 65">
                  <a:extLst>
                    <a:ext uri="{FF2B5EF4-FFF2-40B4-BE49-F238E27FC236}">
                      <a16:creationId xmlns:a16="http://schemas.microsoft.com/office/drawing/2014/main" id="{1658EB2D-64E7-4F7D-9EBB-2FCE51FD9EAB}"/>
                    </a:ext>
                  </a:extLst>
                </p:cNvPr>
                <p:cNvGrpSpPr/>
                <p:nvPr userDrawn="1"/>
              </p:nvGrpSpPr>
              <p:grpSpPr>
                <a:xfrm>
                  <a:off x="13103513" y="3705268"/>
                  <a:ext cx="145820" cy="146462"/>
                  <a:chOff x="13096169" y="3602278"/>
                  <a:chExt cx="145820" cy="146462"/>
                </a:xfrm>
              </p:grpSpPr>
              <p:sp>
                <p:nvSpPr>
                  <p:cNvPr id="70" name="Rechthoek 69">
                    <a:extLst>
                      <a:ext uri="{FF2B5EF4-FFF2-40B4-BE49-F238E27FC236}">
                        <a16:creationId xmlns:a16="http://schemas.microsoft.com/office/drawing/2014/main" id="{4C503946-7B98-4506-AFE8-C75BC64DE3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2637A4B3-A890-428D-BB6D-6307EBC5C93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67" name="Groep 66">
                  <a:extLst>
                    <a:ext uri="{FF2B5EF4-FFF2-40B4-BE49-F238E27FC236}">
                      <a16:creationId xmlns:a16="http://schemas.microsoft.com/office/drawing/2014/main" id="{19C836B0-D5DF-48A5-A7B4-BD54E7028D7E}"/>
                    </a:ext>
                  </a:extLst>
                </p:cNvPr>
                <p:cNvGrpSpPr/>
                <p:nvPr userDrawn="1"/>
              </p:nvGrpSpPr>
              <p:grpSpPr>
                <a:xfrm rot="10800000">
                  <a:off x="13061402" y="3665637"/>
                  <a:ext cx="145820" cy="146462"/>
                  <a:chOff x="13096169" y="3602278"/>
                  <a:chExt cx="145820" cy="146462"/>
                </a:xfrm>
              </p:grpSpPr>
              <p:sp>
                <p:nvSpPr>
                  <p:cNvPr id="68" name="Rechthoek 67">
                    <a:extLst>
                      <a:ext uri="{FF2B5EF4-FFF2-40B4-BE49-F238E27FC236}">
                        <a16:creationId xmlns:a16="http://schemas.microsoft.com/office/drawing/2014/main" id="{7AD7BEE5-4AF8-459D-8BA8-BAE71ECF114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39748B7D-90F9-4696-8F72-7EC207B3A1F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63" name="Rechthoek 62">
                <a:extLst>
                  <a:ext uri="{FF2B5EF4-FFF2-40B4-BE49-F238E27FC236}">
                    <a16:creationId xmlns:a16="http://schemas.microsoft.com/office/drawing/2014/main" id="{990A8A4F-8E2B-4468-8051-B88FAAB9F66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64" name="Gelijkbenige driehoek 63">
                <a:extLst>
                  <a:ext uri="{FF2B5EF4-FFF2-40B4-BE49-F238E27FC236}">
                    <a16:creationId xmlns:a16="http://schemas.microsoft.com/office/drawing/2014/main" id="{A5D413CC-97CF-4EA3-9B4C-21EE25213E0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39" name="Rechthoek 38">
              <a:extLst>
                <a:ext uri="{FF2B5EF4-FFF2-40B4-BE49-F238E27FC236}">
                  <a16:creationId xmlns:a16="http://schemas.microsoft.com/office/drawing/2014/main" id="{CBE13056-E3D5-4B50-AD73-F21885532CFB}"/>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40" name="Groep 39">
              <a:extLst>
                <a:ext uri="{FF2B5EF4-FFF2-40B4-BE49-F238E27FC236}">
                  <a16:creationId xmlns:a16="http://schemas.microsoft.com/office/drawing/2014/main" id="{562D70BC-87E7-4650-87AD-6DDBF2EBA263}"/>
                </a:ext>
              </a:extLst>
            </p:cNvPr>
            <p:cNvGrpSpPr/>
            <p:nvPr userDrawn="1"/>
          </p:nvGrpSpPr>
          <p:grpSpPr>
            <a:xfrm>
              <a:off x="13678213" y="3399207"/>
              <a:ext cx="1222990" cy="563933"/>
              <a:chOff x="-2485819" y="3399207"/>
              <a:chExt cx="1222990" cy="563933"/>
            </a:xfrm>
          </p:grpSpPr>
          <p:sp>
            <p:nvSpPr>
              <p:cNvPr id="41" name="Rechthoek 40">
                <a:extLst>
                  <a:ext uri="{FF2B5EF4-FFF2-40B4-BE49-F238E27FC236}">
                    <a16:creationId xmlns:a16="http://schemas.microsoft.com/office/drawing/2014/main" id="{11B6DB07-2232-4622-93FE-928C3DC6EF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81DCAD5-8BD8-4BD7-B85E-57EFCD3A95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1B25DFE0-B8E0-4B03-890C-65BD010745EC}"/>
                  </a:ext>
                </a:extLst>
              </p:cNvPr>
              <p:cNvGrpSpPr/>
              <p:nvPr userDrawn="1"/>
            </p:nvGrpSpPr>
            <p:grpSpPr>
              <a:xfrm>
                <a:off x="-2403869" y="3460544"/>
                <a:ext cx="155951" cy="131922"/>
                <a:chOff x="12968836" y="3354170"/>
                <a:chExt cx="404806" cy="342433"/>
              </a:xfrm>
            </p:grpSpPr>
            <p:sp>
              <p:nvSpPr>
                <p:cNvPr id="56" name="Rechthoek: afgeronde hoeken 55">
                  <a:extLst>
                    <a:ext uri="{FF2B5EF4-FFF2-40B4-BE49-F238E27FC236}">
                      <a16:creationId xmlns:a16="http://schemas.microsoft.com/office/drawing/2014/main" id="{FEDD0287-ACDE-49E5-A851-3643DCBE91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7CB73CCE-BFD1-425B-ADED-8763EDE2808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8" name="Rechthoek 57">
                  <a:extLst>
                    <a:ext uri="{FF2B5EF4-FFF2-40B4-BE49-F238E27FC236}">
                      <a16:creationId xmlns:a16="http://schemas.microsoft.com/office/drawing/2014/main" id="{D6B31C0E-59A8-4BFB-97C3-BA4439ED442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5CA44D8D-B67F-4DD7-8B24-91FA57B387C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0" name="Rechthoek 59">
                  <a:extLst>
                    <a:ext uri="{FF2B5EF4-FFF2-40B4-BE49-F238E27FC236}">
                      <a16:creationId xmlns:a16="http://schemas.microsoft.com/office/drawing/2014/main" id="{ECFE8D9F-1644-437E-9CBC-7D0E5E08BC1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1" name="Rechthoek 60">
                  <a:extLst>
                    <a:ext uri="{FF2B5EF4-FFF2-40B4-BE49-F238E27FC236}">
                      <a16:creationId xmlns:a16="http://schemas.microsoft.com/office/drawing/2014/main" id="{48821BA2-6AE6-44AB-B936-4B150990DCF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0A844AD9-6E5E-4D65-B31B-5340CC050542}"/>
                  </a:ext>
                </a:extLst>
              </p:cNvPr>
              <p:cNvGrpSpPr/>
              <p:nvPr userDrawn="1"/>
            </p:nvGrpSpPr>
            <p:grpSpPr>
              <a:xfrm>
                <a:off x="-2423424" y="3690208"/>
                <a:ext cx="166739" cy="218963"/>
                <a:chOff x="12940828" y="3950597"/>
                <a:chExt cx="432813" cy="568367"/>
              </a:xfrm>
            </p:grpSpPr>
            <p:grpSp>
              <p:nvGrpSpPr>
                <p:cNvPr id="48" name="Groep 47">
                  <a:extLst>
                    <a:ext uri="{FF2B5EF4-FFF2-40B4-BE49-F238E27FC236}">
                      <a16:creationId xmlns:a16="http://schemas.microsoft.com/office/drawing/2014/main" id="{98B874AE-8970-472A-88AC-F63986EA4D1A}"/>
                    </a:ext>
                  </a:extLst>
                </p:cNvPr>
                <p:cNvGrpSpPr/>
                <p:nvPr userDrawn="1"/>
              </p:nvGrpSpPr>
              <p:grpSpPr>
                <a:xfrm>
                  <a:off x="13000382" y="4006891"/>
                  <a:ext cx="373259" cy="315747"/>
                  <a:chOff x="12968836" y="3354170"/>
                  <a:chExt cx="404806" cy="342433"/>
                </a:xfrm>
              </p:grpSpPr>
              <p:sp>
                <p:nvSpPr>
                  <p:cNvPr id="50" name="Rechthoek: afgeronde hoeken 49">
                    <a:extLst>
                      <a:ext uri="{FF2B5EF4-FFF2-40B4-BE49-F238E27FC236}">
                        <a16:creationId xmlns:a16="http://schemas.microsoft.com/office/drawing/2014/main" id="{9ACC2BE6-2448-40A4-9E75-4B9D8665134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843CC4AB-5111-4989-A1CE-6D8F55ECFF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03F04BF-7467-41E9-81B7-D1D240F9934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2A9E08F-AF7E-46A4-97E6-3EBC7468CA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34E63B63-B44D-4FE2-9CB3-CBA8F6CE681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E45EF54-3B8A-4C3A-8454-B63BEE6C4AF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49" name="Boog 48">
                  <a:extLst>
                    <a:ext uri="{FF2B5EF4-FFF2-40B4-BE49-F238E27FC236}">
                      <a16:creationId xmlns:a16="http://schemas.microsoft.com/office/drawing/2014/main" id="{42CC0830-4A26-4392-8222-81EC051368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018F6529-B169-48AD-85B9-20F48E2B686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46" name="Tekstvak 45">
                <a:extLst>
                  <a:ext uri="{FF2B5EF4-FFF2-40B4-BE49-F238E27FC236}">
                    <a16:creationId xmlns:a16="http://schemas.microsoft.com/office/drawing/2014/main" id="{1BCEE0F2-6C88-41D9-B285-70284652048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47" name="Vrije vorm: vorm 46">
                <a:extLst>
                  <a:ext uri="{FF2B5EF4-FFF2-40B4-BE49-F238E27FC236}">
                    <a16:creationId xmlns:a16="http://schemas.microsoft.com/office/drawing/2014/main" id="{343B5443-B15D-4C4B-B6C9-CC7BB2EA2C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7" name="Tijdelijke aanduiding voor verticale tekst 2">
            <a:extLst>
              <a:ext uri="{FF2B5EF4-FFF2-40B4-BE49-F238E27FC236}">
                <a16:creationId xmlns:a16="http://schemas.microsoft.com/office/drawing/2014/main" id="{48C25B6B-0751-4A56-ACFB-8DDD752F75A0}"/>
              </a:ext>
            </a:extLst>
          </p:cNvPr>
          <p:cNvSpPr>
            <a:spLocks noGrp="1"/>
          </p:cNvSpPr>
          <p:nvPr>
            <p:ph type="body" orient="vert" idx="1" hasCustomPrompt="1"/>
          </p:nvPr>
        </p:nvSpPr>
        <p:spPr>
          <a:xfrm>
            <a:off x="515941" y="1347275"/>
            <a:ext cx="6312278"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88" name="Titel 3">
            <a:extLst>
              <a:ext uri="{FF2B5EF4-FFF2-40B4-BE49-F238E27FC236}">
                <a16:creationId xmlns:a16="http://schemas.microsoft.com/office/drawing/2014/main" id="{1326CCD5-48FC-4911-93D9-3D9D0CA873E6}"/>
              </a:ext>
            </a:extLst>
          </p:cNvPr>
          <p:cNvSpPr>
            <a:spLocks noGrp="1"/>
          </p:cNvSpPr>
          <p:nvPr>
            <p:ph type="title" hasCustomPrompt="1"/>
          </p:nvPr>
        </p:nvSpPr>
        <p:spPr>
          <a:xfrm>
            <a:off x="515941" y="517525"/>
            <a:ext cx="6333990" cy="488950"/>
          </a:xfrm>
        </p:spPr>
        <p:txBody>
          <a:bodyPr/>
          <a:lstStyle>
            <a:lvl1pPr>
              <a:defRPr/>
            </a:lvl1pPr>
          </a:lstStyle>
          <a:p>
            <a:r>
              <a:rPr lang="nl-NL" dirty="0"/>
              <a:t>Plaats hier je titel</a:t>
            </a:r>
          </a:p>
        </p:txBody>
      </p:sp>
    </p:spTree>
    <p:extLst>
      <p:ext uri="{BB962C8B-B14F-4D97-AF65-F5344CB8AC3E}">
        <p14:creationId xmlns:p14="http://schemas.microsoft.com/office/powerpoint/2010/main" val="10585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en Quote klein">
    <p:bg>
      <p:bgPr>
        <a:solidFill>
          <a:schemeClr val="bg1"/>
        </a:solidFill>
        <a:effectLst/>
      </p:bgPr>
    </p:bg>
    <p:spTree>
      <p:nvGrpSpPr>
        <p:cNvPr id="1" name=""/>
        <p:cNvGrpSpPr/>
        <p:nvPr/>
      </p:nvGrpSpPr>
      <p:grpSpPr>
        <a:xfrm>
          <a:off x="0" y="0"/>
          <a:ext cx="0" cy="0"/>
          <a:chOff x="0" y="0"/>
          <a:chExt cx="0" cy="0"/>
        </a:xfrm>
      </p:grpSpPr>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oettekst 4">
            <a:extLst>
              <a:ext uri="{FF2B5EF4-FFF2-40B4-BE49-F238E27FC236}">
                <a16:creationId xmlns:a16="http://schemas.microsoft.com/office/drawing/2014/main" id="{0B060C24-A65F-4C98-B918-4E2E57F4D7F8}"/>
              </a:ext>
            </a:extLst>
          </p:cNvPr>
          <p:cNvSpPr>
            <a:spLocks noGrp="1"/>
          </p:cNvSpPr>
          <p:nvPr>
            <p:ph type="ftr" sz="quarter" idx="11"/>
          </p:nvPr>
        </p:nvSpPr>
        <p:spPr>
          <a:xfrm>
            <a:off x="521553" y="6472835"/>
            <a:ext cx="6273800" cy="225817"/>
          </a:xfrm>
        </p:spPr>
        <p:txBody>
          <a:bodyPr/>
          <a:lstStyle/>
          <a:p>
            <a:r>
              <a:rPr lang="nl-NL"/>
              <a:t>Zilveren Kruis | Naam presentatie</a:t>
            </a:r>
            <a:endParaRPr lang="nl-NL" dirty="0"/>
          </a:p>
        </p:txBody>
      </p:sp>
      <p:sp>
        <p:nvSpPr>
          <p:cNvPr id="14" name="Tijdelijke aanduiding voor dianummer 5">
            <a:extLst>
              <a:ext uri="{FF2B5EF4-FFF2-40B4-BE49-F238E27FC236}">
                <a16:creationId xmlns:a16="http://schemas.microsoft.com/office/drawing/2014/main" id="{1874027E-5CD5-452C-8F2B-DA019268F12B}"/>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grpSp>
        <p:nvGrpSpPr>
          <p:cNvPr id="9" name="INSTRUCTIE">
            <a:extLst>
              <a:ext uri="{FF2B5EF4-FFF2-40B4-BE49-F238E27FC236}">
                <a16:creationId xmlns:a16="http://schemas.microsoft.com/office/drawing/2014/main" id="{4CA0EFD7-6DA4-4947-84EB-96385C3F0A83}"/>
              </a:ext>
            </a:extLst>
          </p:cNvPr>
          <p:cNvGrpSpPr/>
          <p:nvPr userDrawn="1"/>
        </p:nvGrpSpPr>
        <p:grpSpPr>
          <a:xfrm>
            <a:off x="8469641" y="7033211"/>
            <a:ext cx="3727954" cy="1728407"/>
            <a:chOff x="5846" y="7033211"/>
            <a:chExt cx="3727954" cy="1728407"/>
          </a:xfrm>
        </p:grpSpPr>
        <p:sp>
          <p:nvSpPr>
            <p:cNvPr id="10" name="Rechthoek 9">
              <a:extLst>
                <a:ext uri="{FF2B5EF4-FFF2-40B4-BE49-F238E27FC236}">
                  <a16:creationId xmlns:a16="http://schemas.microsoft.com/office/drawing/2014/main" id="{C0D3B3BF-696B-4928-9F68-6803C733BF65}"/>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1" name="Ovaal 10">
              <a:extLst>
                <a:ext uri="{FF2B5EF4-FFF2-40B4-BE49-F238E27FC236}">
                  <a16:creationId xmlns:a16="http://schemas.microsoft.com/office/drawing/2014/main" id="{DED30F90-32A7-4752-8BAD-1480345767EA}"/>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5EABE074-373B-4B46-A4FB-6F82BA120CC7}"/>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Ovaal 14">
              <a:extLst>
                <a:ext uri="{FF2B5EF4-FFF2-40B4-BE49-F238E27FC236}">
                  <a16:creationId xmlns:a16="http://schemas.microsoft.com/office/drawing/2014/main" id="{19AAE50D-8957-47B7-89B6-7462F3EE0C9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BEC2B817-DBBB-4CD2-82D3-DC1750444165}"/>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7" name="Groep 16">
              <a:extLst>
                <a:ext uri="{FF2B5EF4-FFF2-40B4-BE49-F238E27FC236}">
                  <a16:creationId xmlns:a16="http://schemas.microsoft.com/office/drawing/2014/main" id="{8D69496F-3B2C-4E79-B09B-80C9D1AE49F7}"/>
                </a:ext>
              </a:extLst>
            </p:cNvPr>
            <p:cNvGrpSpPr/>
            <p:nvPr userDrawn="1"/>
          </p:nvGrpSpPr>
          <p:grpSpPr>
            <a:xfrm>
              <a:off x="2939884" y="7739834"/>
              <a:ext cx="681133" cy="750023"/>
              <a:chOff x="-910573" y="4987990"/>
              <a:chExt cx="681133" cy="750023"/>
            </a:xfrm>
          </p:grpSpPr>
          <p:grpSp>
            <p:nvGrpSpPr>
              <p:cNvPr id="18" name="Groep 17">
                <a:extLst>
                  <a:ext uri="{FF2B5EF4-FFF2-40B4-BE49-F238E27FC236}">
                    <a16:creationId xmlns:a16="http://schemas.microsoft.com/office/drawing/2014/main" id="{CACFE921-F3AE-40E3-AA9C-D63E24E1B7FB}"/>
                  </a:ext>
                </a:extLst>
              </p:cNvPr>
              <p:cNvGrpSpPr/>
              <p:nvPr userDrawn="1"/>
            </p:nvGrpSpPr>
            <p:grpSpPr>
              <a:xfrm>
                <a:off x="-713542" y="4987990"/>
                <a:ext cx="287071" cy="379107"/>
                <a:chOff x="-4050578" y="288410"/>
                <a:chExt cx="322125" cy="379107"/>
              </a:xfrm>
            </p:grpSpPr>
            <p:sp>
              <p:nvSpPr>
                <p:cNvPr id="20" name="Rechthoek met één afgeknipte en afgeronde hoek 47">
                  <a:extLst>
                    <a:ext uri="{FF2B5EF4-FFF2-40B4-BE49-F238E27FC236}">
                      <a16:creationId xmlns:a16="http://schemas.microsoft.com/office/drawing/2014/main" id="{EAD6C904-ED2D-4AFF-8CFD-E2EA85AE16C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1" name="Rechthoekige driehoek 20">
                  <a:extLst>
                    <a:ext uri="{FF2B5EF4-FFF2-40B4-BE49-F238E27FC236}">
                      <a16:creationId xmlns:a16="http://schemas.microsoft.com/office/drawing/2014/main" id="{5FA13914-B134-4086-ADE2-A5B5F4E60BA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2" name="Rechthoek 21">
                  <a:extLst>
                    <a:ext uri="{FF2B5EF4-FFF2-40B4-BE49-F238E27FC236}">
                      <a16:creationId xmlns:a16="http://schemas.microsoft.com/office/drawing/2014/main" id="{56257072-626A-45FB-AEFD-315E3ADDC5E0}"/>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3" name="Rechthoek 22">
                  <a:extLst>
                    <a:ext uri="{FF2B5EF4-FFF2-40B4-BE49-F238E27FC236}">
                      <a16:creationId xmlns:a16="http://schemas.microsoft.com/office/drawing/2014/main" id="{CE1FF1D6-F197-4FC9-8AE5-252EF3E6846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9" name="Rechthoek 18">
                <a:extLst>
                  <a:ext uri="{FF2B5EF4-FFF2-40B4-BE49-F238E27FC236}">
                    <a16:creationId xmlns:a16="http://schemas.microsoft.com/office/drawing/2014/main" id="{F6E1CE58-839A-435D-9AEB-D4A5CE2770F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24" name="Tijdelijke aanduiding voor verticale tekst 2">
            <a:extLst>
              <a:ext uri="{FF2B5EF4-FFF2-40B4-BE49-F238E27FC236}">
                <a16:creationId xmlns:a16="http://schemas.microsoft.com/office/drawing/2014/main" id="{A9721B8D-FE34-4F36-B371-87CACFB2E542}"/>
              </a:ext>
            </a:extLst>
          </p:cNvPr>
          <p:cNvSpPr>
            <a:spLocks noGrp="1"/>
          </p:cNvSpPr>
          <p:nvPr>
            <p:ph type="body" orient="vert" idx="1" hasCustomPrompt="1"/>
          </p:nvPr>
        </p:nvSpPr>
        <p:spPr>
          <a:xfrm>
            <a:off x="515941" y="1347275"/>
            <a:ext cx="6904034" cy="4993200"/>
          </a:xfrm>
        </p:spPr>
        <p:txBody>
          <a:bodyPr vert="horz" lIns="0" tIns="0" rIns="0" bIns="0"/>
          <a:lstStyle>
            <a:lvl1pPr>
              <a:defRPr/>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25" name="Titel 3">
            <a:extLst>
              <a:ext uri="{FF2B5EF4-FFF2-40B4-BE49-F238E27FC236}">
                <a16:creationId xmlns:a16="http://schemas.microsoft.com/office/drawing/2014/main" id="{613BDF79-579D-4D89-976D-9928B131CD79}"/>
              </a:ext>
            </a:extLst>
          </p:cNvPr>
          <p:cNvSpPr>
            <a:spLocks noGrp="1"/>
          </p:cNvSpPr>
          <p:nvPr>
            <p:ph type="title" hasCustomPrompt="1"/>
          </p:nvPr>
        </p:nvSpPr>
        <p:spPr>
          <a:xfrm>
            <a:off x="515941" y="517525"/>
            <a:ext cx="6904034" cy="488950"/>
          </a:xfrm>
        </p:spPr>
        <p:txBody>
          <a:bodyPr/>
          <a:lstStyle>
            <a:lvl1pPr>
              <a:defRPr/>
            </a:lvl1pPr>
          </a:lstStyle>
          <a:p>
            <a:r>
              <a:rPr lang="nl-NL" dirty="0"/>
              <a:t>Plaats hier je titel</a:t>
            </a:r>
          </a:p>
        </p:txBody>
      </p:sp>
      <p:sp>
        <p:nvSpPr>
          <p:cNvPr id="26" name="Tijdelijke aanduiding voor tekst 7">
            <a:extLst>
              <a:ext uri="{FF2B5EF4-FFF2-40B4-BE49-F238E27FC236}">
                <a16:creationId xmlns:a16="http://schemas.microsoft.com/office/drawing/2014/main" id="{32C8B834-DE6D-4B10-8F6D-C4E2C90D9845}"/>
              </a:ext>
            </a:extLst>
          </p:cNvPr>
          <p:cNvSpPr>
            <a:spLocks noGrp="1"/>
          </p:cNvSpPr>
          <p:nvPr>
            <p:ph type="body" sz="quarter" idx="13" hasCustomPrompt="1"/>
          </p:nvPr>
        </p:nvSpPr>
        <p:spPr>
          <a:xfrm>
            <a:off x="8469641" y="1676401"/>
            <a:ext cx="2934038" cy="3248024"/>
          </a:xfrm>
        </p:spPr>
        <p:txBody>
          <a:bodyPr anchor="ctr" anchorCtr="0"/>
          <a:lstStyle>
            <a:lvl1pPr marL="0" indent="0" algn="l" defTabSz="914400" rtl="0" eaLnBrk="1" latinLnBrk="0" hangingPunct="1">
              <a:lnSpc>
                <a:spcPct val="90000"/>
              </a:lnSpc>
              <a:spcBef>
                <a:spcPct val="0"/>
              </a:spcBef>
              <a:buNone/>
              <a:tabLst>
                <a:tab pos="1255713" algn="l"/>
              </a:tabLst>
              <a:defRPr lang="nl-NL" sz="3200" b="1" kern="1200" dirty="0" smtClean="0">
                <a:solidFill>
                  <a:schemeClr val="tx2"/>
                </a:solidFill>
                <a:latin typeface="+mj-lt"/>
                <a:ea typeface="+mj-ea"/>
                <a:cs typeface="+mj-cs"/>
              </a:defRPr>
            </a:lvl1pPr>
            <a:lvl2pPr marL="263525" indent="0">
              <a:buNone/>
              <a:defRPr/>
            </a:lvl2pPr>
          </a:lstStyle>
          <a:p>
            <a:pPr lvl="0"/>
            <a:r>
              <a:rPr lang="nl-NL" dirty="0"/>
              <a:t>“Plaats hier </a:t>
            </a:r>
            <a:br>
              <a:rPr lang="nl-NL" dirty="0"/>
            </a:br>
            <a:r>
              <a:rPr lang="nl-NL" dirty="0"/>
              <a:t>  je Quote”</a:t>
            </a:r>
          </a:p>
        </p:txBody>
      </p:sp>
    </p:spTree>
    <p:extLst>
      <p:ext uri="{BB962C8B-B14F-4D97-AF65-F5344CB8AC3E}">
        <p14:creationId xmlns:p14="http://schemas.microsoft.com/office/powerpoint/2010/main" val="423963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geel">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81C4E920-A8F2-4AF5-B88B-93AAB0D4A5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13" y="0"/>
            <a:ext cx="12180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jdelijke aanduiding voor inhoud 2"/>
          <p:cNvSpPr>
            <a:spLocks noGrp="1"/>
          </p:cNvSpPr>
          <p:nvPr>
            <p:ph idx="1"/>
          </p:nvPr>
        </p:nvSpPr>
        <p:spPr>
          <a:xfrm>
            <a:off x="1730326" y="2419643"/>
            <a:ext cx="8975188" cy="329184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B1A24335-45BE-45AB-A86C-20E11922321D}"/>
              </a:ext>
            </a:extLst>
          </p:cNvPr>
          <p:cNvSpPr>
            <a:spLocks noGrp="1"/>
          </p:cNvSpPr>
          <p:nvPr>
            <p:ph type="dt" sz="half" idx="10"/>
          </p:nvPr>
        </p:nvSpPr>
        <p:spPr/>
        <p:txBody>
          <a:bodyPr/>
          <a:lstStyle>
            <a:lvl1pPr>
              <a:defRPr smtClean="0">
                <a:solidFill>
                  <a:schemeClr val="bg1"/>
                </a:solidFill>
              </a:defRPr>
            </a:lvl1pPr>
          </a:lstStyle>
          <a:p>
            <a:pPr>
              <a:defRPr/>
            </a:pPr>
            <a:fld id="{89B8528D-6A3D-4296-BA80-4CD60155B4D5}" type="datetimeFigureOut">
              <a:rPr lang="nl-NL"/>
              <a:pPr>
                <a:defRPr/>
              </a:pPr>
              <a:t>28-9-2022</a:t>
            </a:fld>
            <a:endParaRPr lang="nl-NL" dirty="0"/>
          </a:p>
        </p:txBody>
      </p:sp>
      <p:sp>
        <p:nvSpPr>
          <p:cNvPr id="5" name="Tijdelijke aanduiding voor voettekst 4">
            <a:extLst>
              <a:ext uri="{FF2B5EF4-FFF2-40B4-BE49-F238E27FC236}">
                <a16:creationId xmlns:a16="http://schemas.microsoft.com/office/drawing/2014/main" id="{B379CC4C-A742-4F7B-BD0C-3D4E4F30001D}"/>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5">
            <a:extLst>
              <a:ext uri="{FF2B5EF4-FFF2-40B4-BE49-F238E27FC236}">
                <a16:creationId xmlns:a16="http://schemas.microsoft.com/office/drawing/2014/main" id="{3F1A792B-862C-4367-8336-1C1C5729C634}"/>
              </a:ext>
            </a:extLst>
          </p:cNvPr>
          <p:cNvSpPr>
            <a:spLocks noGrp="1"/>
          </p:cNvSpPr>
          <p:nvPr>
            <p:ph type="sldNum" sz="quarter" idx="12"/>
          </p:nvPr>
        </p:nvSpPr>
        <p:spPr/>
        <p:txBody>
          <a:bodyPr/>
          <a:lstStyle>
            <a:lvl1pPr>
              <a:defRPr smtClean="0">
                <a:solidFill>
                  <a:schemeClr val="bg1"/>
                </a:solidFill>
              </a:defRPr>
            </a:lvl1pPr>
          </a:lstStyle>
          <a:p>
            <a:pPr>
              <a:defRPr/>
            </a:pPr>
            <a:fld id="{043C339A-4F2D-457E-BC47-B1D6B093845A}" type="slidenum">
              <a:rPr lang="nl-NL"/>
              <a:pPr>
                <a:defRPr/>
              </a:pPr>
              <a:t>‹nr.›</a:t>
            </a:fld>
            <a:endParaRPr lang="nl-NL" dirty="0"/>
          </a:p>
        </p:txBody>
      </p:sp>
    </p:spTree>
    <p:extLst>
      <p:ext uri="{BB962C8B-B14F-4D97-AF65-F5344CB8AC3E}">
        <p14:creationId xmlns:p14="http://schemas.microsoft.com/office/powerpoint/2010/main" val="4033656746"/>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ie zijn we">
    <p:spTree>
      <p:nvGrpSpPr>
        <p:cNvPr id="1" name=""/>
        <p:cNvGrpSpPr/>
        <p:nvPr/>
      </p:nvGrpSpPr>
      <p:grpSpPr>
        <a:xfrm>
          <a:off x="0" y="0"/>
          <a:ext cx="0" cy="0"/>
          <a:chOff x="0" y="0"/>
          <a:chExt cx="0" cy="0"/>
        </a:xfrm>
      </p:grpSpPr>
      <p:sp>
        <p:nvSpPr>
          <p:cNvPr id="20" name="Pijl: vijfhoek 19">
            <a:extLst>
              <a:ext uri="{FF2B5EF4-FFF2-40B4-BE49-F238E27FC236}">
                <a16:creationId xmlns:a16="http://schemas.microsoft.com/office/drawing/2014/main" id="{6B6452CB-1F48-42D0-82B4-C021D4EC6932}"/>
              </a:ext>
            </a:extLst>
          </p:cNvPr>
          <p:cNvSpPr/>
          <p:nvPr userDrawn="1"/>
        </p:nvSpPr>
        <p:spPr>
          <a:xfrm>
            <a:off x="515941" y="3180337"/>
            <a:ext cx="5453315" cy="3178892"/>
          </a:xfrm>
          <a:prstGeom prst="homePlate">
            <a:avLst>
              <a:gd name="adj" fmla="val 10951"/>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Tijdelijke aanduiding voor afbeelding 23">
            <a:extLst>
              <a:ext uri="{FF2B5EF4-FFF2-40B4-BE49-F238E27FC236}">
                <a16:creationId xmlns:a16="http://schemas.microsoft.com/office/drawing/2014/main" id="{D6977089-36FE-437D-9F8A-3D5B6C19BAB1}"/>
              </a:ext>
            </a:extLst>
          </p:cNvPr>
          <p:cNvSpPr>
            <a:spLocks noGrp="1"/>
          </p:cNvSpPr>
          <p:nvPr>
            <p:ph type="pic" sz="quarter" idx="14" hasCustomPrompt="1"/>
          </p:nvPr>
        </p:nvSpPr>
        <p:spPr>
          <a:xfrm>
            <a:off x="6217131" y="3185214"/>
            <a:ext cx="5453315" cy="3155260"/>
          </a:xfrm>
          <a:custGeom>
            <a:avLst/>
            <a:gdLst>
              <a:gd name="connsiteX0" fmla="*/ 347052 w 5453315"/>
              <a:gd name="connsiteY0" fmla="*/ 0 h 3155260"/>
              <a:gd name="connsiteX1" fmla="*/ 5453315 w 5453315"/>
              <a:gd name="connsiteY1" fmla="*/ 0 h 3155260"/>
              <a:gd name="connsiteX2" fmla="*/ 5453315 w 5453315"/>
              <a:gd name="connsiteY2" fmla="*/ 3155260 h 3155260"/>
              <a:gd name="connsiteX3" fmla="*/ 344013 w 5453315"/>
              <a:gd name="connsiteY3" fmla="*/ 3155260 h 3155260"/>
              <a:gd name="connsiteX4" fmla="*/ 0 w 5453315"/>
              <a:gd name="connsiteY4" fmla="*/ 1584569 h 3155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3315" h="3155260">
                <a:moveTo>
                  <a:pt x="347052" y="0"/>
                </a:moveTo>
                <a:lnTo>
                  <a:pt x="5453315" y="0"/>
                </a:lnTo>
                <a:lnTo>
                  <a:pt x="5453315" y="3155260"/>
                </a:lnTo>
                <a:lnTo>
                  <a:pt x="344013" y="3155260"/>
                </a:lnTo>
                <a:lnTo>
                  <a:pt x="0" y="1584569"/>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p:txBody>
      </p:sp>
      <p:sp>
        <p:nvSpPr>
          <p:cNvPr id="2" name="Titel 1">
            <a:extLst>
              <a:ext uri="{FF2B5EF4-FFF2-40B4-BE49-F238E27FC236}">
                <a16:creationId xmlns:a16="http://schemas.microsoft.com/office/drawing/2014/main" id="{D689F918-99E7-4461-B27B-8AD559BD99D5}"/>
              </a:ext>
            </a:extLst>
          </p:cNvPr>
          <p:cNvSpPr>
            <a:spLocks noGrp="1"/>
          </p:cNvSpPr>
          <p:nvPr>
            <p:ph type="title" hasCustomPrompt="1"/>
          </p:nvPr>
        </p:nvSpPr>
        <p:spPr>
          <a:xfrm>
            <a:off x="515941" y="533897"/>
            <a:ext cx="11155352" cy="488950"/>
          </a:xfrm>
        </p:spPr>
        <p:txBody>
          <a:bodyPr/>
          <a:lstStyle>
            <a:lvl1pPr>
              <a:defRPr/>
            </a:lvl1pPr>
          </a:lstStyle>
          <a:p>
            <a:r>
              <a:rPr lang="nl-NL" dirty="0"/>
              <a:t>Plaats hier je titel</a:t>
            </a:r>
          </a:p>
        </p:txBody>
      </p:sp>
      <p:sp>
        <p:nvSpPr>
          <p:cNvPr id="3" name="Tijdelijke aanduiding voor voettekst 2">
            <a:extLst>
              <a:ext uri="{FF2B5EF4-FFF2-40B4-BE49-F238E27FC236}">
                <a16:creationId xmlns:a16="http://schemas.microsoft.com/office/drawing/2014/main" id="{37E27D27-317C-49FB-A1E1-D30D2417F626}"/>
              </a:ext>
            </a:extLst>
          </p:cNvPr>
          <p:cNvSpPr>
            <a:spLocks noGrp="1"/>
          </p:cNvSpPr>
          <p:nvPr>
            <p:ph type="ftr" sz="quarter" idx="10"/>
          </p:nvPr>
        </p:nvSpPr>
        <p:spPr/>
        <p:txBody>
          <a:bodyPr/>
          <a:lstStyle/>
          <a:p>
            <a:r>
              <a:rPr lang="nl-NL"/>
              <a:t>Zilveren Kruis | Naam presentatie</a:t>
            </a:r>
            <a:endParaRPr lang="nl-NL" dirty="0"/>
          </a:p>
        </p:txBody>
      </p:sp>
      <p:sp>
        <p:nvSpPr>
          <p:cNvPr id="4" name="Tijdelijke aanduiding voor dianummer 3">
            <a:extLst>
              <a:ext uri="{FF2B5EF4-FFF2-40B4-BE49-F238E27FC236}">
                <a16:creationId xmlns:a16="http://schemas.microsoft.com/office/drawing/2014/main" id="{62F4A894-4658-40FC-A153-D32A2CE4F75B}"/>
              </a:ext>
            </a:extLst>
          </p:cNvPr>
          <p:cNvSpPr>
            <a:spLocks noGrp="1"/>
          </p:cNvSpPr>
          <p:nvPr>
            <p:ph type="sldNum" sz="quarter" idx="11"/>
          </p:nvPr>
        </p:nvSpPr>
        <p:spPr/>
        <p:txBody>
          <a:bodyPr/>
          <a:lstStyle/>
          <a:p>
            <a:fld id="{B502C9A5-716F-45E6-800B-D4D02CE26F90}" type="slidenum">
              <a:rPr lang="nl-NL" smtClean="0"/>
              <a:pPr/>
              <a:t>‹nr.›</a:t>
            </a:fld>
            <a:endParaRPr lang="nl-NL" dirty="0"/>
          </a:p>
        </p:txBody>
      </p:sp>
      <p:sp>
        <p:nvSpPr>
          <p:cNvPr id="16" name="Tijdelijke aanduiding voor tekst 15">
            <a:extLst>
              <a:ext uri="{FF2B5EF4-FFF2-40B4-BE49-F238E27FC236}">
                <a16:creationId xmlns:a16="http://schemas.microsoft.com/office/drawing/2014/main" id="{39FC6612-D33B-4F90-A8FA-0C32CB9BD5BA}"/>
              </a:ext>
            </a:extLst>
          </p:cNvPr>
          <p:cNvSpPr>
            <a:spLocks noGrp="1"/>
          </p:cNvSpPr>
          <p:nvPr userDrawn="1">
            <p:ph type="body" sz="quarter" idx="12" hasCustomPrompt="1"/>
          </p:nvPr>
        </p:nvSpPr>
        <p:spPr>
          <a:xfrm>
            <a:off x="515937" y="1252873"/>
            <a:ext cx="11154509" cy="1699877"/>
          </a:xfrm>
        </p:spPr>
        <p:txBody>
          <a:bodyPr/>
          <a:lstStyle>
            <a:lvl1pPr marL="0" marR="0" indent="0" algn="l" defTabSz="719138" rtl="0" eaLnBrk="1" fontAlgn="auto" latinLnBrk="0" hangingPunct="1">
              <a:lnSpc>
                <a:spcPct val="80000"/>
              </a:lnSpc>
              <a:spcBef>
                <a:spcPts val="0"/>
              </a:spcBef>
              <a:spcAft>
                <a:spcPts val="1100"/>
              </a:spcAft>
              <a:buClrTx/>
              <a:buSzPct val="100000"/>
              <a:buFont typeface="Segoe UI Light" panose="020B0502040204020203" pitchFamily="34" charset="0"/>
              <a:buNone/>
              <a:tabLst/>
              <a:defRPr/>
            </a:lvl1pPr>
            <a:lvl2pPr marL="263525" indent="0">
              <a:buNone/>
              <a:defRPr/>
            </a:lvl2pPr>
          </a:lstStyle>
          <a:p>
            <a:pPr marL="0" marR="0" lvl="0" indent="0" algn="l" defTabSz="719138" rtl="0" eaLnBrk="1" fontAlgn="auto" latinLnBrk="0" hangingPunct="1">
              <a:lnSpc>
                <a:spcPct val="80000"/>
              </a:lnSpc>
              <a:spcBef>
                <a:spcPts val="0"/>
              </a:spcBef>
              <a:spcAft>
                <a:spcPts val="1100"/>
              </a:spcAft>
              <a:buClrTx/>
              <a:buSzPct val="100000"/>
              <a:buFont typeface="Segoe UI Light" panose="020B0502040204020203" pitchFamily="34" charset="0"/>
              <a:buNone/>
              <a:tabLst/>
              <a:defRPr/>
            </a:pPr>
            <a:r>
              <a:rPr lang="nl-NL" sz="1600" b="1" dirty="0">
                <a:solidFill>
                  <a:schemeClr val="accent1"/>
                </a:solidFill>
              </a:rPr>
              <a:t>Plaats hier je subtitel</a:t>
            </a:r>
          </a:p>
          <a:p>
            <a:pPr lvl="0"/>
            <a:r>
              <a:rPr lang="nl-NL" dirty="0"/>
              <a:t>Klikken om de tekststijl van het model te bewerken</a:t>
            </a:r>
          </a:p>
        </p:txBody>
      </p:sp>
      <p:sp>
        <p:nvSpPr>
          <p:cNvPr id="26" name="Tijdelijke aanduiding voor tekst 25">
            <a:extLst>
              <a:ext uri="{FF2B5EF4-FFF2-40B4-BE49-F238E27FC236}">
                <a16:creationId xmlns:a16="http://schemas.microsoft.com/office/drawing/2014/main" id="{05EC46D7-8B9B-4C27-B76F-92ED44234D23}"/>
              </a:ext>
            </a:extLst>
          </p:cNvPr>
          <p:cNvSpPr>
            <a:spLocks noGrp="1"/>
          </p:cNvSpPr>
          <p:nvPr>
            <p:ph type="body" sz="quarter" idx="15" hasCustomPrompt="1"/>
          </p:nvPr>
        </p:nvSpPr>
        <p:spPr>
          <a:xfrm>
            <a:off x="850900" y="4011458"/>
            <a:ext cx="4478338" cy="1502772"/>
          </a:xfrm>
        </p:spPr>
        <p:txBody>
          <a:bodyPr anchor="t" anchorCtr="0"/>
          <a:lstStyle>
            <a:lvl1pPr marL="182563" indent="-182563" algn="l">
              <a:lnSpc>
                <a:spcPct val="90000"/>
              </a:lnSpc>
              <a:buNone/>
              <a:defRPr sz="3000" b="1"/>
            </a:lvl1pPr>
          </a:lstStyle>
          <a:p>
            <a:pPr lvl="0"/>
            <a:r>
              <a:rPr lang="nl-NL" dirty="0"/>
              <a:t>“Plaats hier je quote”</a:t>
            </a:r>
          </a:p>
        </p:txBody>
      </p:sp>
      <p:grpSp>
        <p:nvGrpSpPr>
          <p:cNvPr id="10" name="INSTRUCTIE">
            <a:extLst>
              <a:ext uri="{FF2B5EF4-FFF2-40B4-BE49-F238E27FC236}">
                <a16:creationId xmlns:a16="http://schemas.microsoft.com/office/drawing/2014/main" id="{4C9F5B66-C3A8-4676-A0F3-49A0B3D7FA79}"/>
              </a:ext>
            </a:extLst>
          </p:cNvPr>
          <p:cNvGrpSpPr/>
          <p:nvPr userDrawn="1"/>
        </p:nvGrpSpPr>
        <p:grpSpPr>
          <a:xfrm>
            <a:off x="8469641" y="7033211"/>
            <a:ext cx="3727954" cy="1728407"/>
            <a:chOff x="5846" y="7033211"/>
            <a:chExt cx="3727954" cy="1728407"/>
          </a:xfrm>
        </p:grpSpPr>
        <p:sp>
          <p:nvSpPr>
            <p:cNvPr id="11" name="Rechthoek 10">
              <a:extLst>
                <a:ext uri="{FF2B5EF4-FFF2-40B4-BE49-F238E27FC236}">
                  <a16:creationId xmlns:a16="http://schemas.microsoft.com/office/drawing/2014/main" id="{1F38EAFD-FFA7-4170-9A4C-8BBA8334552F}"/>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2" name="Ovaal 11">
              <a:extLst>
                <a:ext uri="{FF2B5EF4-FFF2-40B4-BE49-F238E27FC236}">
                  <a16:creationId xmlns:a16="http://schemas.microsoft.com/office/drawing/2014/main" id="{BA4B7DF9-6EBA-4D3A-B16B-B69C5DC4658D}"/>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82E5FCAF-66BF-4519-A064-777788F6871E}"/>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89284EF8-D86C-4259-B388-6C72290B5EC1}"/>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BA3EB2FA-1622-4B65-ADAE-7CBCAF990F8C}"/>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7" name="Groep 16">
              <a:extLst>
                <a:ext uri="{FF2B5EF4-FFF2-40B4-BE49-F238E27FC236}">
                  <a16:creationId xmlns:a16="http://schemas.microsoft.com/office/drawing/2014/main" id="{BDC46CB9-8F7E-4A7E-AA6F-B8B707347A82}"/>
                </a:ext>
              </a:extLst>
            </p:cNvPr>
            <p:cNvGrpSpPr/>
            <p:nvPr userDrawn="1"/>
          </p:nvGrpSpPr>
          <p:grpSpPr>
            <a:xfrm>
              <a:off x="2939884" y="7739834"/>
              <a:ext cx="681133" cy="750023"/>
              <a:chOff x="-910573" y="4987990"/>
              <a:chExt cx="681133" cy="750023"/>
            </a:xfrm>
          </p:grpSpPr>
          <p:grpSp>
            <p:nvGrpSpPr>
              <p:cNvPr id="19" name="Groep 18">
                <a:extLst>
                  <a:ext uri="{FF2B5EF4-FFF2-40B4-BE49-F238E27FC236}">
                    <a16:creationId xmlns:a16="http://schemas.microsoft.com/office/drawing/2014/main" id="{2C4B941B-E163-4383-8AD7-0C99AD9096EB}"/>
                  </a:ext>
                </a:extLst>
              </p:cNvPr>
              <p:cNvGrpSpPr/>
              <p:nvPr userDrawn="1"/>
            </p:nvGrpSpPr>
            <p:grpSpPr>
              <a:xfrm>
                <a:off x="-713542" y="4987990"/>
                <a:ext cx="287071" cy="379107"/>
                <a:chOff x="-4050578" y="288410"/>
                <a:chExt cx="322125" cy="379107"/>
              </a:xfrm>
            </p:grpSpPr>
            <p:sp>
              <p:nvSpPr>
                <p:cNvPr id="22" name="Rechthoek met één afgeknipte en afgeronde hoek 47">
                  <a:extLst>
                    <a:ext uri="{FF2B5EF4-FFF2-40B4-BE49-F238E27FC236}">
                      <a16:creationId xmlns:a16="http://schemas.microsoft.com/office/drawing/2014/main" id="{134FC71F-1B43-4A7B-ACCC-0845788427BD}"/>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3" name="Rechthoekige driehoek 22">
                  <a:extLst>
                    <a:ext uri="{FF2B5EF4-FFF2-40B4-BE49-F238E27FC236}">
                      <a16:creationId xmlns:a16="http://schemas.microsoft.com/office/drawing/2014/main" id="{6C53F48C-D97C-4B64-8EC4-F129AD2A96A0}"/>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5" name="Rechthoek 24">
                  <a:extLst>
                    <a:ext uri="{FF2B5EF4-FFF2-40B4-BE49-F238E27FC236}">
                      <a16:creationId xmlns:a16="http://schemas.microsoft.com/office/drawing/2014/main" id="{DEA2B1BE-9FDB-41BE-BEC8-B44006650D8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7" name="Rechthoek 26">
                  <a:extLst>
                    <a:ext uri="{FF2B5EF4-FFF2-40B4-BE49-F238E27FC236}">
                      <a16:creationId xmlns:a16="http://schemas.microsoft.com/office/drawing/2014/main" id="{CCDDD47D-53A0-488B-902C-EEC2A5DB40C0}"/>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21" name="Rechthoek 20">
                <a:extLst>
                  <a:ext uri="{FF2B5EF4-FFF2-40B4-BE49-F238E27FC236}">
                    <a16:creationId xmlns:a16="http://schemas.microsoft.com/office/drawing/2014/main" id="{3350FE20-A1CD-424E-A825-37C99B65490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269037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oofdstukslide + foto">
    <p:spTree>
      <p:nvGrpSpPr>
        <p:cNvPr id="1" name=""/>
        <p:cNvGrpSpPr/>
        <p:nvPr/>
      </p:nvGrpSpPr>
      <p:grpSpPr>
        <a:xfrm>
          <a:off x="0" y="0"/>
          <a:ext cx="0" cy="0"/>
          <a:chOff x="0" y="0"/>
          <a:chExt cx="0" cy="0"/>
        </a:xfrm>
      </p:grpSpPr>
      <p:sp>
        <p:nvSpPr>
          <p:cNvPr id="93" name="Vrije vorm: vorm 92">
            <a:extLst>
              <a:ext uri="{FF2B5EF4-FFF2-40B4-BE49-F238E27FC236}">
                <a16:creationId xmlns:a16="http://schemas.microsoft.com/office/drawing/2014/main" id="{2283EC93-D09F-472C-A911-EE2C2FD388B5}"/>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214313" y="219075"/>
            <a:ext cx="11767696" cy="6419849"/>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
        <p:nvSpPr>
          <p:cNvPr id="2" name="Titel 1"/>
          <p:cNvSpPr>
            <a:spLocks noGrp="1"/>
          </p:cNvSpPr>
          <p:nvPr>
            <p:ph type="title" hasCustomPrompt="1"/>
          </p:nvPr>
        </p:nvSpPr>
        <p:spPr>
          <a:xfrm>
            <a:off x="1513490" y="1767900"/>
            <a:ext cx="4582510" cy="2994599"/>
          </a:xfrm>
        </p:spPr>
        <p:txBody>
          <a:bodyPr anchor="t"/>
          <a:lstStyle>
            <a:lvl1pPr>
              <a:defRPr sz="4000">
                <a:solidFill>
                  <a:schemeClr val="bg1"/>
                </a:solidFill>
              </a:defRPr>
            </a:lvl1pPr>
          </a:lstStyle>
          <a:p>
            <a:r>
              <a:rPr lang="nl-NL" dirty="0"/>
              <a:t>Plaats hier je hoofdstuktitel,</a:t>
            </a:r>
            <a:br>
              <a:rPr lang="nl-NL" dirty="0"/>
            </a:br>
            <a:r>
              <a:rPr lang="nl-NL" dirty="0"/>
              <a:t>de tekst is altijd links uitgelijnd.</a:t>
            </a:r>
            <a:br>
              <a:rPr lang="nl-NL" dirty="0"/>
            </a:br>
            <a:r>
              <a:rPr lang="nl-NL" dirty="0"/>
              <a:t>Max. 5 regels.</a:t>
            </a:r>
          </a:p>
        </p:txBody>
      </p:sp>
      <p:sp>
        <p:nvSpPr>
          <p:cNvPr id="61" name="Tijdelijke aanduiding voor verticale tekst 2">
            <a:extLst>
              <a:ext uri="{FF2B5EF4-FFF2-40B4-BE49-F238E27FC236}">
                <a16:creationId xmlns:a16="http://schemas.microsoft.com/office/drawing/2014/main" id="{487A4E41-9132-482B-A25D-CA95E1539AEA}"/>
              </a:ext>
            </a:extLst>
          </p:cNvPr>
          <p:cNvSpPr>
            <a:spLocks noGrp="1"/>
          </p:cNvSpPr>
          <p:nvPr>
            <p:ph type="body" orient="vert" idx="1" hasCustomPrompt="1"/>
          </p:nvPr>
        </p:nvSpPr>
        <p:spPr>
          <a:xfrm>
            <a:off x="710506" y="716352"/>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grpSp>
        <p:nvGrpSpPr>
          <p:cNvPr id="22" name="INSTRUCTIE">
            <a:extLst>
              <a:ext uri="{FF2B5EF4-FFF2-40B4-BE49-F238E27FC236}">
                <a16:creationId xmlns:a16="http://schemas.microsoft.com/office/drawing/2014/main" id="{4CA6877F-9337-446A-B59D-713B197C85CA}"/>
              </a:ext>
            </a:extLst>
          </p:cNvPr>
          <p:cNvGrpSpPr/>
          <p:nvPr userDrawn="1"/>
        </p:nvGrpSpPr>
        <p:grpSpPr>
          <a:xfrm>
            <a:off x="12377867" y="0"/>
            <a:ext cx="3593091" cy="5624863"/>
            <a:chOff x="-3786165" y="0"/>
            <a:chExt cx="3593091" cy="5624863"/>
          </a:xfrm>
        </p:grpSpPr>
        <p:sp>
          <p:nvSpPr>
            <p:cNvPr id="23" name="Rechthoek 22">
              <a:extLst>
                <a:ext uri="{FF2B5EF4-FFF2-40B4-BE49-F238E27FC236}">
                  <a16:creationId xmlns:a16="http://schemas.microsoft.com/office/drawing/2014/main" id="{69940256-B636-407C-A36F-81D10FF02420}"/>
                </a:ext>
              </a:extLst>
            </p:cNvPr>
            <p:cNvSpPr/>
            <p:nvPr userDrawn="1"/>
          </p:nvSpPr>
          <p:spPr>
            <a:xfrm>
              <a:off x="-3786165" y="0"/>
              <a:ext cx="3593091" cy="5624863"/>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4" name="Ovaal 23">
              <a:extLst>
                <a:ext uri="{FF2B5EF4-FFF2-40B4-BE49-F238E27FC236}">
                  <a16:creationId xmlns:a16="http://schemas.microsoft.com/office/drawing/2014/main" id="{B510A22D-7D17-4C78-A04D-2E1ECD03F76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5" name="Rechthoek 24">
              <a:extLst>
                <a:ext uri="{FF2B5EF4-FFF2-40B4-BE49-F238E27FC236}">
                  <a16:creationId xmlns:a16="http://schemas.microsoft.com/office/drawing/2014/main" id="{AF310A3B-F35B-406E-9FE0-73854C87FFF1}"/>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6" name="Groep 25">
              <a:extLst>
                <a:ext uri="{FF2B5EF4-FFF2-40B4-BE49-F238E27FC236}">
                  <a16:creationId xmlns:a16="http://schemas.microsoft.com/office/drawing/2014/main" id="{4FB2E033-AF83-4B97-88B1-2DAA958B33ED}"/>
                </a:ext>
              </a:extLst>
            </p:cNvPr>
            <p:cNvGrpSpPr/>
            <p:nvPr userDrawn="1"/>
          </p:nvGrpSpPr>
          <p:grpSpPr>
            <a:xfrm>
              <a:off x="-3316179" y="1231351"/>
              <a:ext cx="294789" cy="318834"/>
              <a:chOff x="14466489" y="1001522"/>
              <a:chExt cx="290627" cy="314333"/>
            </a:xfrm>
          </p:grpSpPr>
          <p:sp>
            <p:nvSpPr>
              <p:cNvPr id="74" name="Rechthoek 73">
                <a:extLst>
                  <a:ext uri="{FF2B5EF4-FFF2-40B4-BE49-F238E27FC236}">
                    <a16:creationId xmlns:a16="http://schemas.microsoft.com/office/drawing/2014/main" id="{BAF0CD82-B071-4815-B683-AC116B1037C1}"/>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5" name="Ovaal 74">
                <a:extLst>
                  <a:ext uri="{FF2B5EF4-FFF2-40B4-BE49-F238E27FC236}">
                    <a16:creationId xmlns:a16="http://schemas.microsoft.com/office/drawing/2014/main" id="{8C38C724-F48B-4E83-86D3-0D23020C2D0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6" name="Vrije vorm: vorm 75">
                <a:extLst>
                  <a:ext uri="{FF2B5EF4-FFF2-40B4-BE49-F238E27FC236}">
                    <a16:creationId xmlns:a16="http://schemas.microsoft.com/office/drawing/2014/main" id="{D424F71C-5C99-4C11-A311-2DBAADF3B16A}"/>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77" name="Rechthoek: afgeronde hoeken 76">
                <a:extLst>
                  <a:ext uri="{FF2B5EF4-FFF2-40B4-BE49-F238E27FC236}">
                    <a16:creationId xmlns:a16="http://schemas.microsoft.com/office/drawing/2014/main" id="{679C3995-C8A7-41F1-B591-219B95F99FA2}"/>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78" name="Rechte verbindingslijn 77">
                <a:extLst>
                  <a:ext uri="{FF2B5EF4-FFF2-40B4-BE49-F238E27FC236}">
                    <a16:creationId xmlns:a16="http://schemas.microsoft.com/office/drawing/2014/main" id="{1C921EE2-B7B9-403B-B823-4466B60AF7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id="{2E05EC7C-93A4-4668-860A-CA487197024F}"/>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7" name="Ovaal 26">
              <a:extLst>
                <a:ext uri="{FF2B5EF4-FFF2-40B4-BE49-F238E27FC236}">
                  <a16:creationId xmlns:a16="http://schemas.microsoft.com/office/drawing/2014/main" id="{C7495A6D-887C-491F-A93F-0EFA2A3C22A7}"/>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6BFF9703-A6E8-4AAE-A93A-682F3DE1DFF2}"/>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9" name="Groep 28">
              <a:extLst>
                <a:ext uri="{FF2B5EF4-FFF2-40B4-BE49-F238E27FC236}">
                  <a16:creationId xmlns:a16="http://schemas.microsoft.com/office/drawing/2014/main" id="{5BA8F0F8-5A12-4CA6-8B5C-ED93E416228A}"/>
                </a:ext>
              </a:extLst>
            </p:cNvPr>
            <p:cNvGrpSpPr/>
            <p:nvPr userDrawn="1"/>
          </p:nvGrpSpPr>
          <p:grpSpPr>
            <a:xfrm>
              <a:off x="-3311319" y="2164285"/>
              <a:ext cx="825500" cy="209550"/>
              <a:chOff x="13504624" y="2482850"/>
              <a:chExt cx="825500" cy="209550"/>
            </a:xfrm>
          </p:grpSpPr>
          <p:sp>
            <p:nvSpPr>
              <p:cNvPr id="71" name="Rechthoek 70">
                <a:extLst>
                  <a:ext uri="{FF2B5EF4-FFF2-40B4-BE49-F238E27FC236}">
                    <a16:creationId xmlns:a16="http://schemas.microsoft.com/office/drawing/2014/main" id="{77018C16-BD44-414B-B906-17BDD073EA5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2" name="Rechte verbindingslijn 71">
                <a:extLst>
                  <a:ext uri="{FF2B5EF4-FFF2-40B4-BE49-F238E27FC236}">
                    <a16:creationId xmlns:a16="http://schemas.microsoft.com/office/drawing/2014/main" id="{382D5ED5-F769-4D7B-8CA1-58F958D3C3E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3" name="Gelijkbenige driehoek 72">
                <a:extLst>
                  <a:ext uri="{FF2B5EF4-FFF2-40B4-BE49-F238E27FC236}">
                    <a16:creationId xmlns:a16="http://schemas.microsoft.com/office/drawing/2014/main" id="{A4B1C29E-B2CC-4980-831F-ED3D9BC6A629}"/>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0" name="Ovaal 29">
              <a:extLst>
                <a:ext uri="{FF2B5EF4-FFF2-40B4-BE49-F238E27FC236}">
                  <a16:creationId xmlns:a16="http://schemas.microsoft.com/office/drawing/2014/main" id="{449F8F44-C5A0-4D91-AC44-4C28141291FF}"/>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1" name="Rechthoek 30">
              <a:extLst>
                <a:ext uri="{FF2B5EF4-FFF2-40B4-BE49-F238E27FC236}">
                  <a16:creationId xmlns:a16="http://schemas.microsoft.com/office/drawing/2014/main" id="{02D8F805-FBDC-4060-A5E1-DF2E5948B5AD}"/>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2" name="Ovaal 31">
              <a:extLst>
                <a:ext uri="{FF2B5EF4-FFF2-40B4-BE49-F238E27FC236}">
                  <a16:creationId xmlns:a16="http://schemas.microsoft.com/office/drawing/2014/main" id="{B3CDF22B-612E-4D95-82FB-21C5220903CE}"/>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3" name="Rechthoek 32">
              <a:extLst>
                <a:ext uri="{FF2B5EF4-FFF2-40B4-BE49-F238E27FC236}">
                  <a16:creationId xmlns:a16="http://schemas.microsoft.com/office/drawing/2014/main" id="{76FAD9A9-55FB-48A8-A61D-A04C8C9A0F3F}"/>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4" name="Groep 33">
              <a:extLst>
                <a:ext uri="{FF2B5EF4-FFF2-40B4-BE49-F238E27FC236}">
                  <a16:creationId xmlns:a16="http://schemas.microsoft.com/office/drawing/2014/main" id="{F95ADA41-7484-4B9E-AB70-4DC9232B9206}"/>
                </a:ext>
              </a:extLst>
            </p:cNvPr>
            <p:cNvGrpSpPr/>
            <p:nvPr userDrawn="1"/>
          </p:nvGrpSpPr>
          <p:grpSpPr>
            <a:xfrm>
              <a:off x="-3408294" y="4834615"/>
              <a:ext cx="622283" cy="612919"/>
              <a:chOff x="12617641" y="3403239"/>
              <a:chExt cx="752963" cy="741634"/>
            </a:xfrm>
          </p:grpSpPr>
          <p:grpSp>
            <p:nvGrpSpPr>
              <p:cNvPr id="54" name="Groep 53">
                <a:extLst>
                  <a:ext uri="{FF2B5EF4-FFF2-40B4-BE49-F238E27FC236}">
                    <a16:creationId xmlns:a16="http://schemas.microsoft.com/office/drawing/2014/main" id="{1C013DC1-7732-4EFD-BA74-0C455355BA59}"/>
                  </a:ext>
                </a:extLst>
              </p:cNvPr>
              <p:cNvGrpSpPr/>
              <p:nvPr userDrawn="1"/>
            </p:nvGrpSpPr>
            <p:grpSpPr>
              <a:xfrm>
                <a:off x="12771550" y="3403239"/>
                <a:ext cx="467156" cy="448491"/>
                <a:chOff x="12782177" y="3403239"/>
                <a:chExt cx="467156" cy="448491"/>
              </a:xfrm>
            </p:grpSpPr>
            <p:grpSp>
              <p:nvGrpSpPr>
                <p:cNvPr id="57" name="Groep 56">
                  <a:extLst>
                    <a:ext uri="{FF2B5EF4-FFF2-40B4-BE49-F238E27FC236}">
                      <a16:creationId xmlns:a16="http://schemas.microsoft.com/office/drawing/2014/main" id="{B60E891D-4367-4DBA-A672-8CB97E861EB5}"/>
                    </a:ext>
                  </a:extLst>
                </p:cNvPr>
                <p:cNvGrpSpPr/>
                <p:nvPr userDrawn="1"/>
              </p:nvGrpSpPr>
              <p:grpSpPr>
                <a:xfrm>
                  <a:off x="12782177" y="3403239"/>
                  <a:ext cx="412972" cy="396132"/>
                  <a:chOff x="13554906" y="3320109"/>
                  <a:chExt cx="443912" cy="425811"/>
                </a:xfrm>
              </p:grpSpPr>
              <p:grpSp>
                <p:nvGrpSpPr>
                  <p:cNvPr id="65" name="Groep 64">
                    <a:extLst>
                      <a:ext uri="{FF2B5EF4-FFF2-40B4-BE49-F238E27FC236}">
                        <a16:creationId xmlns:a16="http://schemas.microsoft.com/office/drawing/2014/main" id="{3C8F1896-0675-4EC0-AF00-B0D3F61DAD67}"/>
                      </a:ext>
                    </a:extLst>
                  </p:cNvPr>
                  <p:cNvGrpSpPr/>
                  <p:nvPr userDrawn="1"/>
                </p:nvGrpSpPr>
                <p:grpSpPr>
                  <a:xfrm>
                    <a:off x="13554906" y="3320109"/>
                    <a:ext cx="443912" cy="425811"/>
                    <a:chOff x="12909684" y="1276143"/>
                    <a:chExt cx="443912" cy="425811"/>
                  </a:xfrm>
                </p:grpSpPr>
                <p:sp>
                  <p:nvSpPr>
                    <p:cNvPr id="68" name="Rechthoek 67">
                      <a:extLst>
                        <a:ext uri="{FF2B5EF4-FFF2-40B4-BE49-F238E27FC236}">
                          <a16:creationId xmlns:a16="http://schemas.microsoft.com/office/drawing/2014/main" id="{E4B1FEE6-A687-4CA2-ACC1-12BDD82792F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CC21C1F0-6E7D-4A72-B5BD-F2EAD55199E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0" name="Ovaal 69">
                      <a:extLst>
                        <a:ext uri="{FF2B5EF4-FFF2-40B4-BE49-F238E27FC236}">
                          <a16:creationId xmlns:a16="http://schemas.microsoft.com/office/drawing/2014/main" id="{28391B96-72C4-47A0-8F5A-00B076E8276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66" name="Afbeelding 65">
                    <a:extLst>
                      <a:ext uri="{FF2B5EF4-FFF2-40B4-BE49-F238E27FC236}">
                        <a16:creationId xmlns:a16="http://schemas.microsoft.com/office/drawing/2014/main" id="{183ADB42-A16A-49FB-8D3D-D4B06B216051}"/>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2"/>
                    <a:ext cx="173367" cy="140220"/>
                  </a:xfrm>
                  <a:prstGeom prst="rect">
                    <a:avLst/>
                  </a:prstGeom>
                </p:spPr>
              </p:pic>
              <p:pic>
                <p:nvPicPr>
                  <p:cNvPr id="67" name="Afbeelding 66">
                    <a:extLst>
                      <a:ext uri="{FF2B5EF4-FFF2-40B4-BE49-F238E27FC236}">
                        <a16:creationId xmlns:a16="http://schemas.microsoft.com/office/drawing/2014/main" id="{E458561D-FF11-4EA0-AEAD-51084FFA76C3}"/>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58" name="Groep 57">
                  <a:extLst>
                    <a:ext uri="{FF2B5EF4-FFF2-40B4-BE49-F238E27FC236}">
                      <a16:creationId xmlns:a16="http://schemas.microsoft.com/office/drawing/2014/main" id="{7F0207D8-6C9A-42CC-8A96-4F770025CE0F}"/>
                    </a:ext>
                  </a:extLst>
                </p:cNvPr>
                <p:cNvGrpSpPr/>
                <p:nvPr userDrawn="1"/>
              </p:nvGrpSpPr>
              <p:grpSpPr>
                <a:xfrm>
                  <a:off x="13103513" y="3705268"/>
                  <a:ext cx="145820" cy="146462"/>
                  <a:chOff x="13096169" y="3602278"/>
                  <a:chExt cx="145820" cy="146462"/>
                </a:xfrm>
              </p:grpSpPr>
              <p:sp>
                <p:nvSpPr>
                  <p:cNvPr id="63" name="Rechthoek 62">
                    <a:extLst>
                      <a:ext uri="{FF2B5EF4-FFF2-40B4-BE49-F238E27FC236}">
                        <a16:creationId xmlns:a16="http://schemas.microsoft.com/office/drawing/2014/main" id="{31ACEC3A-2082-4465-AE8A-15751F1D224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BCAA9EE2-0E5A-4C1A-931B-B43DA4C4312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1F2EEB95-0575-4781-B1A4-8A446AE64A13}"/>
                    </a:ext>
                  </a:extLst>
                </p:cNvPr>
                <p:cNvGrpSpPr/>
                <p:nvPr userDrawn="1"/>
              </p:nvGrpSpPr>
              <p:grpSpPr>
                <a:xfrm rot="10800000">
                  <a:off x="13061402" y="3665637"/>
                  <a:ext cx="145820" cy="146462"/>
                  <a:chOff x="13096169" y="3602278"/>
                  <a:chExt cx="145820" cy="146462"/>
                </a:xfrm>
              </p:grpSpPr>
              <p:sp>
                <p:nvSpPr>
                  <p:cNvPr id="60" name="Rechthoek 59">
                    <a:extLst>
                      <a:ext uri="{FF2B5EF4-FFF2-40B4-BE49-F238E27FC236}">
                        <a16:creationId xmlns:a16="http://schemas.microsoft.com/office/drawing/2014/main" id="{2251AB06-5FF1-4959-94C8-E87B83888CB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2" name="Rechthoek 61">
                    <a:extLst>
                      <a:ext uri="{FF2B5EF4-FFF2-40B4-BE49-F238E27FC236}">
                        <a16:creationId xmlns:a16="http://schemas.microsoft.com/office/drawing/2014/main" id="{630914B4-2B5F-4D41-AD5A-D808DAEE600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55" name="Rechthoek 54">
                <a:extLst>
                  <a:ext uri="{FF2B5EF4-FFF2-40B4-BE49-F238E27FC236}">
                    <a16:creationId xmlns:a16="http://schemas.microsoft.com/office/drawing/2014/main" id="{D9DC797A-7966-4787-94FF-F8CEB3CBD0E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56" name="Gelijkbenige driehoek 55">
                <a:extLst>
                  <a:ext uri="{FF2B5EF4-FFF2-40B4-BE49-F238E27FC236}">
                    <a16:creationId xmlns:a16="http://schemas.microsoft.com/office/drawing/2014/main" id="{1239D2EB-07C9-4D19-B9FC-15102DA1CF2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CC35A679-536E-49F0-967B-0310DC20BB25}"/>
                </a:ext>
              </a:extLst>
            </p:cNvPr>
            <p:cNvGrpSpPr/>
            <p:nvPr userDrawn="1"/>
          </p:nvGrpSpPr>
          <p:grpSpPr>
            <a:xfrm>
              <a:off x="-3314821" y="2981448"/>
              <a:ext cx="1558053" cy="563933"/>
              <a:chOff x="-3314821" y="2981448"/>
              <a:chExt cx="1558053" cy="563933"/>
            </a:xfrm>
          </p:grpSpPr>
          <p:sp>
            <p:nvSpPr>
              <p:cNvPr id="39" name="Rechthoek 38">
                <a:extLst>
                  <a:ext uri="{FF2B5EF4-FFF2-40B4-BE49-F238E27FC236}">
                    <a16:creationId xmlns:a16="http://schemas.microsoft.com/office/drawing/2014/main" id="{52171BC1-5E7D-4168-9452-4D61E3EF746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EFF32EFD-2A5A-424F-B93D-09B920E99117}"/>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41" name="Tekstvak 40">
                <a:extLst>
                  <a:ext uri="{FF2B5EF4-FFF2-40B4-BE49-F238E27FC236}">
                    <a16:creationId xmlns:a16="http://schemas.microsoft.com/office/drawing/2014/main" id="{6B2D4BE2-37F4-4627-AF0C-86054AFEC8F6}"/>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voorgrond</a:t>
                </a:r>
              </a:p>
            </p:txBody>
          </p:sp>
          <p:sp>
            <p:nvSpPr>
              <p:cNvPr id="42" name="Tekstvak 41">
                <a:extLst>
                  <a:ext uri="{FF2B5EF4-FFF2-40B4-BE49-F238E27FC236}">
                    <a16:creationId xmlns:a16="http://schemas.microsoft.com/office/drawing/2014/main" id="{2D5041ED-8E0A-4657-8668-376BE4D4ACD2}"/>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Naar achtergrond</a:t>
                </a:r>
              </a:p>
            </p:txBody>
          </p:sp>
          <p:sp>
            <p:nvSpPr>
              <p:cNvPr id="43" name="Vrije vorm: vorm 42">
                <a:extLst>
                  <a:ext uri="{FF2B5EF4-FFF2-40B4-BE49-F238E27FC236}">
                    <a16:creationId xmlns:a16="http://schemas.microsoft.com/office/drawing/2014/main" id="{123B18AC-44BD-490A-A5D3-FD8B4D7CB54C}"/>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sp>
            <p:nvSpPr>
              <p:cNvPr id="44" name="Gelijkbenige driehoek 43">
                <a:extLst>
                  <a:ext uri="{FF2B5EF4-FFF2-40B4-BE49-F238E27FC236}">
                    <a16:creationId xmlns:a16="http://schemas.microsoft.com/office/drawing/2014/main" id="{7838C905-D001-4721-978A-8FC09C9CA63C}"/>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5" name="Groep 44">
                <a:extLst>
                  <a:ext uri="{FF2B5EF4-FFF2-40B4-BE49-F238E27FC236}">
                    <a16:creationId xmlns:a16="http://schemas.microsoft.com/office/drawing/2014/main" id="{E7D93AE8-6CBD-419F-8942-D761BFEC2AEA}"/>
                  </a:ext>
                </a:extLst>
              </p:cNvPr>
              <p:cNvGrpSpPr/>
              <p:nvPr userDrawn="1"/>
            </p:nvGrpSpPr>
            <p:grpSpPr>
              <a:xfrm>
                <a:off x="-3257052" y="3032066"/>
                <a:ext cx="182309" cy="163794"/>
                <a:chOff x="12832541" y="3162395"/>
                <a:chExt cx="219532" cy="197236"/>
              </a:xfrm>
            </p:grpSpPr>
            <p:sp>
              <p:nvSpPr>
                <p:cNvPr id="50" name="Rechthoek 49">
                  <a:extLst>
                    <a:ext uri="{FF2B5EF4-FFF2-40B4-BE49-F238E27FC236}">
                      <a16:creationId xmlns:a16="http://schemas.microsoft.com/office/drawing/2014/main" id="{E1BCC782-D9BC-43C1-93D2-15F738A91674}"/>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969BD097-724A-49AC-B5FE-9AD773098F37}"/>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E75175D8-C5CF-4C2F-B069-D21F0402FB6A}"/>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071BFB5A-F3D1-4A59-9601-4AE9FF8D84BF}"/>
                  </a:ext>
                </a:extLst>
              </p:cNvPr>
              <p:cNvGrpSpPr/>
              <p:nvPr userDrawn="1"/>
            </p:nvGrpSpPr>
            <p:grpSpPr>
              <a:xfrm>
                <a:off x="-3257053" y="3276580"/>
                <a:ext cx="182309" cy="163794"/>
                <a:chOff x="12832541" y="3162395"/>
                <a:chExt cx="219532" cy="197236"/>
              </a:xfrm>
            </p:grpSpPr>
            <p:sp>
              <p:nvSpPr>
                <p:cNvPr id="47" name="Rechthoek 46">
                  <a:extLst>
                    <a:ext uri="{FF2B5EF4-FFF2-40B4-BE49-F238E27FC236}">
                      <a16:creationId xmlns:a16="http://schemas.microsoft.com/office/drawing/2014/main" id="{DEC5797C-8773-4073-83FA-773FF5DDD427}"/>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4E6DE92-E6AC-4C7F-872D-27D918D4A296}"/>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5B53D6CC-554A-4C04-85B6-506DCD0AC1FC}"/>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grpSp>
      </p:grpSp>
      <p:grpSp>
        <p:nvGrpSpPr>
          <p:cNvPr id="80" name="INSTRUCTIE">
            <a:extLst>
              <a:ext uri="{FF2B5EF4-FFF2-40B4-BE49-F238E27FC236}">
                <a16:creationId xmlns:a16="http://schemas.microsoft.com/office/drawing/2014/main" id="{2555D692-8F19-4C10-BD69-21DAD5F0ACC7}"/>
              </a:ext>
            </a:extLst>
          </p:cNvPr>
          <p:cNvGrpSpPr/>
          <p:nvPr userDrawn="1"/>
        </p:nvGrpSpPr>
        <p:grpSpPr>
          <a:xfrm>
            <a:off x="8469641" y="7033211"/>
            <a:ext cx="3727954" cy="1728407"/>
            <a:chOff x="5846" y="7033211"/>
            <a:chExt cx="3727954" cy="1728407"/>
          </a:xfrm>
        </p:grpSpPr>
        <p:sp>
          <p:nvSpPr>
            <p:cNvPr id="81" name="Rechthoek 80">
              <a:extLst>
                <a:ext uri="{FF2B5EF4-FFF2-40B4-BE49-F238E27FC236}">
                  <a16:creationId xmlns:a16="http://schemas.microsoft.com/office/drawing/2014/main" id="{83C6EBD8-3575-4357-89B1-ACF646B1F03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82" name="Ovaal 81">
              <a:extLst>
                <a:ext uri="{FF2B5EF4-FFF2-40B4-BE49-F238E27FC236}">
                  <a16:creationId xmlns:a16="http://schemas.microsoft.com/office/drawing/2014/main" id="{23FD190F-13BB-47A2-A67C-878116943D0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3" name="Rechthoek 82">
              <a:extLst>
                <a:ext uri="{FF2B5EF4-FFF2-40B4-BE49-F238E27FC236}">
                  <a16:creationId xmlns:a16="http://schemas.microsoft.com/office/drawing/2014/main" id="{5AD0575D-9091-4F81-818B-49DB11A4249B}"/>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Ovaal 83">
              <a:extLst>
                <a:ext uri="{FF2B5EF4-FFF2-40B4-BE49-F238E27FC236}">
                  <a16:creationId xmlns:a16="http://schemas.microsoft.com/office/drawing/2014/main" id="{F9AA92E0-C539-4E26-9904-623CFDA5888A}"/>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9035F385-9FB1-42BE-9103-3FB90392738A}"/>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6" name="Groep 85">
              <a:extLst>
                <a:ext uri="{FF2B5EF4-FFF2-40B4-BE49-F238E27FC236}">
                  <a16:creationId xmlns:a16="http://schemas.microsoft.com/office/drawing/2014/main" id="{F08DCF51-CD60-4F54-B738-86C9B8116FAF}"/>
                </a:ext>
              </a:extLst>
            </p:cNvPr>
            <p:cNvGrpSpPr/>
            <p:nvPr userDrawn="1"/>
          </p:nvGrpSpPr>
          <p:grpSpPr>
            <a:xfrm>
              <a:off x="2939884" y="7739834"/>
              <a:ext cx="681133" cy="750023"/>
              <a:chOff x="-910573" y="4987990"/>
              <a:chExt cx="681133" cy="750023"/>
            </a:xfrm>
          </p:grpSpPr>
          <p:grpSp>
            <p:nvGrpSpPr>
              <p:cNvPr id="87" name="Groep 86">
                <a:extLst>
                  <a:ext uri="{FF2B5EF4-FFF2-40B4-BE49-F238E27FC236}">
                    <a16:creationId xmlns:a16="http://schemas.microsoft.com/office/drawing/2014/main" id="{D3B0DB9B-413A-4840-AA82-44721F0C794B}"/>
                  </a:ext>
                </a:extLst>
              </p:cNvPr>
              <p:cNvGrpSpPr/>
              <p:nvPr userDrawn="1"/>
            </p:nvGrpSpPr>
            <p:grpSpPr>
              <a:xfrm>
                <a:off x="-713542" y="4987990"/>
                <a:ext cx="287071" cy="379107"/>
                <a:chOff x="-4050578" y="288410"/>
                <a:chExt cx="322125" cy="379107"/>
              </a:xfrm>
            </p:grpSpPr>
            <p:sp>
              <p:nvSpPr>
                <p:cNvPr id="89" name="Rechthoek met één afgeknipte en afgeronde hoek 47">
                  <a:extLst>
                    <a:ext uri="{FF2B5EF4-FFF2-40B4-BE49-F238E27FC236}">
                      <a16:creationId xmlns:a16="http://schemas.microsoft.com/office/drawing/2014/main" id="{94F0F357-FFE5-40CE-B953-34731F902629}"/>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0" name="Rechthoekige driehoek 89">
                  <a:extLst>
                    <a:ext uri="{FF2B5EF4-FFF2-40B4-BE49-F238E27FC236}">
                      <a16:creationId xmlns:a16="http://schemas.microsoft.com/office/drawing/2014/main" id="{EE8C6B35-3258-4B81-8617-51F7B2EAAE26}"/>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1" name="Rechthoek 90">
                  <a:extLst>
                    <a:ext uri="{FF2B5EF4-FFF2-40B4-BE49-F238E27FC236}">
                      <a16:creationId xmlns:a16="http://schemas.microsoft.com/office/drawing/2014/main" id="{9891CD37-3EC7-482F-8A5B-85684F63420B}"/>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 91">
                  <a:extLst>
                    <a:ext uri="{FF2B5EF4-FFF2-40B4-BE49-F238E27FC236}">
                      <a16:creationId xmlns:a16="http://schemas.microsoft.com/office/drawing/2014/main" id="{6B569679-01E8-4F4C-A7A4-42D7DDCC13E8}"/>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88" name="Rechthoek 87">
                <a:extLst>
                  <a:ext uri="{FF2B5EF4-FFF2-40B4-BE49-F238E27FC236}">
                    <a16:creationId xmlns:a16="http://schemas.microsoft.com/office/drawing/2014/main" id="{AA476EFA-45A0-4DEA-BDBA-3F3619D0DC6E}"/>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329806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oofdstukslide #1">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Vrije vorm: vorm 27">
            <a:extLst>
              <a:ext uri="{FF2B5EF4-FFF2-40B4-BE49-F238E27FC236}">
                <a16:creationId xmlns:a16="http://schemas.microsoft.com/office/drawing/2014/main" id="{92441A40-A10C-45FF-A9BB-96102D4B5869}"/>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dirty="0"/>
              <a:t>Plaats hier je titel,</a:t>
            </a:r>
            <a:br>
              <a:rPr lang="nl-NL" dirty="0"/>
            </a:br>
            <a:r>
              <a:rPr lang="nl-NL" dirty="0"/>
              <a:t>de tekst is altijd links uitgelijnd.</a:t>
            </a:r>
            <a:br>
              <a:rPr lang="nl-NL" dirty="0"/>
            </a:br>
            <a:r>
              <a:rPr lang="nl-NL" dirty="0"/>
              <a:t>max. 3 regels</a:t>
            </a:r>
          </a:p>
        </p:txBody>
      </p:sp>
      <p:sp>
        <p:nvSpPr>
          <p:cNvPr id="7" name="Tijdelijke aanduiding voor verticale tekst 2">
            <a:extLst>
              <a:ext uri="{FF2B5EF4-FFF2-40B4-BE49-F238E27FC236}">
                <a16:creationId xmlns:a16="http://schemas.microsoft.com/office/drawing/2014/main" id="{324367F7-ABFF-46E1-BB8E-B0D2FDBFA329}"/>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dirty="0"/>
              <a:t>Plaats hier een korte omschrijving van het hoofdstuk.</a:t>
            </a:r>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Tree>
    <p:extLst>
      <p:ext uri="{BB962C8B-B14F-4D97-AF65-F5344CB8AC3E}">
        <p14:creationId xmlns:p14="http://schemas.microsoft.com/office/powerpoint/2010/main" val="160047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oofdstukslide #2">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A955C48F-37A2-4992-AF99-D9495BEBD40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21" name="Titel 1">
            <a:extLst>
              <a:ext uri="{FF2B5EF4-FFF2-40B4-BE49-F238E27FC236}">
                <a16:creationId xmlns:a16="http://schemas.microsoft.com/office/drawing/2014/main" id="{D8322E68-65DE-4C3D-920A-6388A674D2C5}"/>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dirty="0"/>
              <a:t>Plaats hier je titel,</a:t>
            </a:r>
            <a:br>
              <a:rPr lang="nl-NL" dirty="0"/>
            </a:br>
            <a:r>
              <a:rPr lang="nl-NL" dirty="0"/>
              <a:t>de tekst is altijd links uitgelijnd.</a:t>
            </a:r>
            <a:br>
              <a:rPr lang="nl-NL" dirty="0"/>
            </a:br>
            <a:r>
              <a:rPr lang="nl-NL" dirty="0"/>
              <a:t>max. 3 regels</a:t>
            </a:r>
          </a:p>
        </p:txBody>
      </p:sp>
      <p:sp>
        <p:nvSpPr>
          <p:cNvPr id="22" name="Tijdelijke aanduiding voor verticale tekst 2">
            <a:extLst>
              <a:ext uri="{FF2B5EF4-FFF2-40B4-BE49-F238E27FC236}">
                <a16:creationId xmlns:a16="http://schemas.microsoft.com/office/drawing/2014/main" id="{02AFC8D8-BC22-408E-88A4-BAC99A7CA89D}"/>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dirty="0"/>
              <a:t>Plaats hier een korte omschrijving van het hoofdstuk.</a:t>
            </a:r>
          </a:p>
        </p:txBody>
      </p:sp>
    </p:spTree>
    <p:extLst>
      <p:ext uri="{BB962C8B-B14F-4D97-AF65-F5344CB8AC3E}">
        <p14:creationId xmlns:p14="http://schemas.microsoft.com/office/powerpoint/2010/main" val="140458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oofdstukslide #3">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F6227FD2-B578-478B-A310-03FEBDD94062}"/>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21" name="Titel 1">
            <a:extLst>
              <a:ext uri="{FF2B5EF4-FFF2-40B4-BE49-F238E27FC236}">
                <a16:creationId xmlns:a16="http://schemas.microsoft.com/office/drawing/2014/main" id="{CEEDEE94-BDE2-404D-B28C-200426989E71}"/>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dirty="0"/>
              <a:t>Plaats hier je titel,</a:t>
            </a:r>
            <a:br>
              <a:rPr lang="nl-NL" dirty="0"/>
            </a:br>
            <a:r>
              <a:rPr lang="nl-NL" dirty="0"/>
              <a:t>de tekst is altijd links uitgelijnd.</a:t>
            </a:r>
            <a:br>
              <a:rPr lang="nl-NL" dirty="0"/>
            </a:br>
            <a:r>
              <a:rPr lang="nl-NL" dirty="0"/>
              <a:t>max. 3 regels</a:t>
            </a:r>
          </a:p>
        </p:txBody>
      </p:sp>
      <p:sp>
        <p:nvSpPr>
          <p:cNvPr id="22" name="Tijdelijke aanduiding voor verticale tekst 2">
            <a:extLst>
              <a:ext uri="{FF2B5EF4-FFF2-40B4-BE49-F238E27FC236}">
                <a16:creationId xmlns:a16="http://schemas.microsoft.com/office/drawing/2014/main" id="{DE713034-7D04-4C46-B4AF-8D21A6C50523}"/>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dirty="0"/>
              <a:t>Plaats hier een korte omschrijving van het hoofdstuk.</a:t>
            </a:r>
          </a:p>
        </p:txBody>
      </p:sp>
    </p:spTree>
    <p:extLst>
      <p:ext uri="{BB962C8B-B14F-4D97-AF65-F5344CB8AC3E}">
        <p14:creationId xmlns:p14="http://schemas.microsoft.com/office/powerpoint/2010/main" val="13002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oofdstukslide #4">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Vrije vorm: vorm 22">
            <a:extLst>
              <a:ext uri="{FF2B5EF4-FFF2-40B4-BE49-F238E27FC236}">
                <a16:creationId xmlns:a16="http://schemas.microsoft.com/office/drawing/2014/main" id="{2B69675E-2354-4813-BE46-966C6E5A829C}"/>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erticale tekst 2">
            <a:extLst>
              <a:ext uri="{FF2B5EF4-FFF2-40B4-BE49-F238E27FC236}">
                <a16:creationId xmlns:a16="http://schemas.microsoft.com/office/drawing/2014/main" id="{37272DFB-F5BE-4144-B4B4-47A9F5C00448}"/>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21" name="Titel 1">
            <a:extLst>
              <a:ext uri="{FF2B5EF4-FFF2-40B4-BE49-F238E27FC236}">
                <a16:creationId xmlns:a16="http://schemas.microsoft.com/office/drawing/2014/main" id="{4E2C0FD9-B956-484A-BD4C-2686EB8310AA}"/>
              </a:ext>
            </a:extLst>
          </p:cNvPr>
          <p:cNvSpPr>
            <a:spLocks noGrp="1"/>
          </p:cNvSpPr>
          <p:nvPr>
            <p:ph type="title" hasCustomPrompt="1"/>
          </p:nvPr>
        </p:nvSpPr>
        <p:spPr>
          <a:xfrm>
            <a:off x="1538822" y="2472288"/>
            <a:ext cx="9427051" cy="1506312"/>
          </a:xfrm>
        </p:spPr>
        <p:txBody>
          <a:bodyPr anchor="b"/>
          <a:lstStyle>
            <a:lvl1pPr>
              <a:defRPr sz="4000">
                <a:solidFill>
                  <a:schemeClr val="tx2"/>
                </a:solidFill>
              </a:defRPr>
            </a:lvl1pPr>
          </a:lstStyle>
          <a:p>
            <a:r>
              <a:rPr lang="nl-NL" dirty="0"/>
              <a:t>Plaats hier je titel,</a:t>
            </a:r>
            <a:br>
              <a:rPr lang="nl-NL" dirty="0"/>
            </a:br>
            <a:r>
              <a:rPr lang="nl-NL" dirty="0"/>
              <a:t>de tekst is altijd links uitgelijnd.</a:t>
            </a:r>
            <a:br>
              <a:rPr lang="nl-NL" dirty="0"/>
            </a:br>
            <a:r>
              <a:rPr lang="nl-NL" dirty="0"/>
              <a:t>max. 3 regels</a:t>
            </a:r>
          </a:p>
        </p:txBody>
      </p:sp>
      <p:sp>
        <p:nvSpPr>
          <p:cNvPr id="22" name="Tijdelijke aanduiding voor verticale tekst 2">
            <a:extLst>
              <a:ext uri="{FF2B5EF4-FFF2-40B4-BE49-F238E27FC236}">
                <a16:creationId xmlns:a16="http://schemas.microsoft.com/office/drawing/2014/main" id="{D2E8769C-1921-49E2-88BF-6D75A4DCE5DC}"/>
              </a:ext>
            </a:extLst>
          </p:cNvPr>
          <p:cNvSpPr>
            <a:spLocks noGrp="1"/>
          </p:cNvSpPr>
          <p:nvPr>
            <p:ph type="body" orient="vert" idx="1" hasCustomPrompt="1"/>
          </p:nvPr>
        </p:nvSpPr>
        <p:spPr>
          <a:xfrm>
            <a:off x="1538822" y="4341875"/>
            <a:ext cx="9427051" cy="1606013"/>
          </a:xfrm>
        </p:spPr>
        <p:txBody>
          <a:bodyPr vert="horz" lIns="0" tIns="0" rIns="0" bIns="0"/>
          <a:lstStyle>
            <a:lvl1pPr marL="0" indent="0">
              <a:buFontTx/>
              <a:buNone/>
              <a:defRPr sz="1800">
                <a:solidFill>
                  <a:schemeClr val="tx2"/>
                </a:solidFill>
              </a:defRPr>
            </a:lvl1pPr>
            <a:lvl2pPr>
              <a:defRPr/>
            </a:lvl2pPr>
            <a:lvl3pPr>
              <a:defRPr/>
            </a:lvl3pPr>
            <a:lvl4pPr>
              <a:defRPr/>
            </a:lvl4pPr>
            <a:lvl5pPr>
              <a:defRPr/>
            </a:lvl5pPr>
            <a:lvl6pPr>
              <a:defRPr/>
            </a:lvl6pPr>
            <a:lvl7pPr>
              <a:defRPr/>
            </a:lvl7pPr>
            <a:lvl8pPr>
              <a:defRPr/>
            </a:lvl8pPr>
            <a:lvl9pPr>
              <a:defRPr/>
            </a:lvl9pPr>
          </a:lstStyle>
          <a:p>
            <a:pPr lvl="0"/>
            <a:r>
              <a:rPr lang="nl-NL" dirty="0"/>
              <a:t>Plaats hier een korte omschrijving van het hoofdstuk.</a:t>
            </a:r>
          </a:p>
        </p:txBody>
      </p:sp>
    </p:spTree>
    <p:extLst>
      <p:ext uri="{BB962C8B-B14F-4D97-AF65-F5344CB8AC3E}">
        <p14:creationId xmlns:p14="http://schemas.microsoft.com/office/powerpoint/2010/main" val="142297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to + tekst">
    <p:bg>
      <p:bgPr>
        <a:solidFill>
          <a:schemeClr val="bg2"/>
        </a:solidFill>
        <a:effectLst/>
      </p:bgPr>
    </p:bg>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48AEE671-35C9-49D8-9A7C-BF380044B10A}"/>
              </a:ext>
            </a:extLst>
          </p:cNvPr>
          <p:cNvSpPr/>
          <p:nvPr userDrawn="1"/>
        </p:nvSpPr>
        <p:spPr>
          <a:xfrm>
            <a:off x="0" y="0"/>
            <a:ext cx="6544611"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6" name="Tijdelijke aanduiding voor verticale tekst 2">
            <a:extLst>
              <a:ext uri="{FF2B5EF4-FFF2-40B4-BE49-F238E27FC236}">
                <a16:creationId xmlns:a16="http://schemas.microsoft.com/office/drawing/2014/main" id="{686E96B1-86AE-4C8A-B056-22C5C643A3CF}"/>
              </a:ext>
            </a:extLst>
          </p:cNvPr>
          <p:cNvSpPr>
            <a:spLocks noGrp="1"/>
          </p:cNvSpPr>
          <p:nvPr>
            <p:ph type="body" orient="vert" idx="1" hasCustomPrompt="1"/>
          </p:nvPr>
        </p:nvSpPr>
        <p:spPr>
          <a:xfrm>
            <a:off x="7357403" y="1347274"/>
            <a:ext cx="4313897"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2" name="Titel 1">
            <a:extLst>
              <a:ext uri="{FF2B5EF4-FFF2-40B4-BE49-F238E27FC236}">
                <a16:creationId xmlns:a16="http://schemas.microsoft.com/office/drawing/2014/main" id="{0AE63374-C5CC-4138-9D5E-065AE371EF30}"/>
              </a:ext>
            </a:extLst>
          </p:cNvPr>
          <p:cNvSpPr>
            <a:spLocks noGrp="1"/>
          </p:cNvSpPr>
          <p:nvPr>
            <p:ph type="title" hasCustomPrompt="1"/>
          </p:nvPr>
        </p:nvSpPr>
        <p:spPr/>
        <p:txBody>
          <a:bodyPr/>
          <a:lstStyle>
            <a:lvl1pPr>
              <a:defRPr/>
            </a:lvl1pPr>
          </a:lstStyle>
          <a:p>
            <a:r>
              <a:rPr lang="nl-NL" dirty="0"/>
              <a:t>Plaats hier je titel</a:t>
            </a:r>
          </a:p>
        </p:txBody>
      </p:sp>
      <p:grpSp>
        <p:nvGrpSpPr>
          <p:cNvPr id="86" name="INSTRUCTIE">
            <a:extLst>
              <a:ext uri="{FF2B5EF4-FFF2-40B4-BE49-F238E27FC236}">
                <a16:creationId xmlns:a16="http://schemas.microsoft.com/office/drawing/2014/main" id="{77B1B263-D1FA-48C0-808B-728B8DE487B9}"/>
              </a:ext>
            </a:extLst>
          </p:cNvPr>
          <p:cNvGrpSpPr/>
          <p:nvPr userDrawn="1"/>
        </p:nvGrpSpPr>
        <p:grpSpPr>
          <a:xfrm>
            <a:off x="-3786165" y="0"/>
            <a:ext cx="3593091" cy="4641338"/>
            <a:chOff x="-3786165" y="0"/>
            <a:chExt cx="3593091" cy="4641338"/>
          </a:xfrm>
        </p:grpSpPr>
        <p:sp>
          <p:nvSpPr>
            <p:cNvPr id="87" name="Rechthoek 86">
              <a:extLst>
                <a:ext uri="{FF2B5EF4-FFF2-40B4-BE49-F238E27FC236}">
                  <a16:creationId xmlns:a16="http://schemas.microsoft.com/office/drawing/2014/main" id="{0F4405E0-2327-4F0E-B34E-6AE29666BEA6}"/>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88" name="Ovaal 87">
              <a:extLst>
                <a:ext uri="{FF2B5EF4-FFF2-40B4-BE49-F238E27FC236}">
                  <a16:creationId xmlns:a16="http://schemas.microsoft.com/office/drawing/2014/main" id="{61C0CDCD-3E2B-42B4-A344-8A74CBEFE8E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9" name="Rechthoek 88">
              <a:extLst>
                <a:ext uri="{FF2B5EF4-FFF2-40B4-BE49-F238E27FC236}">
                  <a16:creationId xmlns:a16="http://schemas.microsoft.com/office/drawing/2014/main" id="{1CFC8D3F-BEDC-4B4D-B3F2-92C36974A584}"/>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90" name="Ovaal 89">
              <a:extLst>
                <a:ext uri="{FF2B5EF4-FFF2-40B4-BE49-F238E27FC236}">
                  <a16:creationId xmlns:a16="http://schemas.microsoft.com/office/drawing/2014/main" id="{4439F3A8-B51B-4A86-9AAB-4CEDB3A5C18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1" name="Rechthoek 90">
              <a:extLst>
                <a:ext uri="{FF2B5EF4-FFF2-40B4-BE49-F238E27FC236}">
                  <a16:creationId xmlns:a16="http://schemas.microsoft.com/office/drawing/2014/main" id="{4AEC925C-D3B1-4BC1-BCA1-F12DF4D5546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92" name="Rechthoek 91">
              <a:extLst>
                <a:ext uri="{FF2B5EF4-FFF2-40B4-BE49-F238E27FC236}">
                  <a16:creationId xmlns:a16="http://schemas.microsoft.com/office/drawing/2014/main" id="{EEB928E9-929F-452A-BE0E-73B742107C76}"/>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93" name="Ovaal 92">
              <a:extLst>
                <a:ext uri="{FF2B5EF4-FFF2-40B4-BE49-F238E27FC236}">
                  <a16:creationId xmlns:a16="http://schemas.microsoft.com/office/drawing/2014/main" id="{44033BAC-249F-49EE-A01E-5CA81C74192C}"/>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4" name="Rechthoek 93">
              <a:extLst>
                <a:ext uri="{FF2B5EF4-FFF2-40B4-BE49-F238E27FC236}">
                  <a16:creationId xmlns:a16="http://schemas.microsoft.com/office/drawing/2014/main" id="{7B11BB90-2051-447F-AAF7-46CA3C0F52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95" name="Ovaal 94">
              <a:extLst>
                <a:ext uri="{FF2B5EF4-FFF2-40B4-BE49-F238E27FC236}">
                  <a16:creationId xmlns:a16="http://schemas.microsoft.com/office/drawing/2014/main" id="{010AF6FE-7A96-47A7-A71D-EF53420F523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6" name="Rechthoek 95">
              <a:extLst>
                <a:ext uri="{FF2B5EF4-FFF2-40B4-BE49-F238E27FC236}">
                  <a16:creationId xmlns:a16="http://schemas.microsoft.com/office/drawing/2014/main" id="{3F1DC27A-C6D8-4BF2-BBBE-379DF559E9D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97" name="Ovaal 96">
              <a:extLst>
                <a:ext uri="{FF2B5EF4-FFF2-40B4-BE49-F238E27FC236}">
                  <a16:creationId xmlns:a16="http://schemas.microsoft.com/office/drawing/2014/main" id="{AEE631FF-9F02-4B7C-B8AA-AF0E9AFBA86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98" name="Rechthoek 97">
              <a:extLst>
                <a:ext uri="{FF2B5EF4-FFF2-40B4-BE49-F238E27FC236}">
                  <a16:creationId xmlns:a16="http://schemas.microsoft.com/office/drawing/2014/main" id="{14A7B4FE-8818-42F2-876A-797A518C600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99" name="Ovaal 98">
              <a:extLst>
                <a:ext uri="{FF2B5EF4-FFF2-40B4-BE49-F238E27FC236}">
                  <a16:creationId xmlns:a16="http://schemas.microsoft.com/office/drawing/2014/main" id="{9B3DD2E3-EDE5-46E0-BE85-B67E918080D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00" name="Rechthoek 99">
              <a:extLst>
                <a:ext uri="{FF2B5EF4-FFF2-40B4-BE49-F238E27FC236}">
                  <a16:creationId xmlns:a16="http://schemas.microsoft.com/office/drawing/2014/main" id="{56F545A6-29C8-4C0E-A3BD-0B61DEEC8DF6}"/>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01" name="Ovaal 100">
              <a:extLst>
                <a:ext uri="{FF2B5EF4-FFF2-40B4-BE49-F238E27FC236}">
                  <a16:creationId xmlns:a16="http://schemas.microsoft.com/office/drawing/2014/main" id="{4BD7C35A-8084-42AB-9E05-11CADB86C12D}"/>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2" name="Rechthoek 101">
              <a:extLst>
                <a:ext uri="{FF2B5EF4-FFF2-40B4-BE49-F238E27FC236}">
                  <a16:creationId xmlns:a16="http://schemas.microsoft.com/office/drawing/2014/main" id="{98848AB3-44DD-48F0-81EB-A79EAE796F51}"/>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03" name="Ovaal 102">
              <a:extLst>
                <a:ext uri="{FF2B5EF4-FFF2-40B4-BE49-F238E27FC236}">
                  <a16:creationId xmlns:a16="http://schemas.microsoft.com/office/drawing/2014/main" id="{DBD73E01-7BD1-4A35-B40D-7EFBE3B4F9A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04" name="Rechthoek 103">
              <a:extLst>
                <a:ext uri="{FF2B5EF4-FFF2-40B4-BE49-F238E27FC236}">
                  <a16:creationId xmlns:a16="http://schemas.microsoft.com/office/drawing/2014/main" id="{C1E67BB0-C4BA-49EE-A2C9-5C603F8AED3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05" name="Ovaal 104">
              <a:extLst>
                <a:ext uri="{FF2B5EF4-FFF2-40B4-BE49-F238E27FC236}">
                  <a16:creationId xmlns:a16="http://schemas.microsoft.com/office/drawing/2014/main" id="{9DD126B1-82F1-4CD8-9BA8-A3E9B8CD9BC1}"/>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06" name="Rechthoek 105">
              <a:extLst>
                <a:ext uri="{FF2B5EF4-FFF2-40B4-BE49-F238E27FC236}">
                  <a16:creationId xmlns:a16="http://schemas.microsoft.com/office/drawing/2014/main" id="{16496741-A02D-46D8-BE53-06B073E629ED}"/>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07" name="VOORBEELD">
              <a:extLst>
                <a:ext uri="{FF2B5EF4-FFF2-40B4-BE49-F238E27FC236}">
                  <a16:creationId xmlns:a16="http://schemas.microsoft.com/office/drawing/2014/main" id="{75D84666-FFC6-4CD2-9ED6-00FCC1E2B5CF}"/>
                </a:ext>
              </a:extLst>
            </p:cNvPr>
            <p:cNvGrpSpPr/>
            <p:nvPr userDrawn="1"/>
          </p:nvGrpSpPr>
          <p:grpSpPr>
            <a:xfrm>
              <a:off x="-3605171" y="458674"/>
              <a:ext cx="3234311" cy="558875"/>
              <a:chOff x="-3605171" y="458674"/>
              <a:chExt cx="3234311" cy="558875"/>
            </a:xfrm>
          </p:grpSpPr>
          <p:sp>
            <p:nvSpPr>
              <p:cNvPr id="108" name="Rechthoek 107">
                <a:extLst>
                  <a:ext uri="{FF2B5EF4-FFF2-40B4-BE49-F238E27FC236}">
                    <a16:creationId xmlns:a16="http://schemas.microsoft.com/office/drawing/2014/main" id="{7D49CCA2-91CC-4C1A-9E96-23F8D6D8E8C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09" name="Rechthoek 108">
                <a:extLst>
                  <a:ext uri="{FF2B5EF4-FFF2-40B4-BE49-F238E27FC236}">
                    <a16:creationId xmlns:a16="http://schemas.microsoft.com/office/drawing/2014/main" id="{6827E56D-8AF4-427E-98D8-88F1E25BA511}"/>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10" name="Groep 109">
                <a:extLst>
                  <a:ext uri="{FF2B5EF4-FFF2-40B4-BE49-F238E27FC236}">
                    <a16:creationId xmlns:a16="http://schemas.microsoft.com/office/drawing/2014/main" id="{BB5A1EE6-CEA6-4E75-BD94-7CEB682EB04E}"/>
                  </a:ext>
                </a:extLst>
              </p:cNvPr>
              <p:cNvGrpSpPr/>
              <p:nvPr userDrawn="1"/>
            </p:nvGrpSpPr>
            <p:grpSpPr>
              <a:xfrm>
                <a:off x="-3386247" y="830871"/>
                <a:ext cx="139423" cy="109566"/>
                <a:chOff x="-2866744" y="827071"/>
                <a:chExt cx="168701" cy="132575"/>
              </a:xfrm>
            </p:grpSpPr>
            <p:grpSp>
              <p:nvGrpSpPr>
                <p:cNvPr id="141" name="Groep 140">
                  <a:extLst>
                    <a:ext uri="{FF2B5EF4-FFF2-40B4-BE49-F238E27FC236}">
                      <a16:creationId xmlns:a16="http://schemas.microsoft.com/office/drawing/2014/main" id="{CF182BBD-F3DF-47BC-866E-FD4FE2277118}"/>
                    </a:ext>
                  </a:extLst>
                </p:cNvPr>
                <p:cNvGrpSpPr/>
                <p:nvPr userDrawn="1"/>
              </p:nvGrpSpPr>
              <p:grpSpPr>
                <a:xfrm>
                  <a:off x="-2866744" y="827071"/>
                  <a:ext cx="168701" cy="132575"/>
                  <a:chOff x="-2866744" y="827071"/>
                  <a:chExt cx="168701" cy="132575"/>
                </a:xfrm>
              </p:grpSpPr>
              <p:cxnSp>
                <p:nvCxnSpPr>
                  <p:cNvPr id="143" name="Rechte verbindingslijn 142">
                    <a:extLst>
                      <a:ext uri="{FF2B5EF4-FFF2-40B4-BE49-F238E27FC236}">
                        <a16:creationId xmlns:a16="http://schemas.microsoft.com/office/drawing/2014/main" id="{2F146EB5-65D2-48BB-81FA-78DFFC06D21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E589C3FB-7E76-4991-B3EF-8306394BEB1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84F143D3-A63A-40D9-8C81-75DE503B27D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C23A4AD0-10B7-4901-881B-502D38F49CD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7" name="Rechte verbindingslijn 146">
                    <a:extLst>
                      <a:ext uri="{FF2B5EF4-FFF2-40B4-BE49-F238E27FC236}">
                        <a16:creationId xmlns:a16="http://schemas.microsoft.com/office/drawing/2014/main" id="{7596570B-BB86-400A-88EB-B6CAF779E8E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42" name="Pijl: rechts 141">
                  <a:extLst>
                    <a:ext uri="{FF2B5EF4-FFF2-40B4-BE49-F238E27FC236}">
                      <a16:creationId xmlns:a16="http://schemas.microsoft.com/office/drawing/2014/main" id="{AA52CD77-3A49-4251-A137-D2596DB1AA0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1" name="Groep 110">
                <a:extLst>
                  <a:ext uri="{FF2B5EF4-FFF2-40B4-BE49-F238E27FC236}">
                    <a16:creationId xmlns:a16="http://schemas.microsoft.com/office/drawing/2014/main" id="{A4F47557-F453-4D38-94DE-762BFC1649A9}"/>
                  </a:ext>
                </a:extLst>
              </p:cNvPr>
              <p:cNvGrpSpPr/>
              <p:nvPr userDrawn="1"/>
            </p:nvGrpSpPr>
            <p:grpSpPr>
              <a:xfrm>
                <a:off x="-3605171" y="830871"/>
                <a:ext cx="139423" cy="109566"/>
                <a:chOff x="-2866744" y="518074"/>
                <a:chExt cx="168701" cy="132575"/>
              </a:xfrm>
            </p:grpSpPr>
            <p:grpSp>
              <p:nvGrpSpPr>
                <p:cNvPr id="134" name="Groep 133">
                  <a:extLst>
                    <a:ext uri="{FF2B5EF4-FFF2-40B4-BE49-F238E27FC236}">
                      <a16:creationId xmlns:a16="http://schemas.microsoft.com/office/drawing/2014/main" id="{428A9FD6-BE70-4E90-828D-4EB000851F58}"/>
                    </a:ext>
                  </a:extLst>
                </p:cNvPr>
                <p:cNvGrpSpPr/>
                <p:nvPr userDrawn="1"/>
              </p:nvGrpSpPr>
              <p:grpSpPr>
                <a:xfrm>
                  <a:off x="-2866744" y="518074"/>
                  <a:ext cx="168701" cy="132575"/>
                  <a:chOff x="-2866744" y="518074"/>
                  <a:chExt cx="168701" cy="132575"/>
                </a:xfrm>
              </p:grpSpPr>
              <p:cxnSp>
                <p:nvCxnSpPr>
                  <p:cNvPr id="136" name="Rechte verbindingslijn 135">
                    <a:extLst>
                      <a:ext uri="{FF2B5EF4-FFF2-40B4-BE49-F238E27FC236}">
                        <a16:creationId xmlns:a16="http://schemas.microsoft.com/office/drawing/2014/main" id="{44D73FC4-147E-4DEB-AD84-96A1FD0C49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37" name="Rechte verbindingslijn 136">
                    <a:extLst>
                      <a:ext uri="{FF2B5EF4-FFF2-40B4-BE49-F238E27FC236}">
                        <a16:creationId xmlns:a16="http://schemas.microsoft.com/office/drawing/2014/main" id="{D40688E4-91D6-4972-884C-23F05F1F32C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38" name="Rechte verbindingslijn 137">
                    <a:extLst>
                      <a:ext uri="{FF2B5EF4-FFF2-40B4-BE49-F238E27FC236}">
                        <a16:creationId xmlns:a16="http://schemas.microsoft.com/office/drawing/2014/main" id="{B9A346C9-66C0-44C4-8A39-A1EEDAED9AF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E3E69A89-E591-4290-8858-8AFDC70210A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40" name="Rechte verbindingslijn 139">
                    <a:extLst>
                      <a:ext uri="{FF2B5EF4-FFF2-40B4-BE49-F238E27FC236}">
                        <a16:creationId xmlns:a16="http://schemas.microsoft.com/office/drawing/2014/main" id="{F97A28C4-023B-4B74-A755-02CB6E6082B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35" name="Pijl: rechts 134">
                  <a:extLst>
                    <a:ext uri="{FF2B5EF4-FFF2-40B4-BE49-F238E27FC236}">
                      <a16:creationId xmlns:a16="http://schemas.microsoft.com/office/drawing/2014/main" id="{2B81CFB8-9C2D-4CFF-B2E3-F08ED23CFA7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12" name="Rechte verbindingslijn 111">
                <a:extLst>
                  <a:ext uri="{FF2B5EF4-FFF2-40B4-BE49-F238E27FC236}">
                    <a16:creationId xmlns:a16="http://schemas.microsoft.com/office/drawing/2014/main" id="{1E521254-78EE-46E3-AFFB-1A562D997ED8}"/>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3" name="Rechte verbindingslijn 112">
                <a:extLst>
                  <a:ext uri="{FF2B5EF4-FFF2-40B4-BE49-F238E27FC236}">
                    <a16:creationId xmlns:a16="http://schemas.microsoft.com/office/drawing/2014/main" id="{26AC1DA5-DC78-49FB-B8A6-A92890C8449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14" name="Rechthoek 113">
                <a:extLst>
                  <a:ext uri="{FF2B5EF4-FFF2-40B4-BE49-F238E27FC236}">
                    <a16:creationId xmlns:a16="http://schemas.microsoft.com/office/drawing/2014/main" id="{C9DB63AD-B8B2-42EB-A561-CB21286A3BA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15" name="Rechthoek 114">
                <a:extLst>
                  <a:ext uri="{FF2B5EF4-FFF2-40B4-BE49-F238E27FC236}">
                    <a16:creationId xmlns:a16="http://schemas.microsoft.com/office/drawing/2014/main" id="{5A41D043-47C0-4869-807B-95FC1FBA85F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16" name="Groep 115">
                <a:extLst>
                  <a:ext uri="{FF2B5EF4-FFF2-40B4-BE49-F238E27FC236}">
                    <a16:creationId xmlns:a16="http://schemas.microsoft.com/office/drawing/2014/main" id="{88BBBEB8-8921-4780-ABE7-9BAE66FACEED}"/>
                  </a:ext>
                </a:extLst>
              </p:cNvPr>
              <p:cNvGrpSpPr/>
              <p:nvPr userDrawn="1"/>
            </p:nvGrpSpPr>
            <p:grpSpPr>
              <a:xfrm>
                <a:off x="-2916763" y="769168"/>
                <a:ext cx="268738" cy="248381"/>
                <a:chOff x="-2916763" y="769168"/>
                <a:chExt cx="268738" cy="248381"/>
              </a:xfrm>
            </p:grpSpPr>
            <p:sp>
              <p:nvSpPr>
                <p:cNvPr id="126" name="Rechthoek 125">
                  <a:extLst>
                    <a:ext uri="{FF2B5EF4-FFF2-40B4-BE49-F238E27FC236}">
                      <a16:creationId xmlns:a16="http://schemas.microsoft.com/office/drawing/2014/main" id="{14AEBB64-0BA2-4FB5-9E3E-BBA3EAD6899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27" name="Groep 126">
                  <a:extLst>
                    <a:ext uri="{FF2B5EF4-FFF2-40B4-BE49-F238E27FC236}">
                      <a16:creationId xmlns:a16="http://schemas.microsoft.com/office/drawing/2014/main" id="{713B21CB-5A83-40BE-9E20-5694704FBF9E}"/>
                    </a:ext>
                  </a:extLst>
                </p:cNvPr>
                <p:cNvGrpSpPr/>
                <p:nvPr userDrawn="1"/>
              </p:nvGrpSpPr>
              <p:grpSpPr>
                <a:xfrm>
                  <a:off x="-2866744" y="827071"/>
                  <a:ext cx="168701" cy="132575"/>
                  <a:chOff x="-2866744" y="827071"/>
                  <a:chExt cx="168701" cy="132575"/>
                </a:xfrm>
              </p:grpSpPr>
              <p:cxnSp>
                <p:nvCxnSpPr>
                  <p:cNvPr id="129" name="Rechte verbindingslijn 128">
                    <a:extLst>
                      <a:ext uri="{FF2B5EF4-FFF2-40B4-BE49-F238E27FC236}">
                        <a16:creationId xmlns:a16="http://schemas.microsoft.com/office/drawing/2014/main" id="{56A4A5DA-3147-46A7-9B2A-238CA9CC48C8}"/>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25EBD334-9658-4585-BF9B-1C3816B9F13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B8FA5538-D4B7-4D82-85CF-2010AAA3E19F}"/>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2" name="Rechte verbindingslijn 131">
                    <a:extLst>
                      <a:ext uri="{FF2B5EF4-FFF2-40B4-BE49-F238E27FC236}">
                        <a16:creationId xmlns:a16="http://schemas.microsoft.com/office/drawing/2014/main" id="{A394B48D-0024-4279-A7BC-92A37BAA2D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3" name="Rechte verbindingslijn 132">
                    <a:extLst>
                      <a:ext uri="{FF2B5EF4-FFF2-40B4-BE49-F238E27FC236}">
                        <a16:creationId xmlns:a16="http://schemas.microsoft.com/office/drawing/2014/main" id="{34E7D981-2A1F-46B5-A7F8-1CD24B5D1BE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8" name="Pijl: rechts 127">
                  <a:extLst>
                    <a:ext uri="{FF2B5EF4-FFF2-40B4-BE49-F238E27FC236}">
                      <a16:creationId xmlns:a16="http://schemas.microsoft.com/office/drawing/2014/main" id="{8C90FA60-3194-4916-8973-C4286AE4E10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286BD0AA-88F4-42C1-8567-EBB76B403083}"/>
                  </a:ext>
                </a:extLst>
              </p:cNvPr>
              <p:cNvGrpSpPr/>
              <p:nvPr userDrawn="1"/>
            </p:nvGrpSpPr>
            <p:grpSpPr>
              <a:xfrm>
                <a:off x="-2916763" y="460171"/>
                <a:ext cx="268738" cy="248381"/>
                <a:chOff x="-2916763" y="460171"/>
                <a:chExt cx="268738" cy="248381"/>
              </a:xfrm>
            </p:grpSpPr>
            <p:sp>
              <p:nvSpPr>
                <p:cNvPr id="118" name="Rechthoek 117">
                  <a:extLst>
                    <a:ext uri="{FF2B5EF4-FFF2-40B4-BE49-F238E27FC236}">
                      <a16:creationId xmlns:a16="http://schemas.microsoft.com/office/drawing/2014/main" id="{7C9DA326-069B-4460-A493-B1E82EA7511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9" name="Groep 118">
                  <a:extLst>
                    <a:ext uri="{FF2B5EF4-FFF2-40B4-BE49-F238E27FC236}">
                      <a16:creationId xmlns:a16="http://schemas.microsoft.com/office/drawing/2014/main" id="{69F4E327-3E9E-485C-9C81-913EE5F9AB6C}"/>
                    </a:ext>
                  </a:extLst>
                </p:cNvPr>
                <p:cNvGrpSpPr/>
                <p:nvPr userDrawn="1"/>
              </p:nvGrpSpPr>
              <p:grpSpPr>
                <a:xfrm>
                  <a:off x="-2866744" y="518074"/>
                  <a:ext cx="168701" cy="132575"/>
                  <a:chOff x="-2866744" y="518074"/>
                  <a:chExt cx="168701" cy="132575"/>
                </a:xfrm>
              </p:grpSpPr>
              <p:cxnSp>
                <p:nvCxnSpPr>
                  <p:cNvPr id="121" name="Rechte verbindingslijn 120">
                    <a:extLst>
                      <a:ext uri="{FF2B5EF4-FFF2-40B4-BE49-F238E27FC236}">
                        <a16:creationId xmlns:a16="http://schemas.microsoft.com/office/drawing/2014/main" id="{7771B015-9DFC-461E-972E-BB9968876EE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2A2ECB8D-E7A8-4A25-8D95-37BAC44011C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62608D82-0285-4043-81C1-EB033C4EF94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77D50DBB-14AA-4DBE-916D-2C411FD7DE6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5" name="Rechte verbindingslijn 124">
                    <a:extLst>
                      <a:ext uri="{FF2B5EF4-FFF2-40B4-BE49-F238E27FC236}">
                        <a16:creationId xmlns:a16="http://schemas.microsoft.com/office/drawing/2014/main" id="{A658478E-7C1A-4AA1-87FF-C3A6DE9E336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20" name="Pijl: rechts 119">
                  <a:extLst>
                    <a:ext uri="{FF2B5EF4-FFF2-40B4-BE49-F238E27FC236}">
                      <a16:creationId xmlns:a16="http://schemas.microsoft.com/office/drawing/2014/main" id="{3C2F5BB0-8DBA-4758-B228-0728EA513F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
        <p:nvSpPr>
          <p:cNvPr id="148" name="Tijdelijke aanduiding voor afbeelding 8">
            <a:extLst>
              <a:ext uri="{FF2B5EF4-FFF2-40B4-BE49-F238E27FC236}">
                <a16:creationId xmlns:a16="http://schemas.microsoft.com/office/drawing/2014/main" id="{7496D8B7-54FE-4294-95D0-D1F990443D86}"/>
              </a:ext>
            </a:extLst>
          </p:cNvPr>
          <p:cNvSpPr>
            <a:spLocks noGrp="1"/>
          </p:cNvSpPr>
          <p:nvPr>
            <p:ph type="pic" sz="quarter" idx="14" hasCustomPrompt="1"/>
          </p:nvPr>
        </p:nvSpPr>
        <p:spPr>
          <a:xfrm>
            <a:off x="515937" y="1347275"/>
            <a:ext cx="4928259" cy="4993199"/>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foto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a:p>
            <a:endParaRPr lang="nl-NL" dirty="0"/>
          </a:p>
        </p:txBody>
      </p:sp>
    </p:spTree>
    <p:extLst>
      <p:ext uri="{BB962C8B-B14F-4D97-AF65-F5344CB8AC3E}">
        <p14:creationId xmlns:p14="http://schemas.microsoft.com/office/powerpoint/2010/main" val="185954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o + tekst">
    <p:bg>
      <p:bgPr>
        <a:solidFill>
          <a:schemeClr val="bg2"/>
        </a:solidFill>
        <a:effectLst/>
      </p:bgPr>
    </p:bg>
    <p:spTree>
      <p:nvGrpSpPr>
        <p:cNvPr id="1" name=""/>
        <p:cNvGrpSpPr/>
        <p:nvPr/>
      </p:nvGrpSpPr>
      <p:grpSpPr>
        <a:xfrm>
          <a:off x="0" y="0"/>
          <a:ext cx="0" cy="0"/>
          <a:chOff x="0" y="0"/>
          <a:chExt cx="0" cy="0"/>
        </a:xfrm>
      </p:grpSpPr>
      <p:sp>
        <p:nvSpPr>
          <p:cNvPr id="8" name="Vrije vorm: vorm 7">
            <a:extLst>
              <a:ext uri="{FF2B5EF4-FFF2-40B4-BE49-F238E27FC236}">
                <a16:creationId xmlns:a16="http://schemas.microsoft.com/office/drawing/2014/main" id="{48AEE671-35C9-49D8-9A7C-BF380044B10A}"/>
              </a:ext>
            </a:extLst>
          </p:cNvPr>
          <p:cNvSpPr/>
          <p:nvPr userDrawn="1"/>
        </p:nvSpPr>
        <p:spPr>
          <a:xfrm>
            <a:off x="0" y="0"/>
            <a:ext cx="6544611"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515938" y="1347275"/>
            <a:ext cx="4928259" cy="49932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dirty="0"/>
              <a:t>Klik op het onderstaand icoon </a:t>
            </a:r>
            <a:br>
              <a:rPr lang="nl-NL" dirty="0"/>
            </a:br>
            <a:r>
              <a:rPr lang="nl-NL" dirty="0"/>
              <a:t>om een video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6" name="Tijdelijke aanduiding voor verticale tekst 2">
            <a:extLst>
              <a:ext uri="{FF2B5EF4-FFF2-40B4-BE49-F238E27FC236}">
                <a16:creationId xmlns:a16="http://schemas.microsoft.com/office/drawing/2014/main" id="{686E96B1-86AE-4C8A-B056-22C5C643A3CF}"/>
              </a:ext>
            </a:extLst>
          </p:cNvPr>
          <p:cNvSpPr>
            <a:spLocks noGrp="1"/>
          </p:cNvSpPr>
          <p:nvPr>
            <p:ph type="body" orient="vert" idx="1" hasCustomPrompt="1"/>
          </p:nvPr>
        </p:nvSpPr>
        <p:spPr>
          <a:xfrm>
            <a:off x="7357403" y="1347274"/>
            <a:ext cx="4313897"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2" name="Titel 1">
            <a:extLst>
              <a:ext uri="{FF2B5EF4-FFF2-40B4-BE49-F238E27FC236}">
                <a16:creationId xmlns:a16="http://schemas.microsoft.com/office/drawing/2014/main" id="{0AE63374-C5CC-4138-9D5E-065AE371EF30}"/>
              </a:ext>
            </a:extLst>
          </p:cNvPr>
          <p:cNvSpPr>
            <a:spLocks noGrp="1"/>
          </p:cNvSpPr>
          <p:nvPr>
            <p:ph type="title" hasCustomPrompt="1"/>
          </p:nvPr>
        </p:nvSpPr>
        <p:spPr/>
        <p:txBody>
          <a:bodyPr/>
          <a:lstStyle>
            <a:lvl1pPr>
              <a:defRPr/>
            </a:lvl1pPr>
          </a:lstStyle>
          <a:p>
            <a:r>
              <a:rPr lang="nl-NL" dirty="0"/>
              <a:t>Plaats hier je titel</a:t>
            </a:r>
          </a:p>
        </p:txBody>
      </p:sp>
      <p:grpSp>
        <p:nvGrpSpPr>
          <p:cNvPr id="86" name="INSTRUCTIE">
            <a:extLst>
              <a:ext uri="{FF2B5EF4-FFF2-40B4-BE49-F238E27FC236}">
                <a16:creationId xmlns:a16="http://schemas.microsoft.com/office/drawing/2014/main" id="{77B1B263-D1FA-48C0-808B-728B8DE487B9}"/>
              </a:ext>
            </a:extLst>
          </p:cNvPr>
          <p:cNvGrpSpPr/>
          <p:nvPr userDrawn="1"/>
        </p:nvGrpSpPr>
        <p:grpSpPr>
          <a:xfrm>
            <a:off x="-3786165" y="0"/>
            <a:ext cx="3593091" cy="4641338"/>
            <a:chOff x="-3786165" y="0"/>
            <a:chExt cx="3593091" cy="4641338"/>
          </a:xfrm>
        </p:grpSpPr>
        <p:sp>
          <p:nvSpPr>
            <p:cNvPr id="87" name="Rechthoek 86">
              <a:extLst>
                <a:ext uri="{FF2B5EF4-FFF2-40B4-BE49-F238E27FC236}">
                  <a16:creationId xmlns:a16="http://schemas.microsoft.com/office/drawing/2014/main" id="{0F4405E0-2327-4F0E-B34E-6AE29666BEA6}"/>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88" name="Ovaal 87">
              <a:extLst>
                <a:ext uri="{FF2B5EF4-FFF2-40B4-BE49-F238E27FC236}">
                  <a16:creationId xmlns:a16="http://schemas.microsoft.com/office/drawing/2014/main" id="{61C0CDCD-3E2B-42B4-A344-8A74CBEFE8E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9" name="Rechthoek 88">
              <a:extLst>
                <a:ext uri="{FF2B5EF4-FFF2-40B4-BE49-F238E27FC236}">
                  <a16:creationId xmlns:a16="http://schemas.microsoft.com/office/drawing/2014/main" id="{1CFC8D3F-BEDC-4B4D-B3F2-92C36974A584}"/>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90" name="Ovaal 89">
              <a:extLst>
                <a:ext uri="{FF2B5EF4-FFF2-40B4-BE49-F238E27FC236}">
                  <a16:creationId xmlns:a16="http://schemas.microsoft.com/office/drawing/2014/main" id="{4439F3A8-B51B-4A86-9AAB-4CEDB3A5C186}"/>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1" name="Rechthoek 90">
              <a:extLst>
                <a:ext uri="{FF2B5EF4-FFF2-40B4-BE49-F238E27FC236}">
                  <a16:creationId xmlns:a16="http://schemas.microsoft.com/office/drawing/2014/main" id="{4AEC925C-D3B1-4BC1-BCA1-F12DF4D5546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92" name="Rechthoek 91">
              <a:extLst>
                <a:ext uri="{FF2B5EF4-FFF2-40B4-BE49-F238E27FC236}">
                  <a16:creationId xmlns:a16="http://schemas.microsoft.com/office/drawing/2014/main" id="{EEB928E9-929F-452A-BE0E-73B742107C76}"/>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93" name="Ovaal 92">
              <a:extLst>
                <a:ext uri="{FF2B5EF4-FFF2-40B4-BE49-F238E27FC236}">
                  <a16:creationId xmlns:a16="http://schemas.microsoft.com/office/drawing/2014/main" id="{44033BAC-249F-49EE-A01E-5CA81C74192C}"/>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4" name="Rechthoek 93">
              <a:extLst>
                <a:ext uri="{FF2B5EF4-FFF2-40B4-BE49-F238E27FC236}">
                  <a16:creationId xmlns:a16="http://schemas.microsoft.com/office/drawing/2014/main" id="{7B11BB90-2051-447F-AAF7-46CA3C0F52AC}"/>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95" name="Ovaal 94">
              <a:extLst>
                <a:ext uri="{FF2B5EF4-FFF2-40B4-BE49-F238E27FC236}">
                  <a16:creationId xmlns:a16="http://schemas.microsoft.com/office/drawing/2014/main" id="{010AF6FE-7A96-47A7-A71D-EF53420F5230}"/>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6" name="Rechthoek 95">
              <a:extLst>
                <a:ext uri="{FF2B5EF4-FFF2-40B4-BE49-F238E27FC236}">
                  <a16:creationId xmlns:a16="http://schemas.microsoft.com/office/drawing/2014/main" id="{3F1DC27A-C6D8-4BF2-BBBE-379DF559E9D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97" name="Ovaal 96">
              <a:extLst>
                <a:ext uri="{FF2B5EF4-FFF2-40B4-BE49-F238E27FC236}">
                  <a16:creationId xmlns:a16="http://schemas.microsoft.com/office/drawing/2014/main" id="{AEE631FF-9F02-4B7C-B8AA-AF0E9AFBA86A}"/>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98" name="Rechthoek 97">
              <a:extLst>
                <a:ext uri="{FF2B5EF4-FFF2-40B4-BE49-F238E27FC236}">
                  <a16:creationId xmlns:a16="http://schemas.microsoft.com/office/drawing/2014/main" id="{14A7B4FE-8818-42F2-876A-797A518C600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99" name="Ovaal 98">
              <a:extLst>
                <a:ext uri="{FF2B5EF4-FFF2-40B4-BE49-F238E27FC236}">
                  <a16:creationId xmlns:a16="http://schemas.microsoft.com/office/drawing/2014/main" id="{9B3DD2E3-EDE5-46E0-BE85-B67E918080D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00" name="Rechthoek 99">
              <a:extLst>
                <a:ext uri="{FF2B5EF4-FFF2-40B4-BE49-F238E27FC236}">
                  <a16:creationId xmlns:a16="http://schemas.microsoft.com/office/drawing/2014/main" id="{56F545A6-29C8-4C0E-A3BD-0B61DEEC8DF6}"/>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01" name="Ovaal 100">
              <a:extLst>
                <a:ext uri="{FF2B5EF4-FFF2-40B4-BE49-F238E27FC236}">
                  <a16:creationId xmlns:a16="http://schemas.microsoft.com/office/drawing/2014/main" id="{4BD7C35A-8084-42AB-9E05-11CADB86C12D}"/>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2" name="Rechthoek 101">
              <a:extLst>
                <a:ext uri="{FF2B5EF4-FFF2-40B4-BE49-F238E27FC236}">
                  <a16:creationId xmlns:a16="http://schemas.microsoft.com/office/drawing/2014/main" id="{98848AB3-44DD-48F0-81EB-A79EAE796F51}"/>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03" name="Ovaal 102">
              <a:extLst>
                <a:ext uri="{FF2B5EF4-FFF2-40B4-BE49-F238E27FC236}">
                  <a16:creationId xmlns:a16="http://schemas.microsoft.com/office/drawing/2014/main" id="{DBD73E01-7BD1-4A35-B40D-7EFBE3B4F9A5}"/>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04" name="Rechthoek 103">
              <a:extLst>
                <a:ext uri="{FF2B5EF4-FFF2-40B4-BE49-F238E27FC236}">
                  <a16:creationId xmlns:a16="http://schemas.microsoft.com/office/drawing/2014/main" id="{C1E67BB0-C4BA-49EE-A2C9-5C603F8AED3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05" name="Ovaal 104">
              <a:extLst>
                <a:ext uri="{FF2B5EF4-FFF2-40B4-BE49-F238E27FC236}">
                  <a16:creationId xmlns:a16="http://schemas.microsoft.com/office/drawing/2014/main" id="{9DD126B1-82F1-4CD8-9BA8-A3E9B8CD9BC1}"/>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06" name="Rechthoek 105">
              <a:extLst>
                <a:ext uri="{FF2B5EF4-FFF2-40B4-BE49-F238E27FC236}">
                  <a16:creationId xmlns:a16="http://schemas.microsoft.com/office/drawing/2014/main" id="{16496741-A02D-46D8-BE53-06B073E629ED}"/>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07" name="VOORBEELD">
              <a:extLst>
                <a:ext uri="{FF2B5EF4-FFF2-40B4-BE49-F238E27FC236}">
                  <a16:creationId xmlns:a16="http://schemas.microsoft.com/office/drawing/2014/main" id="{75D84666-FFC6-4CD2-9ED6-00FCC1E2B5CF}"/>
                </a:ext>
              </a:extLst>
            </p:cNvPr>
            <p:cNvGrpSpPr/>
            <p:nvPr userDrawn="1"/>
          </p:nvGrpSpPr>
          <p:grpSpPr>
            <a:xfrm>
              <a:off x="-3605171" y="458674"/>
              <a:ext cx="3234311" cy="558875"/>
              <a:chOff x="-3605171" y="458674"/>
              <a:chExt cx="3234311" cy="558875"/>
            </a:xfrm>
          </p:grpSpPr>
          <p:sp>
            <p:nvSpPr>
              <p:cNvPr id="108" name="Rechthoek 107">
                <a:extLst>
                  <a:ext uri="{FF2B5EF4-FFF2-40B4-BE49-F238E27FC236}">
                    <a16:creationId xmlns:a16="http://schemas.microsoft.com/office/drawing/2014/main" id="{7D49CCA2-91CC-4C1A-9E96-23F8D6D8E8CD}"/>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09" name="Rechthoek 108">
                <a:extLst>
                  <a:ext uri="{FF2B5EF4-FFF2-40B4-BE49-F238E27FC236}">
                    <a16:creationId xmlns:a16="http://schemas.microsoft.com/office/drawing/2014/main" id="{6827E56D-8AF4-427E-98D8-88F1E25BA511}"/>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10" name="Groep 109">
                <a:extLst>
                  <a:ext uri="{FF2B5EF4-FFF2-40B4-BE49-F238E27FC236}">
                    <a16:creationId xmlns:a16="http://schemas.microsoft.com/office/drawing/2014/main" id="{BB5A1EE6-CEA6-4E75-BD94-7CEB682EB04E}"/>
                  </a:ext>
                </a:extLst>
              </p:cNvPr>
              <p:cNvGrpSpPr/>
              <p:nvPr userDrawn="1"/>
            </p:nvGrpSpPr>
            <p:grpSpPr>
              <a:xfrm>
                <a:off x="-3386247" y="830871"/>
                <a:ext cx="139423" cy="109566"/>
                <a:chOff x="-2866744" y="827071"/>
                <a:chExt cx="168701" cy="132575"/>
              </a:xfrm>
            </p:grpSpPr>
            <p:grpSp>
              <p:nvGrpSpPr>
                <p:cNvPr id="141" name="Groep 140">
                  <a:extLst>
                    <a:ext uri="{FF2B5EF4-FFF2-40B4-BE49-F238E27FC236}">
                      <a16:creationId xmlns:a16="http://schemas.microsoft.com/office/drawing/2014/main" id="{CF182BBD-F3DF-47BC-866E-FD4FE2277118}"/>
                    </a:ext>
                  </a:extLst>
                </p:cNvPr>
                <p:cNvGrpSpPr/>
                <p:nvPr userDrawn="1"/>
              </p:nvGrpSpPr>
              <p:grpSpPr>
                <a:xfrm>
                  <a:off x="-2866744" y="827071"/>
                  <a:ext cx="168701" cy="132575"/>
                  <a:chOff x="-2866744" y="827071"/>
                  <a:chExt cx="168701" cy="132575"/>
                </a:xfrm>
              </p:grpSpPr>
              <p:cxnSp>
                <p:nvCxnSpPr>
                  <p:cNvPr id="143" name="Rechte verbindingslijn 142">
                    <a:extLst>
                      <a:ext uri="{FF2B5EF4-FFF2-40B4-BE49-F238E27FC236}">
                        <a16:creationId xmlns:a16="http://schemas.microsoft.com/office/drawing/2014/main" id="{2F146EB5-65D2-48BB-81FA-78DFFC06D21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E589C3FB-7E76-4991-B3EF-8306394BEB1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84F143D3-A63A-40D9-8C81-75DE503B27D3}"/>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C23A4AD0-10B7-4901-881B-502D38F49CD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7" name="Rechte verbindingslijn 146">
                    <a:extLst>
                      <a:ext uri="{FF2B5EF4-FFF2-40B4-BE49-F238E27FC236}">
                        <a16:creationId xmlns:a16="http://schemas.microsoft.com/office/drawing/2014/main" id="{7596570B-BB86-400A-88EB-B6CAF779E8E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42" name="Pijl: rechts 141">
                  <a:extLst>
                    <a:ext uri="{FF2B5EF4-FFF2-40B4-BE49-F238E27FC236}">
                      <a16:creationId xmlns:a16="http://schemas.microsoft.com/office/drawing/2014/main" id="{AA52CD77-3A49-4251-A137-D2596DB1AA00}"/>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1" name="Groep 110">
                <a:extLst>
                  <a:ext uri="{FF2B5EF4-FFF2-40B4-BE49-F238E27FC236}">
                    <a16:creationId xmlns:a16="http://schemas.microsoft.com/office/drawing/2014/main" id="{A4F47557-F453-4D38-94DE-762BFC1649A9}"/>
                  </a:ext>
                </a:extLst>
              </p:cNvPr>
              <p:cNvGrpSpPr/>
              <p:nvPr userDrawn="1"/>
            </p:nvGrpSpPr>
            <p:grpSpPr>
              <a:xfrm>
                <a:off x="-3605171" y="830871"/>
                <a:ext cx="139423" cy="109566"/>
                <a:chOff x="-2866744" y="518074"/>
                <a:chExt cx="168701" cy="132575"/>
              </a:xfrm>
            </p:grpSpPr>
            <p:grpSp>
              <p:nvGrpSpPr>
                <p:cNvPr id="134" name="Groep 133">
                  <a:extLst>
                    <a:ext uri="{FF2B5EF4-FFF2-40B4-BE49-F238E27FC236}">
                      <a16:creationId xmlns:a16="http://schemas.microsoft.com/office/drawing/2014/main" id="{428A9FD6-BE70-4E90-828D-4EB000851F58}"/>
                    </a:ext>
                  </a:extLst>
                </p:cNvPr>
                <p:cNvGrpSpPr/>
                <p:nvPr userDrawn="1"/>
              </p:nvGrpSpPr>
              <p:grpSpPr>
                <a:xfrm>
                  <a:off x="-2866744" y="518074"/>
                  <a:ext cx="168701" cy="132575"/>
                  <a:chOff x="-2866744" y="518074"/>
                  <a:chExt cx="168701" cy="132575"/>
                </a:xfrm>
              </p:grpSpPr>
              <p:cxnSp>
                <p:nvCxnSpPr>
                  <p:cNvPr id="136" name="Rechte verbindingslijn 135">
                    <a:extLst>
                      <a:ext uri="{FF2B5EF4-FFF2-40B4-BE49-F238E27FC236}">
                        <a16:creationId xmlns:a16="http://schemas.microsoft.com/office/drawing/2014/main" id="{44D73FC4-147E-4DEB-AD84-96A1FD0C49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37" name="Rechte verbindingslijn 136">
                    <a:extLst>
                      <a:ext uri="{FF2B5EF4-FFF2-40B4-BE49-F238E27FC236}">
                        <a16:creationId xmlns:a16="http://schemas.microsoft.com/office/drawing/2014/main" id="{D40688E4-91D6-4972-884C-23F05F1F32C1}"/>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38" name="Rechte verbindingslijn 137">
                    <a:extLst>
                      <a:ext uri="{FF2B5EF4-FFF2-40B4-BE49-F238E27FC236}">
                        <a16:creationId xmlns:a16="http://schemas.microsoft.com/office/drawing/2014/main" id="{B9A346C9-66C0-44C4-8A39-A1EEDAED9AF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E3E69A89-E591-4290-8858-8AFDC70210A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40" name="Rechte verbindingslijn 139">
                    <a:extLst>
                      <a:ext uri="{FF2B5EF4-FFF2-40B4-BE49-F238E27FC236}">
                        <a16:creationId xmlns:a16="http://schemas.microsoft.com/office/drawing/2014/main" id="{F97A28C4-023B-4B74-A755-02CB6E6082B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35" name="Pijl: rechts 134">
                  <a:extLst>
                    <a:ext uri="{FF2B5EF4-FFF2-40B4-BE49-F238E27FC236}">
                      <a16:creationId xmlns:a16="http://schemas.microsoft.com/office/drawing/2014/main" id="{2B81CFB8-9C2D-4CFF-B2E3-F08ED23CFA79}"/>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12" name="Rechte verbindingslijn 111">
                <a:extLst>
                  <a:ext uri="{FF2B5EF4-FFF2-40B4-BE49-F238E27FC236}">
                    <a16:creationId xmlns:a16="http://schemas.microsoft.com/office/drawing/2014/main" id="{1E521254-78EE-46E3-AFFB-1A562D997ED8}"/>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3" name="Rechte verbindingslijn 112">
                <a:extLst>
                  <a:ext uri="{FF2B5EF4-FFF2-40B4-BE49-F238E27FC236}">
                    <a16:creationId xmlns:a16="http://schemas.microsoft.com/office/drawing/2014/main" id="{26AC1DA5-DC78-49FB-B8A6-A92890C8449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14" name="Rechthoek 113">
                <a:extLst>
                  <a:ext uri="{FF2B5EF4-FFF2-40B4-BE49-F238E27FC236}">
                    <a16:creationId xmlns:a16="http://schemas.microsoft.com/office/drawing/2014/main" id="{C9DB63AD-B8B2-42EB-A561-CB21286A3BA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15" name="Rechthoek 114">
                <a:extLst>
                  <a:ext uri="{FF2B5EF4-FFF2-40B4-BE49-F238E27FC236}">
                    <a16:creationId xmlns:a16="http://schemas.microsoft.com/office/drawing/2014/main" id="{5A41D043-47C0-4869-807B-95FC1FBA85F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16" name="Groep 115">
                <a:extLst>
                  <a:ext uri="{FF2B5EF4-FFF2-40B4-BE49-F238E27FC236}">
                    <a16:creationId xmlns:a16="http://schemas.microsoft.com/office/drawing/2014/main" id="{88BBBEB8-8921-4780-ABE7-9BAE66FACEED}"/>
                  </a:ext>
                </a:extLst>
              </p:cNvPr>
              <p:cNvGrpSpPr/>
              <p:nvPr userDrawn="1"/>
            </p:nvGrpSpPr>
            <p:grpSpPr>
              <a:xfrm>
                <a:off x="-2916763" y="769168"/>
                <a:ext cx="268738" cy="248381"/>
                <a:chOff x="-2916763" y="769168"/>
                <a:chExt cx="268738" cy="248381"/>
              </a:xfrm>
            </p:grpSpPr>
            <p:sp>
              <p:nvSpPr>
                <p:cNvPr id="126" name="Rechthoek 125">
                  <a:extLst>
                    <a:ext uri="{FF2B5EF4-FFF2-40B4-BE49-F238E27FC236}">
                      <a16:creationId xmlns:a16="http://schemas.microsoft.com/office/drawing/2014/main" id="{14AEBB64-0BA2-4FB5-9E3E-BBA3EAD6899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27" name="Groep 126">
                  <a:extLst>
                    <a:ext uri="{FF2B5EF4-FFF2-40B4-BE49-F238E27FC236}">
                      <a16:creationId xmlns:a16="http://schemas.microsoft.com/office/drawing/2014/main" id="{713B21CB-5A83-40BE-9E20-5694704FBF9E}"/>
                    </a:ext>
                  </a:extLst>
                </p:cNvPr>
                <p:cNvGrpSpPr/>
                <p:nvPr userDrawn="1"/>
              </p:nvGrpSpPr>
              <p:grpSpPr>
                <a:xfrm>
                  <a:off x="-2866744" y="827071"/>
                  <a:ext cx="168701" cy="132575"/>
                  <a:chOff x="-2866744" y="827071"/>
                  <a:chExt cx="168701" cy="132575"/>
                </a:xfrm>
              </p:grpSpPr>
              <p:cxnSp>
                <p:nvCxnSpPr>
                  <p:cNvPr id="129" name="Rechte verbindingslijn 128">
                    <a:extLst>
                      <a:ext uri="{FF2B5EF4-FFF2-40B4-BE49-F238E27FC236}">
                        <a16:creationId xmlns:a16="http://schemas.microsoft.com/office/drawing/2014/main" id="{56A4A5DA-3147-46A7-9B2A-238CA9CC48C8}"/>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25EBD334-9658-4585-BF9B-1C3816B9F13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B8FA5538-D4B7-4D82-85CF-2010AAA3E19F}"/>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2" name="Rechte verbindingslijn 131">
                    <a:extLst>
                      <a:ext uri="{FF2B5EF4-FFF2-40B4-BE49-F238E27FC236}">
                        <a16:creationId xmlns:a16="http://schemas.microsoft.com/office/drawing/2014/main" id="{A394B48D-0024-4279-A7BC-92A37BAA2D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3" name="Rechte verbindingslijn 132">
                    <a:extLst>
                      <a:ext uri="{FF2B5EF4-FFF2-40B4-BE49-F238E27FC236}">
                        <a16:creationId xmlns:a16="http://schemas.microsoft.com/office/drawing/2014/main" id="{34E7D981-2A1F-46B5-A7F8-1CD24B5D1BE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8" name="Pijl: rechts 127">
                  <a:extLst>
                    <a:ext uri="{FF2B5EF4-FFF2-40B4-BE49-F238E27FC236}">
                      <a16:creationId xmlns:a16="http://schemas.microsoft.com/office/drawing/2014/main" id="{8C90FA60-3194-4916-8973-C4286AE4E10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286BD0AA-88F4-42C1-8567-EBB76B403083}"/>
                  </a:ext>
                </a:extLst>
              </p:cNvPr>
              <p:cNvGrpSpPr/>
              <p:nvPr userDrawn="1"/>
            </p:nvGrpSpPr>
            <p:grpSpPr>
              <a:xfrm>
                <a:off x="-2916763" y="460171"/>
                <a:ext cx="268738" cy="248381"/>
                <a:chOff x="-2916763" y="460171"/>
                <a:chExt cx="268738" cy="248381"/>
              </a:xfrm>
            </p:grpSpPr>
            <p:sp>
              <p:nvSpPr>
                <p:cNvPr id="118" name="Rechthoek 117">
                  <a:extLst>
                    <a:ext uri="{FF2B5EF4-FFF2-40B4-BE49-F238E27FC236}">
                      <a16:creationId xmlns:a16="http://schemas.microsoft.com/office/drawing/2014/main" id="{7C9DA326-069B-4460-A493-B1E82EA7511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9" name="Groep 118">
                  <a:extLst>
                    <a:ext uri="{FF2B5EF4-FFF2-40B4-BE49-F238E27FC236}">
                      <a16:creationId xmlns:a16="http://schemas.microsoft.com/office/drawing/2014/main" id="{69F4E327-3E9E-485C-9C81-913EE5F9AB6C}"/>
                    </a:ext>
                  </a:extLst>
                </p:cNvPr>
                <p:cNvGrpSpPr/>
                <p:nvPr userDrawn="1"/>
              </p:nvGrpSpPr>
              <p:grpSpPr>
                <a:xfrm>
                  <a:off x="-2866744" y="518074"/>
                  <a:ext cx="168701" cy="132575"/>
                  <a:chOff x="-2866744" y="518074"/>
                  <a:chExt cx="168701" cy="132575"/>
                </a:xfrm>
              </p:grpSpPr>
              <p:cxnSp>
                <p:nvCxnSpPr>
                  <p:cNvPr id="121" name="Rechte verbindingslijn 120">
                    <a:extLst>
                      <a:ext uri="{FF2B5EF4-FFF2-40B4-BE49-F238E27FC236}">
                        <a16:creationId xmlns:a16="http://schemas.microsoft.com/office/drawing/2014/main" id="{7771B015-9DFC-461E-972E-BB9968876EE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2A2ECB8D-E7A8-4A25-8D95-37BAC44011C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62608D82-0285-4043-81C1-EB033C4EF94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77D50DBB-14AA-4DBE-916D-2C411FD7DE6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5" name="Rechte verbindingslijn 124">
                    <a:extLst>
                      <a:ext uri="{FF2B5EF4-FFF2-40B4-BE49-F238E27FC236}">
                        <a16:creationId xmlns:a16="http://schemas.microsoft.com/office/drawing/2014/main" id="{A658478E-7C1A-4AA1-87FF-C3A6DE9E336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20" name="Pijl: rechts 119">
                  <a:extLst>
                    <a:ext uri="{FF2B5EF4-FFF2-40B4-BE49-F238E27FC236}">
                      <a16:creationId xmlns:a16="http://schemas.microsoft.com/office/drawing/2014/main" id="{3C2F5BB0-8DBA-4758-B228-0728EA513F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3820354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0" y="1342513"/>
            <a:ext cx="12192000" cy="49932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dirty="0"/>
              <a:t>Klik op het onderstaand icoon </a:t>
            </a:r>
            <a:br>
              <a:rPr lang="nl-NL" dirty="0"/>
            </a:br>
            <a:r>
              <a:rPr lang="nl-NL" dirty="0"/>
              <a:t>om een video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A0DE959A-F3F8-402E-9171-F53B059AE865}"/>
              </a:ext>
            </a:extLst>
          </p:cNvPr>
          <p:cNvSpPr>
            <a:spLocks noGrp="1"/>
          </p:cNvSpPr>
          <p:nvPr>
            <p:ph type="title" hasCustomPrompt="1"/>
          </p:nvPr>
        </p:nvSpPr>
        <p:spPr/>
        <p:txBody>
          <a:bodyPr/>
          <a:lstStyle>
            <a:lvl1pPr>
              <a:defRPr/>
            </a:lvl1pPr>
          </a:lstStyle>
          <a:p>
            <a:r>
              <a:rPr lang="nl-NL" dirty="0"/>
              <a:t>Plaats hier je titel</a:t>
            </a:r>
          </a:p>
        </p:txBody>
      </p:sp>
    </p:spTree>
    <p:extLst>
      <p:ext uri="{BB962C8B-B14F-4D97-AF65-F5344CB8AC3E}">
        <p14:creationId xmlns:p14="http://schemas.microsoft.com/office/powerpoint/2010/main" val="144855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Full">
    <p:spTree>
      <p:nvGrpSpPr>
        <p:cNvPr id="1" name=""/>
        <p:cNvGrpSpPr/>
        <p:nvPr/>
      </p:nvGrpSpPr>
      <p:grpSpPr>
        <a:xfrm>
          <a:off x="0" y="0"/>
          <a:ext cx="0" cy="0"/>
          <a:chOff x="0" y="0"/>
          <a:chExt cx="0" cy="0"/>
        </a:xfrm>
      </p:grpSpPr>
      <p:sp>
        <p:nvSpPr>
          <p:cNvPr id="84" name="Tijdelijke aanduiding voor media 28">
            <a:extLst>
              <a:ext uri="{FF2B5EF4-FFF2-40B4-BE49-F238E27FC236}">
                <a16:creationId xmlns:a16="http://schemas.microsoft.com/office/drawing/2014/main" id="{509D1DBF-53EC-4D6F-8ECF-1E96F36DB028}"/>
              </a:ext>
            </a:extLst>
          </p:cNvPr>
          <p:cNvSpPr>
            <a:spLocks noGrp="1"/>
          </p:cNvSpPr>
          <p:nvPr>
            <p:ph type="media" sz="quarter" idx="19" hasCustomPrompt="1"/>
          </p:nvPr>
        </p:nvSpPr>
        <p:spPr>
          <a:xfrm>
            <a:off x="0" y="0"/>
            <a:ext cx="12192000" cy="6858000"/>
          </a:xfrm>
          <a:solidFill>
            <a:schemeClr val="bg1">
              <a:lumMod val="95000"/>
            </a:schemeClr>
          </a:solidFill>
        </p:spPr>
        <p:txBody>
          <a:bodyPr tIns="0" bIns="1620000" anchor="ctr" anchorCtr="0"/>
          <a:lstStyle>
            <a:lvl1pPr marL="0" indent="0" algn="ctr">
              <a:lnSpc>
                <a:spcPct val="90000"/>
              </a:lnSpc>
              <a:spcBef>
                <a:spcPts val="0"/>
              </a:spcBef>
              <a:spcAft>
                <a:spcPts val="0"/>
              </a:spcAft>
              <a:buFont typeface="Arial" panose="020B0604020202020204" pitchFamily="34" charset="0"/>
              <a:buNone/>
              <a:defRPr sz="1500" b="0" i="1" baseline="0">
                <a:solidFill>
                  <a:schemeClr val="tx1">
                    <a:lumMod val="50000"/>
                    <a:lumOff val="50000"/>
                  </a:schemeClr>
                </a:solidFill>
                <a:latin typeface="+mn-lt"/>
              </a:defRPr>
            </a:lvl1pPr>
          </a:lstStyle>
          <a:p>
            <a:r>
              <a:rPr lang="nl-NL" dirty="0"/>
              <a:t>Klik op het onderstaand icoon </a:t>
            </a:r>
            <a:br>
              <a:rPr lang="nl-NL" dirty="0"/>
            </a:br>
            <a:r>
              <a:rPr lang="nl-NL" dirty="0"/>
              <a:t>om een video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Tree>
    <p:extLst>
      <p:ext uri="{BB962C8B-B14F-4D97-AF65-F5344CB8AC3E}">
        <p14:creationId xmlns:p14="http://schemas.microsoft.com/office/powerpoint/2010/main" val="414261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ele achtergrond">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428447E3-1594-46A5-A88B-2F50664BE4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jdelijke aanduiding voor inhoud 2"/>
          <p:cNvSpPr>
            <a:spLocks noGrp="1"/>
          </p:cNvSpPr>
          <p:nvPr>
            <p:ph idx="1"/>
          </p:nvPr>
        </p:nvSpPr>
        <p:spPr>
          <a:xfrm>
            <a:off x="1730326" y="1055077"/>
            <a:ext cx="8975188" cy="4656406"/>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32D67026-D9AE-4200-8FCB-8BD5E7BCD853}"/>
              </a:ext>
            </a:extLst>
          </p:cNvPr>
          <p:cNvSpPr>
            <a:spLocks noGrp="1"/>
          </p:cNvSpPr>
          <p:nvPr>
            <p:ph type="dt" sz="half" idx="10"/>
          </p:nvPr>
        </p:nvSpPr>
        <p:spPr/>
        <p:txBody>
          <a:bodyPr/>
          <a:lstStyle>
            <a:lvl1pPr>
              <a:defRPr smtClean="0">
                <a:solidFill>
                  <a:schemeClr val="bg1"/>
                </a:solidFill>
              </a:defRPr>
            </a:lvl1pPr>
          </a:lstStyle>
          <a:p>
            <a:pPr>
              <a:defRPr/>
            </a:pPr>
            <a:fld id="{44A01A8F-43B9-464C-8D49-6FB5F25E4BC3}" type="datetimeFigureOut">
              <a:rPr lang="nl-NL"/>
              <a:pPr>
                <a:defRPr/>
              </a:pPr>
              <a:t>28-9-2022</a:t>
            </a:fld>
            <a:endParaRPr lang="nl-NL" dirty="0"/>
          </a:p>
        </p:txBody>
      </p:sp>
      <p:sp>
        <p:nvSpPr>
          <p:cNvPr id="5" name="Tijdelijke aanduiding voor voettekst 4">
            <a:extLst>
              <a:ext uri="{FF2B5EF4-FFF2-40B4-BE49-F238E27FC236}">
                <a16:creationId xmlns:a16="http://schemas.microsoft.com/office/drawing/2014/main" id="{E0AEF891-549D-4264-9B5B-9651F30D1F61}"/>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5">
            <a:extLst>
              <a:ext uri="{FF2B5EF4-FFF2-40B4-BE49-F238E27FC236}">
                <a16:creationId xmlns:a16="http://schemas.microsoft.com/office/drawing/2014/main" id="{DAADD3A9-6868-4930-BA07-1BBB6C4297B3}"/>
              </a:ext>
            </a:extLst>
          </p:cNvPr>
          <p:cNvSpPr>
            <a:spLocks noGrp="1"/>
          </p:cNvSpPr>
          <p:nvPr>
            <p:ph type="sldNum" sz="quarter" idx="12"/>
          </p:nvPr>
        </p:nvSpPr>
        <p:spPr/>
        <p:txBody>
          <a:bodyPr/>
          <a:lstStyle>
            <a:lvl1pPr>
              <a:defRPr smtClean="0">
                <a:solidFill>
                  <a:schemeClr val="bg1"/>
                </a:solidFill>
              </a:defRPr>
            </a:lvl1pPr>
          </a:lstStyle>
          <a:p>
            <a:pPr>
              <a:defRPr/>
            </a:pPr>
            <a:fld id="{196C378C-5B42-4936-B2EB-7477284B4FCC}" type="slidenum">
              <a:rPr lang="nl-NL"/>
              <a:pPr>
                <a:defRPr/>
              </a:pPr>
              <a:t>‹nr.›</a:t>
            </a:fld>
            <a:endParaRPr lang="nl-NL" dirty="0"/>
          </a:p>
        </p:txBody>
      </p:sp>
    </p:spTree>
    <p:extLst>
      <p:ext uri="{BB962C8B-B14F-4D97-AF65-F5344CB8AC3E}">
        <p14:creationId xmlns:p14="http://schemas.microsoft.com/office/powerpoint/2010/main" val="634961389"/>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 en Grafiek">
    <p:bg>
      <p:bgPr>
        <a:solidFill>
          <a:schemeClr val="bg2"/>
        </a:solidFill>
        <a:effectLst/>
      </p:bgPr>
    </p:bg>
    <p:spTree>
      <p:nvGrpSpPr>
        <p:cNvPr id="1" name=""/>
        <p:cNvGrpSpPr/>
        <p:nvPr/>
      </p:nvGrpSpPr>
      <p:grpSpPr>
        <a:xfrm>
          <a:off x="0" y="0"/>
          <a:ext cx="0" cy="0"/>
          <a:chOff x="0" y="0"/>
          <a:chExt cx="0" cy="0"/>
        </a:xfrm>
      </p:grpSpPr>
      <p:sp>
        <p:nvSpPr>
          <p:cNvPr id="11" name="Vrije vorm: vorm 10">
            <a:extLst>
              <a:ext uri="{FF2B5EF4-FFF2-40B4-BE49-F238E27FC236}">
                <a16:creationId xmlns:a16="http://schemas.microsoft.com/office/drawing/2014/main" id="{775541D5-B384-448B-AAA8-54E544C75902}"/>
              </a:ext>
            </a:extLst>
          </p:cNvPr>
          <p:cNvSpPr/>
          <p:nvPr userDrawn="1"/>
        </p:nvSpPr>
        <p:spPr>
          <a:xfrm>
            <a:off x="1" y="0"/>
            <a:ext cx="6028673" cy="6858000"/>
          </a:xfrm>
          <a:custGeom>
            <a:avLst/>
            <a:gdLst>
              <a:gd name="connsiteX0" fmla="*/ 0 w 6028673"/>
              <a:gd name="connsiteY0" fmla="*/ 0 h 6858000"/>
              <a:gd name="connsiteX1" fmla="*/ 5805684 w 6028673"/>
              <a:gd name="connsiteY1" fmla="*/ 0 h 6858000"/>
              <a:gd name="connsiteX2" fmla="*/ 5762816 w 6028673"/>
              <a:gd name="connsiteY2" fmla="*/ 1569 h 6858000"/>
              <a:gd name="connsiteX3" fmla="*/ 5665506 w 6028673"/>
              <a:gd name="connsiteY3" fmla="*/ 3042 h 6858000"/>
              <a:gd name="connsiteX4" fmla="*/ 6028673 w 6028673"/>
              <a:gd name="connsiteY4" fmla="*/ 3428936 h 6858000"/>
              <a:gd name="connsiteX5" fmla="*/ 5668161 w 6028673"/>
              <a:gd name="connsiteY5" fmla="*/ 6858000 h 6858000"/>
              <a:gd name="connsiteX6" fmla="*/ 0 w 6028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8673" h="6858000">
                <a:moveTo>
                  <a:pt x="0" y="0"/>
                </a:moveTo>
                <a:lnTo>
                  <a:pt x="5805684" y="0"/>
                </a:lnTo>
                <a:lnTo>
                  <a:pt x="5762816" y="1569"/>
                </a:lnTo>
                <a:cubicBezTo>
                  <a:pt x="5728743" y="2506"/>
                  <a:pt x="5696142" y="3042"/>
                  <a:pt x="5665506" y="3042"/>
                </a:cubicBezTo>
                <a:lnTo>
                  <a:pt x="6028673" y="3428936"/>
                </a:lnTo>
                <a:lnTo>
                  <a:pt x="56681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grafiek 12"/>
          <p:cNvSpPr>
            <a:spLocks noGrp="1"/>
          </p:cNvSpPr>
          <p:nvPr>
            <p:ph type="chart" sz="quarter" idx="14" hasCustomPrompt="1"/>
          </p:nvPr>
        </p:nvSpPr>
        <p:spPr>
          <a:xfrm>
            <a:off x="6794494" y="1355768"/>
            <a:ext cx="4876806" cy="4993200"/>
          </a:xfrm>
          <a:prstGeom prst="rect">
            <a:avLst/>
          </a:prstGeom>
          <a:noFill/>
          <a:ln>
            <a:noFill/>
          </a:ln>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grafiek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3" name="Tijdelijke aanduiding voor verticale tekst 2"/>
          <p:cNvSpPr>
            <a:spLocks noGrp="1"/>
          </p:cNvSpPr>
          <p:nvPr>
            <p:ph type="body" orient="vert" idx="1" hasCustomPrompt="1"/>
          </p:nvPr>
        </p:nvSpPr>
        <p:spPr>
          <a:xfrm>
            <a:off x="515939" y="1355767"/>
            <a:ext cx="4913311"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42712CEC-056C-4CC8-9E45-AEE0D769BB37}"/>
              </a:ext>
            </a:extLst>
          </p:cNvPr>
          <p:cNvSpPr>
            <a:spLocks noGrp="1"/>
          </p:cNvSpPr>
          <p:nvPr>
            <p:ph type="title" hasCustomPrompt="1"/>
          </p:nvPr>
        </p:nvSpPr>
        <p:spPr>
          <a:xfrm>
            <a:off x="515941" y="517525"/>
            <a:ext cx="4913309" cy="488950"/>
          </a:xfrm>
        </p:spPr>
        <p:txBody>
          <a:bodyPr/>
          <a:lstStyle>
            <a:lvl1pPr>
              <a:defRPr/>
            </a:lvl1pPr>
          </a:lstStyle>
          <a:p>
            <a:r>
              <a:rPr lang="nl-NL"/>
              <a:t>Plaats hier je titel</a:t>
            </a:r>
            <a:endParaRPr lang="nl-NL" dirty="0"/>
          </a:p>
        </p:txBody>
      </p:sp>
      <p:grpSp>
        <p:nvGrpSpPr>
          <p:cNvPr id="72" name="INSTRUCTIE">
            <a:extLst>
              <a:ext uri="{FF2B5EF4-FFF2-40B4-BE49-F238E27FC236}">
                <a16:creationId xmlns:a16="http://schemas.microsoft.com/office/drawing/2014/main" id="{06325288-19B8-46D5-91E7-CBFB2957323F}"/>
              </a:ext>
            </a:extLst>
          </p:cNvPr>
          <p:cNvGrpSpPr/>
          <p:nvPr userDrawn="1"/>
        </p:nvGrpSpPr>
        <p:grpSpPr>
          <a:xfrm>
            <a:off x="8469641" y="7033211"/>
            <a:ext cx="3727954" cy="1728407"/>
            <a:chOff x="5846" y="7033211"/>
            <a:chExt cx="3727954" cy="1728407"/>
          </a:xfrm>
        </p:grpSpPr>
        <p:sp>
          <p:nvSpPr>
            <p:cNvPr id="73" name="Rechthoek 72">
              <a:extLst>
                <a:ext uri="{FF2B5EF4-FFF2-40B4-BE49-F238E27FC236}">
                  <a16:creationId xmlns:a16="http://schemas.microsoft.com/office/drawing/2014/main" id="{29496A88-4F10-4DC2-B788-4AE84345DA0A}"/>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74" name="Ovaal 73">
              <a:extLst>
                <a:ext uri="{FF2B5EF4-FFF2-40B4-BE49-F238E27FC236}">
                  <a16:creationId xmlns:a16="http://schemas.microsoft.com/office/drawing/2014/main" id="{023DDA1C-A7F6-45C1-89A7-CDA2EBE8B645}"/>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90AD1E68-6C4A-42EF-8C0D-F926A10CBD5C}"/>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6" name="Ovaal 75">
              <a:extLst>
                <a:ext uri="{FF2B5EF4-FFF2-40B4-BE49-F238E27FC236}">
                  <a16:creationId xmlns:a16="http://schemas.microsoft.com/office/drawing/2014/main" id="{C9A1B1FE-81A2-409F-BC54-6440547925D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7" name="Rechthoek 76">
              <a:extLst>
                <a:ext uri="{FF2B5EF4-FFF2-40B4-BE49-F238E27FC236}">
                  <a16:creationId xmlns:a16="http://schemas.microsoft.com/office/drawing/2014/main" id="{400E9457-E215-415D-B921-81CF6D715A1F}"/>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78" name="Groep 77">
              <a:extLst>
                <a:ext uri="{FF2B5EF4-FFF2-40B4-BE49-F238E27FC236}">
                  <a16:creationId xmlns:a16="http://schemas.microsoft.com/office/drawing/2014/main" id="{D3A39DF8-0A0A-4916-B73F-73061360DA73}"/>
                </a:ext>
              </a:extLst>
            </p:cNvPr>
            <p:cNvGrpSpPr/>
            <p:nvPr userDrawn="1"/>
          </p:nvGrpSpPr>
          <p:grpSpPr>
            <a:xfrm>
              <a:off x="2939884" y="7739834"/>
              <a:ext cx="681133" cy="750023"/>
              <a:chOff x="-910573" y="4987990"/>
              <a:chExt cx="681133" cy="750023"/>
            </a:xfrm>
          </p:grpSpPr>
          <p:grpSp>
            <p:nvGrpSpPr>
              <p:cNvPr id="79" name="Groep 78">
                <a:extLst>
                  <a:ext uri="{FF2B5EF4-FFF2-40B4-BE49-F238E27FC236}">
                    <a16:creationId xmlns:a16="http://schemas.microsoft.com/office/drawing/2014/main" id="{F1CD34BB-4D2D-460A-8549-606BF8F53B0A}"/>
                  </a:ext>
                </a:extLst>
              </p:cNvPr>
              <p:cNvGrpSpPr/>
              <p:nvPr userDrawn="1"/>
            </p:nvGrpSpPr>
            <p:grpSpPr>
              <a:xfrm>
                <a:off x="-713542" y="4987990"/>
                <a:ext cx="287071" cy="379107"/>
                <a:chOff x="-4050578" y="288410"/>
                <a:chExt cx="322125" cy="379107"/>
              </a:xfrm>
            </p:grpSpPr>
            <p:sp>
              <p:nvSpPr>
                <p:cNvPr id="81" name="Rechthoek met één afgeknipte en afgeronde hoek 47">
                  <a:extLst>
                    <a:ext uri="{FF2B5EF4-FFF2-40B4-BE49-F238E27FC236}">
                      <a16:creationId xmlns:a16="http://schemas.microsoft.com/office/drawing/2014/main" id="{3BDB42C7-8EDF-45DD-B2C8-FB338FED884F}"/>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2" name="Rechthoekige driehoek 81">
                  <a:extLst>
                    <a:ext uri="{FF2B5EF4-FFF2-40B4-BE49-F238E27FC236}">
                      <a16:creationId xmlns:a16="http://schemas.microsoft.com/office/drawing/2014/main" id="{D5CDEE3A-D092-43E3-9FE1-5B614BF4EA3B}"/>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3" name="Rechthoek 82">
                  <a:extLst>
                    <a:ext uri="{FF2B5EF4-FFF2-40B4-BE49-F238E27FC236}">
                      <a16:creationId xmlns:a16="http://schemas.microsoft.com/office/drawing/2014/main" id="{944F2B55-3BDB-445A-A34E-1C918AB7267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4" name="Rechthoek 83">
                  <a:extLst>
                    <a:ext uri="{FF2B5EF4-FFF2-40B4-BE49-F238E27FC236}">
                      <a16:creationId xmlns:a16="http://schemas.microsoft.com/office/drawing/2014/main" id="{F8B0B7DA-144C-4D13-B67F-EDD5D0BEBFC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80" name="Rechthoek 79">
                <a:extLst>
                  <a:ext uri="{FF2B5EF4-FFF2-40B4-BE49-F238E27FC236}">
                    <a16:creationId xmlns:a16="http://schemas.microsoft.com/office/drawing/2014/main" id="{38BCDCB1-BFBC-4B7C-9DEE-106EE061CE69}"/>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85" name="INSTRUCTIE">
            <a:extLst>
              <a:ext uri="{FF2B5EF4-FFF2-40B4-BE49-F238E27FC236}">
                <a16:creationId xmlns:a16="http://schemas.microsoft.com/office/drawing/2014/main" id="{2ABC1870-61C7-4601-B8AC-8E4DAAB3AD67}"/>
              </a:ext>
            </a:extLst>
          </p:cNvPr>
          <p:cNvGrpSpPr/>
          <p:nvPr userDrawn="1"/>
        </p:nvGrpSpPr>
        <p:grpSpPr>
          <a:xfrm>
            <a:off x="-3786165" y="0"/>
            <a:ext cx="3593091" cy="4641338"/>
            <a:chOff x="-3786165" y="0"/>
            <a:chExt cx="3593091" cy="4641338"/>
          </a:xfrm>
        </p:grpSpPr>
        <p:sp>
          <p:nvSpPr>
            <p:cNvPr id="86" name="Rechthoek 85">
              <a:extLst>
                <a:ext uri="{FF2B5EF4-FFF2-40B4-BE49-F238E27FC236}">
                  <a16:creationId xmlns:a16="http://schemas.microsoft.com/office/drawing/2014/main" id="{671A4EED-40BB-44A0-9C46-B5D3F0E59A3A}"/>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87" name="Ovaal 86">
              <a:extLst>
                <a:ext uri="{FF2B5EF4-FFF2-40B4-BE49-F238E27FC236}">
                  <a16:creationId xmlns:a16="http://schemas.microsoft.com/office/drawing/2014/main" id="{BADB6957-205B-4EA8-98E3-AFDE41B06DF9}"/>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8" name="Rechthoek 87">
              <a:extLst>
                <a:ext uri="{FF2B5EF4-FFF2-40B4-BE49-F238E27FC236}">
                  <a16:creationId xmlns:a16="http://schemas.microsoft.com/office/drawing/2014/main" id="{22184E33-A3C1-475E-8030-1F09087F707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89" name="Ovaal 88">
              <a:extLst>
                <a:ext uri="{FF2B5EF4-FFF2-40B4-BE49-F238E27FC236}">
                  <a16:creationId xmlns:a16="http://schemas.microsoft.com/office/drawing/2014/main" id="{68FDAAB0-47B3-42A6-AF9A-6437F09A8404}"/>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0" name="Rechthoek 89">
              <a:extLst>
                <a:ext uri="{FF2B5EF4-FFF2-40B4-BE49-F238E27FC236}">
                  <a16:creationId xmlns:a16="http://schemas.microsoft.com/office/drawing/2014/main" id="{975C5CC8-81A8-4A9C-9070-32547B10FE4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91" name="Rechthoek 90">
              <a:extLst>
                <a:ext uri="{FF2B5EF4-FFF2-40B4-BE49-F238E27FC236}">
                  <a16:creationId xmlns:a16="http://schemas.microsoft.com/office/drawing/2014/main" id="{0C05DEE5-DC72-46E9-B807-EC99207DDE5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92" name="Ovaal 91">
              <a:extLst>
                <a:ext uri="{FF2B5EF4-FFF2-40B4-BE49-F238E27FC236}">
                  <a16:creationId xmlns:a16="http://schemas.microsoft.com/office/drawing/2014/main" id="{C3840170-3257-474C-968A-1C564D6E6B56}"/>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3" name="Rechthoek 92">
              <a:extLst>
                <a:ext uri="{FF2B5EF4-FFF2-40B4-BE49-F238E27FC236}">
                  <a16:creationId xmlns:a16="http://schemas.microsoft.com/office/drawing/2014/main" id="{6BBF4B7D-106C-4723-B76B-8FD8EE194D7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94" name="Ovaal 93">
              <a:extLst>
                <a:ext uri="{FF2B5EF4-FFF2-40B4-BE49-F238E27FC236}">
                  <a16:creationId xmlns:a16="http://schemas.microsoft.com/office/drawing/2014/main" id="{79CBAEB5-9702-4C0C-B0BE-9EC1A40B40D2}"/>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5" name="Rechthoek 94">
              <a:extLst>
                <a:ext uri="{FF2B5EF4-FFF2-40B4-BE49-F238E27FC236}">
                  <a16:creationId xmlns:a16="http://schemas.microsoft.com/office/drawing/2014/main" id="{99F78F04-746A-4F27-B5D8-988B61183667}"/>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96" name="Ovaal 95">
              <a:extLst>
                <a:ext uri="{FF2B5EF4-FFF2-40B4-BE49-F238E27FC236}">
                  <a16:creationId xmlns:a16="http://schemas.microsoft.com/office/drawing/2014/main" id="{A16DD9E6-3767-443C-80FA-3F5E29B4B7A9}"/>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97" name="Rechthoek 96">
              <a:extLst>
                <a:ext uri="{FF2B5EF4-FFF2-40B4-BE49-F238E27FC236}">
                  <a16:creationId xmlns:a16="http://schemas.microsoft.com/office/drawing/2014/main" id="{8521BBAC-00CB-4FD0-893C-9D937FC84A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98" name="Ovaal 97">
              <a:extLst>
                <a:ext uri="{FF2B5EF4-FFF2-40B4-BE49-F238E27FC236}">
                  <a16:creationId xmlns:a16="http://schemas.microsoft.com/office/drawing/2014/main" id="{BB99A646-B191-4C8C-B152-A58D407D19AF}"/>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99" name="Rechthoek 98">
              <a:extLst>
                <a:ext uri="{FF2B5EF4-FFF2-40B4-BE49-F238E27FC236}">
                  <a16:creationId xmlns:a16="http://schemas.microsoft.com/office/drawing/2014/main" id="{4C9AFFA4-6391-440B-B781-8D10610C4A7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00" name="Ovaal 99">
              <a:extLst>
                <a:ext uri="{FF2B5EF4-FFF2-40B4-BE49-F238E27FC236}">
                  <a16:creationId xmlns:a16="http://schemas.microsoft.com/office/drawing/2014/main" id="{524D5668-E6E2-4D09-8C9C-B08D50B80470}"/>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1" name="Rechthoek 100">
              <a:extLst>
                <a:ext uri="{FF2B5EF4-FFF2-40B4-BE49-F238E27FC236}">
                  <a16:creationId xmlns:a16="http://schemas.microsoft.com/office/drawing/2014/main" id="{DB4FA103-324D-4F22-BC90-900362AB664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02" name="Ovaal 101">
              <a:extLst>
                <a:ext uri="{FF2B5EF4-FFF2-40B4-BE49-F238E27FC236}">
                  <a16:creationId xmlns:a16="http://schemas.microsoft.com/office/drawing/2014/main" id="{5D41D8E9-3C83-40F2-B2F9-F422243C7EE8}"/>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03" name="Rechthoek 102">
              <a:extLst>
                <a:ext uri="{FF2B5EF4-FFF2-40B4-BE49-F238E27FC236}">
                  <a16:creationId xmlns:a16="http://schemas.microsoft.com/office/drawing/2014/main" id="{48E5499C-3C70-4B86-9A37-81A69F031F8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04" name="Ovaal 103">
              <a:extLst>
                <a:ext uri="{FF2B5EF4-FFF2-40B4-BE49-F238E27FC236}">
                  <a16:creationId xmlns:a16="http://schemas.microsoft.com/office/drawing/2014/main" id="{38327091-C621-478F-B119-9288E36BC183}"/>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05" name="Rechthoek 104">
              <a:extLst>
                <a:ext uri="{FF2B5EF4-FFF2-40B4-BE49-F238E27FC236}">
                  <a16:creationId xmlns:a16="http://schemas.microsoft.com/office/drawing/2014/main" id="{56B228CF-AA7B-4438-BE31-7FCB9EBBEE0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06" name="VOORBEELD">
              <a:extLst>
                <a:ext uri="{FF2B5EF4-FFF2-40B4-BE49-F238E27FC236}">
                  <a16:creationId xmlns:a16="http://schemas.microsoft.com/office/drawing/2014/main" id="{BE19FDFA-0A2B-40EF-A672-B94C55447F63}"/>
                </a:ext>
              </a:extLst>
            </p:cNvPr>
            <p:cNvGrpSpPr/>
            <p:nvPr userDrawn="1"/>
          </p:nvGrpSpPr>
          <p:grpSpPr>
            <a:xfrm>
              <a:off x="-3605171" y="458674"/>
              <a:ext cx="3234311" cy="558875"/>
              <a:chOff x="-3605171" y="458674"/>
              <a:chExt cx="3234311" cy="558875"/>
            </a:xfrm>
          </p:grpSpPr>
          <p:sp>
            <p:nvSpPr>
              <p:cNvPr id="107" name="Rechthoek 106">
                <a:extLst>
                  <a:ext uri="{FF2B5EF4-FFF2-40B4-BE49-F238E27FC236}">
                    <a16:creationId xmlns:a16="http://schemas.microsoft.com/office/drawing/2014/main" id="{D683E409-7E3D-416E-9D9E-AB69454C59D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08" name="Rechthoek 107">
                <a:extLst>
                  <a:ext uri="{FF2B5EF4-FFF2-40B4-BE49-F238E27FC236}">
                    <a16:creationId xmlns:a16="http://schemas.microsoft.com/office/drawing/2014/main" id="{95500AC7-D9B5-4DF5-8985-FB5962649C80}"/>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9" name="Groep 108">
                <a:extLst>
                  <a:ext uri="{FF2B5EF4-FFF2-40B4-BE49-F238E27FC236}">
                    <a16:creationId xmlns:a16="http://schemas.microsoft.com/office/drawing/2014/main" id="{E2D40E49-E02D-40B8-B0FE-6AF27228A169}"/>
                  </a:ext>
                </a:extLst>
              </p:cNvPr>
              <p:cNvGrpSpPr/>
              <p:nvPr userDrawn="1"/>
            </p:nvGrpSpPr>
            <p:grpSpPr>
              <a:xfrm>
                <a:off x="-3386247" y="830871"/>
                <a:ext cx="139423" cy="109566"/>
                <a:chOff x="-2866744" y="827071"/>
                <a:chExt cx="168701" cy="132575"/>
              </a:xfrm>
            </p:grpSpPr>
            <p:grpSp>
              <p:nvGrpSpPr>
                <p:cNvPr id="140" name="Groep 139">
                  <a:extLst>
                    <a:ext uri="{FF2B5EF4-FFF2-40B4-BE49-F238E27FC236}">
                      <a16:creationId xmlns:a16="http://schemas.microsoft.com/office/drawing/2014/main" id="{1F6483B3-D740-4C09-9117-745C14D52C69}"/>
                    </a:ext>
                  </a:extLst>
                </p:cNvPr>
                <p:cNvGrpSpPr/>
                <p:nvPr userDrawn="1"/>
              </p:nvGrpSpPr>
              <p:grpSpPr>
                <a:xfrm>
                  <a:off x="-2866744" y="827071"/>
                  <a:ext cx="168701" cy="132575"/>
                  <a:chOff x="-2866744" y="827071"/>
                  <a:chExt cx="168701" cy="132575"/>
                </a:xfrm>
              </p:grpSpPr>
              <p:cxnSp>
                <p:nvCxnSpPr>
                  <p:cNvPr id="142" name="Rechte verbindingslijn 141">
                    <a:extLst>
                      <a:ext uri="{FF2B5EF4-FFF2-40B4-BE49-F238E27FC236}">
                        <a16:creationId xmlns:a16="http://schemas.microsoft.com/office/drawing/2014/main" id="{20977928-67A3-4897-A895-B131849F0B8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43" name="Rechte verbindingslijn 142">
                    <a:extLst>
                      <a:ext uri="{FF2B5EF4-FFF2-40B4-BE49-F238E27FC236}">
                        <a16:creationId xmlns:a16="http://schemas.microsoft.com/office/drawing/2014/main" id="{7BB3D797-D858-4BD0-A8BE-CEBBCFB9ADA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E819DBF0-B603-4BC4-9B2E-4E9AED23623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F5237194-0F0F-4D6E-8399-E43CF90ADD9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A88E8102-4D6F-4C3B-8ACC-F1284A5E9F6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41" name="Pijl: rechts 140">
                  <a:extLst>
                    <a:ext uri="{FF2B5EF4-FFF2-40B4-BE49-F238E27FC236}">
                      <a16:creationId xmlns:a16="http://schemas.microsoft.com/office/drawing/2014/main" id="{BBD46F66-4D37-436D-BAC5-F39963FEDB4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D4A472C1-20ED-4B51-A1B7-C3EF2C16DE2B}"/>
                  </a:ext>
                </a:extLst>
              </p:cNvPr>
              <p:cNvGrpSpPr/>
              <p:nvPr userDrawn="1"/>
            </p:nvGrpSpPr>
            <p:grpSpPr>
              <a:xfrm>
                <a:off x="-3605171" y="830871"/>
                <a:ext cx="139423" cy="109566"/>
                <a:chOff x="-2866744" y="518074"/>
                <a:chExt cx="168701" cy="132575"/>
              </a:xfrm>
            </p:grpSpPr>
            <p:grpSp>
              <p:nvGrpSpPr>
                <p:cNvPr id="133" name="Groep 132">
                  <a:extLst>
                    <a:ext uri="{FF2B5EF4-FFF2-40B4-BE49-F238E27FC236}">
                      <a16:creationId xmlns:a16="http://schemas.microsoft.com/office/drawing/2014/main" id="{659B7B37-88BA-4C46-B11E-19E9768C16DD}"/>
                    </a:ext>
                  </a:extLst>
                </p:cNvPr>
                <p:cNvGrpSpPr/>
                <p:nvPr userDrawn="1"/>
              </p:nvGrpSpPr>
              <p:grpSpPr>
                <a:xfrm>
                  <a:off x="-2866744" y="518074"/>
                  <a:ext cx="168701" cy="132575"/>
                  <a:chOff x="-2866744" y="518074"/>
                  <a:chExt cx="168701" cy="132575"/>
                </a:xfrm>
              </p:grpSpPr>
              <p:cxnSp>
                <p:nvCxnSpPr>
                  <p:cNvPr id="135" name="Rechte verbindingslijn 134">
                    <a:extLst>
                      <a:ext uri="{FF2B5EF4-FFF2-40B4-BE49-F238E27FC236}">
                        <a16:creationId xmlns:a16="http://schemas.microsoft.com/office/drawing/2014/main" id="{562CAAFE-DA4A-495C-A1B1-AE9E2BBDA4D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36" name="Rechte verbindingslijn 135">
                    <a:extLst>
                      <a:ext uri="{FF2B5EF4-FFF2-40B4-BE49-F238E27FC236}">
                        <a16:creationId xmlns:a16="http://schemas.microsoft.com/office/drawing/2014/main" id="{563B28C2-3C8B-4CD2-87FA-9E305596D5E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37" name="Rechte verbindingslijn 136">
                    <a:extLst>
                      <a:ext uri="{FF2B5EF4-FFF2-40B4-BE49-F238E27FC236}">
                        <a16:creationId xmlns:a16="http://schemas.microsoft.com/office/drawing/2014/main" id="{FB9A122D-7EF7-44FD-99AA-53955FADD98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8" name="Rechte verbindingslijn 137">
                    <a:extLst>
                      <a:ext uri="{FF2B5EF4-FFF2-40B4-BE49-F238E27FC236}">
                        <a16:creationId xmlns:a16="http://schemas.microsoft.com/office/drawing/2014/main" id="{DE999638-CE24-4BC8-A0EC-BBAC3D386DE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FE9B1F41-568F-4C0A-975E-05EFA9B5088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34" name="Pijl: rechts 133">
                  <a:extLst>
                    <a:ext uri="{FF2B5EF4-FFF2-40B4-BE49-F238E27FC236}">
                      <a16:creationId xmlns:a16="http://schemas.microsoft.com/office/drawing/2014/main" id="{F226C4DB-18F0-46A0-8109-9FCD42CA4DEB}"/>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11" name="Rechte verbindingslijn 110">
                <a:extLst>
                  <a:ext uri="{FF2B5EF4-FFF2-40B4-BE49-F238E27FC236}">
                    <a16:creationId xmlns:a16="http://schemas.microsoft.com/office/drawing/2014/main" id="{EAC5B3F0-6B2E-4731-B6E9-2752B2C6697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2" name="Rechte verbindingslijn 111">
                <a:extLst>
                  <a:ext uri="{FF2B5EF4-FFF2-40B4-BE49-F238E27FC236}">
                    <a16:creationId xmlns:a16="http://schemas.microsoft.com/office/drawing/2014/main" id="{7A2D96BE-DB5B-4B40-B89A-65F4073365E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13" name="Rechthoek 112">
                <a:extLst>
                  <a:ext uri="{FF2B5EF4-FFF2-40B4-BE49-F238E27FC236}">
                    <a16:creationId xmlns:a16="http://schemas.microsoft.com/office/drawing/2014/main" id="{94133311-D1C8-45EC-984B-C730E7D773B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14" name="Rechthoek 113">
                <a:extLst>
                  <a:ext uri="{FF2B5EF4-FFF2-40B4-BE49-F238E27FC236}">
                    <a16:creationId xmlns:a16="http://schemas.microsoft.com/office/drawing/2014/main" id="{C229EAA0-9A33-4C6D-B3EA-B863188B506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15" name="Groep 114">
                <a:extLst>
                  <a:ext uri="{FF2B5EF4-FFF2-40B4-BE49-F238E27FC236}">
                    <a16:creationId xmlns:a16="http://schemas.microsoft.com/office/drawing/2014/main" id="{A4F654B9-A569-44B1-A584-762ADD822CE9}"/>
                  </a:ext>
                </a:extLst>
              </p:cNvPr>
              <p:cNvGrpSpPr/>
              <p:nvPr userDrawn="1"/>
            </p:nvGrpSpPr>
            <p:grpSpPr>
              <a:xfrm>
                <a:off x="-2916763" y="769168"/>
                <a:ext cx="268738" cy="248381"/>
                <a:chOff x="-2916763" y="769168"/>
                <a:chExt cx="268738" cy="248381"/>
              </a:xfrm>
            </p:grpSpPr>
            <p:sp>
              <p:nvSpPr>
                <p:cNvPr id="125" name="Rechthoek 124">
                  <a:extLst>
                    <a:ext uri="{FF2B5EF4-FFF2-40B4-BE49-F238E27FC236}">
                      <a16:creationId xmlns:a16="http://schemas.microsoft.com/office/drawing/2014/main" id="{10FD72D1-B6F8-4085-B619-46B300F676A3}"/>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26" name="Groep 125">
                  <a:extLst>
                    <a:ext uri="{FF2B5EF4-FFF2-40B4-BE49-F238E27FC236}">
                      <a16:creationId xmlns:a16="http://schemas.microsoft.com/office/drawing/2014/main" id="{1D0B5A06-C068-47D7-94AB-709BEB9D7E13}"/>
                    </a:ext>
                  </a:extLst>
                </p:cNvPr>
                <p:cNvGrpSpPr/>
                <p:nvPr userDrawn="1"/>
              </p:nvGrpSpPr>
              <p:grpSpPr>
                <a:xfrm>
                  <a:off x="-2866744" y="827071"/>
                  <a:ext cx="168701" cy="132575"/>
                  <a:chOff x="-2866744" y="827071"/>
                  <a:chExt cx="168701" cy="132575"/>
                </a:xfrm>
              </p:grpSpPr>
              <p:cxnSp>
                <p:nvCxnSpPr>
                  <p:cNvPr id="128" name="Rechte verbindingslijn 127">
                    <a:extLst>
                      <a:ext uri="{FF2B5EF4-FFF2-40B4-BE49-F238E27FC236}">
                        <a16:creationId xmlns:a16="http://schemas.microsoft.com/office/drawing/2014/main" id="{2D1A553D-3BA2-4B57-93F1-7C94B05E5157}"/>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29" name="Rechte verbindingslijn 128">
                    <a:extLst>
                      <a:ext uri="{FF2B5EF4-FFF2-40B4-BE49-F238E27FC236}">
                        <a16:creationId xmlns:a16="http://schemas.microsoft.com/office/drawing/2014/main" id="{5940381F-AC01-46CC-BFC1-9AEE3880D49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D90D7441-3C91-4E52-82EB-0ECD7DDA941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9B1018FD-01D0-4437-B396-F0D5ED1EAA6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2" name="Rechte verbindingslijn 131">
                    <a:extLst>
                      <a:ext uri="{FF2B5EF4-FFF2-40B4-BE49-F238E27FC236}">
                        <a16:creationId xmlns:a16="http://schemas.microsoft.com/office/drawing/2014/main" id="{60082AC4-FB28-4BBA-B9B1-F605055CA25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7" name="Pijl: rechts 126">
                  <a:extLst>
                    <a:ext uri="{FF2B5EF4-FFF2-40B4-BE49-F238E27FC236}">
                      <a16:creationId xmlns:a16="http://schemas.microsoft.com/office/drawing/2014/main" id="{56A97908-8BEE-43F6-992B-07AB987AF5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42FB352A-F64A-41F3-B8EC-08635A5BFC7E}"/>
                  </a:ext>
                </a:extLst>
              </p:cNvPr>
              <p:cNvGrpSpPr/>
              <p:nvPr userDrawn="1"/>
            </p:nvGrpSpPr>
            <p:grpSpPr>
              <a:xfrm>
                <a:off x="-2916763" y="460171"/>
                <a:ext cx="268738" cy="248381"/>
                <a:chOff x="-2916763" y="460171"/>
                <a:chExt cx="268738" cy="248381"/>
              </a:xfrm>
            </p:grpSpPr>
            <p:sp>
              <p:nvSpPr>
                <p:cNvPr id="117" name="Rechthoek 116">
                  <a:extLst>
                    <a:ext uri="{FF2B5EF4-FFF2-40B4-BE49-F238E27FC236}">
                      <a16:creationId xmlns:a16="http://schemas.microsoft.com/office/drawing/2014/main" id="{9CDE0813-8CDD-4E11-907F-8232086DD895}"/>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8" name="Groep 117">
                  <a:extLst>
                    <a:ext uri="{FF2B5EF4-FFF2-40B4-BE49-F238E27FC236}">
                      <a16:creationId xmlns:a16="http://schemas.microsoft.com/office/drawing/2014/main" id="{1E9A4D41-4380-4269-89A6-4FF0FAF3E67E}"/>
                    </a:ext>
                  </a:extLst>
                </p:cNvPr>
                <p:cNvGrpSpPr/>
                <p:nvPr userDrawn="1"/>
              </p:nvGrpSpPr>
              <p:grpSpPr>
                <a:xfrm>
                  <a:off x="-2866744" y="518074"/>
                  <a:ext cx="168701" cy="132575"/>
                  <a:chOff x="-2866744" y="518074"/>
                  <a:chExt cx="168701" cy="132575"/>
                </a:xfrm>
              </p:grpSpPr>
              <p:cxnSp>
                <p:nvCxnSpPr>
                  <p:cNvPr id="120" name="Rechte verbindingslijn 119">
                    <a:extLst>
                      <a:ext uri="{FF2B5EF4-FFF2-40B4-BE49-F238E27FC236}">
                        <a16:creationId xmlns:a16="http://schemas.microsoft.com/office/drawing/2014/main" id="{47FCADB4-DDD4-4BCB-A794-CE3CBB1213D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1" name="Rechte verbindingslijn 120">
                    <a:extLst>
                      <a:ext uri="{FF2B5EF4-FFF2-40B4-BE49-F238E27FC236}">
                        <a16:creationId xmlns:a16="http://schemas.microsoft.com/office/drawing/2014/main" id="{F1E5C926-6E4A-4276-9FDA-B97F65D556C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27CEBF42-F927-46F4-986C-E0834939464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433D15F0-8208-4879-AD2F-463EAFCC56B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3BE2B12D-EE0B-48D2-94F0-09716DFF478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19" name="Pijl: rechts 118">
                  <a:extLst>
                    <a:ext uri="{FF2B5EF4-FFF2-40B4-BE49-F238E27FC236}">
                      <a16:creationId xmlns:a16="http://schemas.microsoft.com/office/drawing/2014/main" id="{8910D580-DE98-4DFE-8490-DAA46BBA8DE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80886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fiek">
    <p:bg>
      <p:bgPr>
        <a:solidFill>
          <a:schemeClr val="bg2"/>
        </a:solidFill>
        <a:effectLst/>
      </p:bgPr>
    </p:bg>
    <p:spTree>
      <p:nvGrpSpPr>
        <p:cNvPr id="1" name=""/>
        <p:cNvGrpSpPr/>
        <p:nvPr/>
      </p:nvGrpSpPr>
      <p:grpSpPr>
        <a:xfrm>
          <a:off x="0" y="0"/>
          <a:ext cx="0" cy="0"/>
          <a:chOff x="0" y="0"/>
          <a:chExt cx="0" cy="0"/>
        </a:xfrm>
      </p:grpSpPr>
      <p:sp>
        <p:nvSpPr>
          <p:cNvPr id="13" name="Tijdelijke aanduiding voor grafiek 12"/>
          <p:cNvSpPr>
            <a:spLocks noGrp="1"/>
          </p:cNvSpPr>
          <p:nvPr>
            <p:ph type="chart" sz="quarter" idx="14" hasCustomPrompt="1"/>
          </p:nvPr>
        </p:nvSpPr>
        <p:spPr>
          <a:xfrm>
            <a:off x="521553" y="1355767"/>
            <a:ext cx="11149747" cy="4993200"/>
          </a:xfrm>
          <a:prstGeom prst="rect">
            <a:avLst/>
          </a:prstGeom>
          <a:noFill/>
          <a:ln>
            <a:noFill/>
          </a:ln>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grafiek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2" name="Titel 1">
            <a:extLst>
              <a:ext uri="{FF2B5EF4-FFF2-40B4-BE49-F238E27FC236}">
                <a16:creationId xmlns:a16="http://schemas.microsoft.com/office/drawing/2014/main" id="{F98ABAF9-0134-4269-BA9B-0062111DB491}"/>
              </a:ext>
            </a:extLst>
          </p:cNvPr>
          <p:cNvSpPr>
            <a:spLocks noGrp="1"/>
          </p:cNvSpPr>
          <p:nvPr>
            <p:ph type="title" hasCustomPrompt="1"/>
          </p:nvPr>
        </p:nvSpPr>
        <p:spPr/>
        <p:txBody>
          <a:bodyPr/>
          <a:lstStyle>
            <a:lvl1pPr>
              <a:defRPr/>
            </a:lvl1pPr>
          </a:lstStyle>
          <a:p>
            <a:r>
              <a:rPr lang="nl-NL" dirty="0"/>
              <a:t>Plaats hier je titel</a:t>
            </a:r>
          </a:p>
        </p:txBody>
      </p:sp>
      <p:grpSp>
        <p:nvGrpSpPr>
          <p:cNvPr id="7" name="INSTRUCTIE">
            <a:extLst>
              <a:ext uri="{FF2B5EF4-FFF2-40B4-BE49-F238E27FC236}">
                <a16:creationId xmlns:a16="http://schemas.microsoft.com/office/drawing/2014/main" id="{105A7AD2-314D-4E95-B524-5D8C68F72D3B}"/>
              </a:ext>
            </a:extLst>
          </p:cNvPr>
          <p:cNvGrpSpPr/>
          <p:nvPr userDrawn="1"/>
        </p:nvGrpSpPr>
        <p:grpSpPr>
          <a:xfrm>
            <a:off x="8469641" y="7033211"/>
            <a:ext cx="3727954" cy="1728407"/>
            <a:chOff x="5846" y="7033211"/>
            <a:chExt cx="3727954" cy="1728407"/>
          </a:xfrm>
        </p:grpSpPr>
        <p:sp>
          <p:nvSpPr>
            <p:cNvPr id="8" name="Rechthoek 7">
              <a:extLst>
                <a:ext uri="{FF2B5EF4-FFF2-40B4-BE49-F238E27FC236}">
                  <a16:creationId xmlns:a16="http://schemas.microsoft.com/office/drawing/2014/main" id="{A0933942-6969-4A4F-B3FF-180CF0C09C8A}"/>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9" name="Ovaal 8">
              <a:extLst>
                <a:ext uri="{FF2B5EF4-FFF2-40B4-BE49-F238E27FC236}">
                  <a16:creationId xmlns:a16="http://schemas.microsoft.com/office/drawing/2014/main" id="{ED06130E-ECEB-404B-8F4E-3F0C044A8B7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11FD7C09-022B-4E0B-8C85-B12E4F79C594}"/>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1" name="Ovaal 10">
              <a:extLst>
                <a:ext uri="{FF2B5EF4-FFF2-40B4-BE49-F238E27FC236}">
                  <a16:creationId xmlns:a16="http://schemas.microsoft.com/office/drawing/2014/main" id="{D79FC5BA-DECC-425E-9CBB-E5ECD2A19DBE}"/>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D77DB1BC-A18C-4A2B-A120-A0CD5A82CB18}"/>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4" name="Groep 13">
              <a:extLst>
                <a:ext uri="{FF2B5EF4-FFF2-40B4-BE49-F238E27FC236}">
                  <a16:creationId xmlns:a16="http://schemas.microsoft.com/office/drawing/2014/main" id="{7A0191BF-F996-401E-AEDC-12AF0C505068}"/>
                </a:ext>
              </a:extLst>
            </p:cNvPr>
            <p:cNvGrpSpPr/>
            <p:nvPr userDrawn="1"/>
          </p:nvGrpSpPr>
          <p:grpSpPr>
            <a:xfrm>
              <a:off x="2939884" y="7739834"/>
              <a:ext cx="681133" cy="750023"/>
              <a:chOff x="-910573" y="4987990"/>
              <a:chExt cx="681133" cy="750023"/>
            </a:xfrm>
          </p:grpSpPr>
          <p:grpSp>
            <p:nvGrpSpPr>
              <p:cNvPr id="15" name="Groep 14">
                <a:extLst>
                  <a:ext uri="{FF2B5EF4-FFF2-40B4-BE49-F238E27FC236}">
                    <a16:creationId xmlns:a16="http://schemas.microsoft.com/office/drawing/2014/main" id="{81C39FC9-A796-47B0-AB60-776466DB0B3F}"/>
                  </a:ext>
                </a:extLst>
              </p:cNvPr>
              <p:cNvGrpSpPr/>
              <p:nvPr userDrawn="1"/>
            </p:nvGrpSpPr>
            <p:grpSpPr>
              <a:xfrm>
                <a:off x="-713542" y="4987990"/>
                <a:ext cx="287071" cy="379107"/>
                <a:chOff x="-4050578" y="288410"/>
                <a:chExt cx="322125" cy="379107"/>
              </a:xfrm>
            </p:grpSpPr>
            <p:sp>
              <p:nvSpPr>
                <p:cNvPr id="17" name="Rechthoek met één afgeknipte en afgeronde hoek 47">
                  <a:extLst>
                    <a:ext uri="{FF2B5EF4-FFF2-40B4-BE49-F238E27FC236}">
                      <a16:creationId xmlns:a16="http://schemas.microsoft.com/office/drawing/2014/main" id="{86DBB10E-BFFA-4C85-86CC-4F4EC4EBB0D3}"/>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8" name="Rechthoekige driehoek 17">
                  <a:extLst>
                    <a:ext uri="{FF2B5EF4-FFF2-40B4-BE49-F238E27FC236}">
                      <a16:creationId xmlns:a16="http://schemas.microsoft.com/office/drawing/2014/main" id="{51B46CE3-DE61-4847-A895-4F56BB18A614}"/>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9" name="Rechthoek 18">
                  <a:extLst>
                    <a:ext uri="{FF2B5EF4-FFF2-40B4-BE49-F238E27FC236}">
                      <a16:creationId xmlns:a16="http://schemas.microsoft.com/office/drawing/2014/main" id="{C4CDBC20-5D95-46BB-929F-933EA7B43CF5}"/>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 19">
                  <a:extLst>
                    <a:ext uri="{FF2B5EF4-FFF2-40B4-BE49-F238E27FC236}">
                      <a16:creationId xmlns:a16="http://schemas.microsoft.com/office/drawing/2014/main" id="{B16E4307-C475-4870-B39B-6F2DFCC1D0DC}"/>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6" name="Rechthoek 15">
                <a:extLst>
                  <a:ext uri="{FF2B5EF4-FFF2-40B4-BE49-F238E27FC236}">
                    <a16:creationId xmlns:a16="http://schemas.microsoft.com/office/drawing/2014/main" id="{011A87A2-BDBB-41E2-B2FF-A8F05BC7C1BC}"/>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65609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en Tabel">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515938" y="1355767"/>
            <a:ext cx="5004752" cy="4993200"/>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dirty="0" err="1"/>
              <a:t>Bullet</a:t>
            </a:r>
            <a:endParaRPr lang="nl-NL" dirty="0"/>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a:t>
            </a:r>
            <a:r>
              <a:rPr lang="nl-NL" dirty="0" err="1"/>
              <a:t>bullets</a:t>
            </a:r>
            <a:endParaRPr lang="nl-NL" dirty="0"/>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1" name="Tijdelijke aanduiding voor tabel 8"/>
          <p:cNvSpPr>
            <a:spLocks noGrp="1"/>
          </p:cNvSpPr>
          <p:nvPr>
            <p:ph type="tbl" sz="quarter" idx="15" hasCustomPrompt="1"/>
          </p:nvPr>
        </p:nvSpPr>
        <p:spPr>
          <a:xfrm>
            <a:off x="6794494" y="517525"/>
            <a:ext cx="4876806" cy="5818188"/>
          </a:xfrm>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tabel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sp>
        <p:nvSpPr>
          <p:cNvPr id="4" name="Titel 3">
            <a:extLst>
              <a:ext uri="{FF2B5EF4-FFF2-40B4-BE49-F238E27FC236}">
                <a16:creationId xmlns:a16="http://schemas.microsoft.com/office/drawing/2014/main" id="{AD5B2F90-8068-41A9-818C-3BCD66E03FA5}"/>
              </a:ext>
            </a:extLst>
          </p:cNvPr>
          <p:cNvSpPr>
            <a:spLocks noGrp="1"/>
          </p:cNvSpPr>
          <p:nvPr>
            <p:ph type="title" hasCustomPrompt="1"/>
          </p:nvPr>
        </p:nvSpPr>
        <p:spPr>
          <a:xfrm>
            <a:off x="515941" y="517525"/>
            <a:ext cx="5004749" cy="488950"/>
          </a:xfrm>
        </p:spPr>
        <p:txBody>
          <a:bodyPr/>
          <a:lstStyle>
            <a:lvl1pPr>
              <a:defRPr/>
            </a:lvl1pPr>
          </a:lstStyle>
          <a:p>
            <a:r>
              <a:rPr lang="nl-NL" dirty="0"/>
              <a:t>Plaats hier je titel</a:t>
            </a:r>
          </a:p>
        </p:txBody>
      </p:sp>
      <p:grpSp>
        <p:nvGrpSpPr>
          <p:cNvPr id="72" name="INSTRUCTIE">
            <a:extLst>
              <a:ext uri="{FF2B5EF4-FFF2-40B4-BE49-F238E27FC236}">
                <a16:creationId xmlns:a16="http://schemas.microsoft.com/office/drawing/2014/main" id="{E3346521-0C6B-4A5D-95B8-72022571D4EF}"/>
              </a:ext>
            </a:extLst>
          </p:cNvPr>
          <p:cNvGrpSpPr/>
          <p:nvPr userDrawn="1"/>
        </p:nvGrpSpPr>
        <p:grpSpPr>
          <a:xfrm>
            <a:off x="8469641" y="7033211"/>
            <a:ext cx="3727954" cy="1728407"/>
            <a:chOff x="5846" y="7033211"/>
            <a:chExt cx="3727954" cy="1728407"/>
          </a:xfrm>
        </p:grpSpPr>
        <p:sp>
          <p:nvSpPr>
            <p:cNvPr id="73" name="Rechthoek 72">
              <a:extLst>
                <a:ext uri="{FF2B5EF4-FFF2-40B4-BE49-F238E27FC236}">
                  <a16:creationId xmlns:a16="http://schemas.microsoft.com/office/drawing/2014/main" id="{BC229354-54F9-4487-B137-907D498AB90D}"/>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74" name="Ovaal 73">
              <a:extLst>
                <a:ext uri="{FF2B5EF4-FFF2-40B4-BE49-F238E27FC236}">
                  <a16:creationId xmlns:a16="http://schemas.microsoft.com/office/drawing/2014/main" id="{C4C8A180-4EBC-44B4-9B19-09662E75D9D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75" name="Rechthoek 74">
              <a:extLst>
                <a:ext uri="{FF2B5EF4-FFF2-40B4-BE49-F238E27FC236}">
                  <a16:creationId xmlns:a16="http://schemas.microsoft.com/office/drawing/2014/main" id="{8980BA82-DE2C-4301-A0BC-6DADE5661CCD}"/>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76" name="Ovaal 75">
              <a:extLst>
                <a:ext uri="{FF2B5EF4-FFF2-40B4-BE49-F238E27FC236}">
                  <a16:creationId xmlns:a16="http://schemas.microsoft.com/office/drawing/2014/main" id="{FFCCD0BD-5CBA-4A4E-8DBC-8F1500AA47E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77" name="Rechthoek 76">
              <a:extLst>
                <a:ext uri="{FF2B5EF4-FFF2-40B4-BE49-F238E27FC236}">
                  <a16:creationId xmlns:a16="http://schemas.microsoft.com/office/drawing/2014/main" id="{DACBAD1E-741F-4D69-B6F3-6F3C9EBA4234}"/>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78" name="Groep 77">
              <a:extLst>
                <a:ext uri="{FF2B5EF4-FFF2-40B4-BE49-F238E27FC236}">
                  <a16:creationId xmlns:a16="http://schemas.microsoft.com/office/drawing/2014/main" id="{DFAC043B-D255-4700-8869-004A612CA615}"/>
                </a:ext>
              </a:extLst>
            </p:cNvPr>
            <p:cNvGrpSpPr/>
            <p:nvPr userDrawn="1"/>
          </p:nvGrpSpPr>
          <p:grpSpPr>
            <a:xfrm>
              <a:off x="2939884" y="7739834"/>
              <a:ext cx="681133" cy="750023"/>
              <a:chOff x="-910573" y="4987990"/>
              <a:chExt cx="681133" cy="750023"/>
            </a:xfrm>
          </p:grpSpPr>
          <p:grpSp>
            <p:nvGrpSpPr>
              <p:cNvPr id="79" name="Groep 78">
                <a:extLst>
                  <a:ext uri="{FF2B5EF4-FFF2-40B4-BE49-F238E27FC236}">
                    <a16:creationId xmlns:a16="http://schemas.microsoft.com/office/drawing/2014/main" id="{7735F763-B716-40EA-84A0-47D264963EEF}"/>
                  </a:ext>
                </a:extLst>
              </p:cNvPr>
              <p:cNvGrpSpPr/>
              <p:nvPr userDrawn="1"/>
            </p:nvGrpSpPr>
            <p:grpSpPr>
              <a:xfrm>
                <a:off x="-713542" y="4987990"/>
                <a:ext cx="287071" cy="379107"/>
                <a:chOff x="-4050578" y="288410"/>
                <a:chExt cx="322125" cy="379107"/>
              </a:xfrm>
            </p:grpSpPr>
            <p:sp>
              <p:nvSpPr>
                <p:cNvPr id="81" name="Rechthoek met één afgeknipte en afgeronde hoek 47">
                  <a:extLst>
                    <a:ext uri="{FF2B5EF4-FFF2-40B4-BE49-F238E27FC236}">
                      <a16:creationId xmlns:a16="http://schemas.microsoft.com/office/drawing/2014/main" id="{98771841-7FEE-4D02-BB06-935906403ED7}"/>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2" name="Rechthoekige driehoek 81">
                  <a:extLst>
                    <a:ext uri="{FF2B5EF4-FFF2-40B4-BE49-F238E27FC236}">
                      <a16:creationId xmlns:a16="http://schemas.microsoft.com/office/drawing/2014/main" id="{1B85308B-8F3A-4FF5-8353-7592C1E51DA7}"/>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3" name="Rechthoek 82">
                  <a:extLst>
                    <a:ext uri="{FF2B5EF4-FFF2-40B4-BE49-F238E27FC236}">
                      <a16:creationId xmlns:a16="http://schemas.microsoft.com/office/drawing/2014/main" id="{F9EBC0C6-D681-4FB2-8380-739AADA7773B}"/>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84" name="Rechthoek 83">
                  <a:extLst>
                    <a:ext uri="{FF2B5EF4-FFF2-40B4-BE49-F238E27FC236}">
                      <a16:creationId xmlns:a16="http://schemas.microsoft.com/office/drawing/2014/main" id="{9D810C95-61BD-4CCA-AEFE-ACF1B0302FFE}"/>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80" name="Rechthoek 79">
                <a:extLst>
                  <a:ext uri="{FF2B5EF4-FFF2-40B4-BE49-F238E27FC236}">
                    <a16:creationId xmlns:a16="http://schemas.microsoft.com/office/drawing/2014/main" id="{B60006BB-3AF6-4783-98D0-399E2C5F389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85" name="INSTRUCTIE">
            <a:extLst>
              <a:ext uri="{FF2B5EF4-FFF2-40B4-BE49-F238E27FC236}">
                <a16:creationId xmlns:a16="http://schemas.microsoft.com/office/drawing/2014/main" id="{5372A90F-4889-4358-999F-6BD58477497A}"/>
              </a:ext>
            </a:extLst>
          </p:cNvPr>
          <p:cNvGrpSpPr/>
          <p:nvPr userDrawn="1"/>
        </p:nvGrpSpPr>
        <p:grpSpPr>
          <a:xfrm>
            <a:off x="-3786165" y="0"/>
            <a:ext cx="3593091" cy="4641338"/>
            <a:chOff x="-3786165" y="0"/>
            <a:chExt cx="3593091" cy="4641338"/>
          </a:xfrm>
        </p:grpSpPr>
        <p:sp>
          <p:nvSpPr>
            <p:cNvPr id="86" name="Rechthoek 85">
              <a:extLst>
                <a:ext uri="{FF2B5EF4-FFF2-40B4-BE49-F238E27FC236}">
                  <a16:creationId xmlns:a16="http://schemas.microsoft.com/office/drawing/2014/main" id="{DEDD4338-C22F-4A1E-9CB6-4E9F133774C0}"/>
                </a:ext>
              </a:extLst>
            </p:cNvPr>
            <p:cNvSpPr/>
            <p:nvPr userDrawn="1"/>
          </p:nvSpPr>
          <p:spPr>
            <a:xfrm>
              <a:off x="-3786165" y="0"/>
              <a:ext cx="3593091" cy="464133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Tekstniveaus kiezen</a:t>
              </a:r>
            </a:p>
          </p:txBody>
        </p:sp>
        <p:sp>
          <p:nvSpPr>
            <p:cNvPr id="87" name="Ovaal 86">
              <a:extLst>
                <a:ext uri="{FF2B5EF4-FFF2-40B4-BE49-F238E27FC236}">
                  <a16:creationId xmlns:a16="http://schemas.microsoft.com/office/drawing/2014/main" id="{D9185567-B488-4FAB-9493-B54E43B2CBF7}"/>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8" name="Rechthoek 87">
              <a:extLst>
                <a:ext uri="{FF2B5EF4-FFF2-40B4-BE49-F238E27FC236}">
                  <a16:creationId xmlns:a16="http://schemas.microsoft.com/office/drawing/2014/main" id="{7D86CADE-7CC3-4858-8AA8-BEB37A07508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a:t>
              </a:r>
            </a:p>
          </p:txBody>
        </p:sp>
        <p:sp>
          <p:nvSpPr>
            <p:cNvPr id="89" name="Ovaal 88">
              <a:extLst>
                <a:ext uri="{FF2B5EF4-FFF2-40B4-BE49-F238E27FC236}">
                  <a16:creationId xmlns:a16="http://schemas.microsoft.com/office/drawing/2014/main" id="{062BF119-87EC-4511-A458-6C2384FE1E31}"/>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0" name="Rechthoek 89">
              <a:extLst>
                <a:ext uri="{FF2B5EF4-FFF2-40B4-BE49-F238E27FC236}">
                  <a16:creationId xmlns:a16="http://schemas.microsoft.com/office/drawing/2014/main" id="{1C4AA7C1-525B-4DA5-A424-79C4EDBE434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91" name="Rechthoek 90">
              <a:extLst>
                <a:ext uri="{FF2B5EF4-FFF2-40B4-BE49-F238E27FC236}">
                  <a16:creationId xmlns:a16="http://schemas.microsoft.com/office/drawing/2014/main" id="{A7F286B9-F5C0-40D7-8D95-684BA2BE5649}"/>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361950" marR="0" lvl="0" indent="-180975" defTabSz="914400" eaLnBrk="1" fontAlgn="auto" latinLnBrk="0" hangingPunct="1">
                <a:lnSpc>
                  <a:spcPct val="90000"/>
                </a:lnSpc>
                <a:spcBef>
                  <a:spcPts val="600"/>
                </a:spcBef>
                <a:spcAft>
                  <a:spcPts val="600"/>
                </a:spcAft>
                <a:buClr>
                  <a:schemeClr val="tx2"/>
                </a:buClr>
                <a:buSzTx/>
                <a:buFont typeface="Calibri Light" panose="020F0302020204030204" pitchFamily="34" charset="0"/>
                <a:buChar char="─"/>
                <a:tabLst/>
                <a:defRPr/>
              </a:pP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Sub-</a:t>
              </a:r>
              <a:r>
                <a:rPr kumimoji="0" lang="nl-NL" sz="1200" b="0" i="0" u="none" strike="noStrike" kern="0" cap="none" spc="0" normalizeH="0" baseline="0" noProof="0" dirty="0" err="1">
                  <a:ln>
                    <a:noFill/>
                  </a:ln>
                  <a:solidFill>
                    <a:schemeClr val="tx2"/>
                  </a:solidFill>
                  <a:effectLst/>
                  <a:uLnTx/>
                  <a:uFillTx/>
                  <a:latin typeface="+mn-lt"/>
                  <a:cs typeface="Segoe UI Light" panose="020B0502040204020203" pitchFamily="34" charset="0"/>
                </a:rPr>
                <a:t>bullet</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 (16pt) </a:t>
              </a:r>
            </a:p>
          </p:txBody>
        </p:sp>
        <p:sp>
          <p:nvSpPr>
            <p:cNvPr id="92" name="Ovaal 91">
              <a:extLst>
                <a:ext uri="{FF2B5EF4-FFF2-40B4-BE49-F238E27FC236}">
                  <a16:creationId xmlns:a16="http://schemas.microsoft.com/office/drawing/2014/main" id="{1FEAE750-69A7-4890-A6E8-A5F203B8EBDA}"/>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3" name="Rechthoek 92">
              <a:extLst>
                <a:ext uri="{FF2B5EF4-FFF2-40B4-BE49-F238E27FC236}">
                  <a16:creationId xmlns:a16="http://schemas.microsoft.com/office/drawing/2014/main" id="{492227D0-7846-495B-8010-C81D8611029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a:t>
              </a:r>
              <a:r>
                <a:rPr kumimoji="0" lang="nl-NL" sz="1200" b="0" i="0" u="none" strike="noStrike" kern="0" cap="none" spc="0" normalizeH="0" baseline="0" noProof="0" dirty="0">
                  <a:ln>
                    <a:noFill/>
                  </a:ln>
                  <a:solidFill>
                    <a:schemeClr val="tx2"/>
                  </a:solidFill>
                  <a:effectLst/>
                  <a:uLnTx/>
                  <a:uFillTx/>
                  <a:latin typeface="+mn-lt"/>
                  <a:cs typeface="Segoe UI Light" panose="020B0502040204020203" pitchFamily="34" charset="0"/>
                </a:rPr>
                <a:t>(16pt)</a:t>
              </a:r>
              <a:endParaRPr kumimoji="0" lang="nl-NL" sz="120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endParaRPr>
            </a:p>
          </p:txBody>
        </p:sp>
        <p:sp>
          <p:nvSpPr>
            <p:cNvPr id="94" name="Ovaal 93">
              <a:extLst>
                <a:ext uri="{FF2B5EF4-FFF2-40B4-BE49-F238E27FC236}">
                  <a16:creationId xmlns:a16="http://schemas.microsoft.com/office/drawing/2014/main" id="{2197E8FC-2AB5-47D8-8429-75CB04CB89E3}"/>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5" name="Rechthoek 94">
              <a:extLst>
                <a:ext uri="{FF2B5EF4-FFF2-40B4-BE49-F238E27FC236}">
                  <a16:creationId xmlns:a16="http://schemas.microsoft.com/office/drawing/2014/main" id="{A057DE0C-D2F6-4249-8956-F7FBAB5921BE}"/>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4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0pt)</a:t>
              </a:r>
            </a:p>
          </p:txBody>
        </p:sp>
        <p:sp>
          <p:nvSpPr>
            <p:cNvPr id="96" name="Ovaal 95">
              <a:extLst>
                <a:ext uri="{FF2B5EF4-FFF2-40B4-BE49-F238E27FC236}">
                  <a16:creationId xmlns:a16="http://schemas.microsoft.com/office/drawing/2014/main" id="{BA8DE06A-AD2F-4E10-B193-9647C198ABD1}"/>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5</a:t>
              </a:r>
            </a:p>
          </p:txBody>
        </p:sp>
        <p:sp>
          <p:nvSpPr>
            <p:cNvPr id="97" name="Rechthoek 96">
              <a:extLst>
                <a:ext uri="{FF2B5EF4-FFF2-40B4-BE49-F238E27FC236}">
                  <a16:creationId xmlns:a16="http://schemas.microsoft.com/office/drawing/2014/main" id="{BEC7DE8E-80B1-4786-8227-072069226CB7}"/>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63525" marR="0" lvl="4" indent="-263525" algn="l" defTabSz="719138" rtl="0" eaLnBrk="1" fontAlgn="auto" latinLnBrk="0" hangingPunct="1">
                <a:lnSpc>
                  <a:spcPct val="90000"/>
                </a:lnSpc>
                <a:spcBef>
                  <a:spcPts val="0"/>
                </a:spcBef>
                <a:spcAft>
                  <a:spcPts val="1200"/>
                </a:spcAft>
                <a:buClr>
                  <a:srgbClr val="002857"/>
                </a:buClr>
                <a:buSzTx/>
                <a:buFont typeface="+mj-lt"/>
                <a:buAutoNum type="arabicPeriod"/>
                <a:tabLst/>
                <a:defRPr/>
              </a:pPr>
              <a:r>
                <a:rPr kumimoji="0" lang="nl-NL" sz="1050" b="0" i="0" u="none" strike="noStrike" kern="1200" cap="none" spc="0" normalizeH="0" baseline="0" noProof="0" dirty="0">
                  <a:ln>
                    <a:noFill/>
                  </a:ln>
                  <a:solidFill>
                    <a:srgbClr val="002857"/>
                  </a:solidFill>
                  <a:effectLst/>
                  <a:uLnTx/>
                  <a:uFillTx/>
                  <a:latin typeface="+mn-lt"/>
                  <a:ea typeface="+mn-ea"/>
                  <a:cs typeface="+mn-cs"/>
                </a:rPr>
                <a:t>Numerieke </a:t>
              </a:r>
              <a:r>
                <a:rPr kumimoji="0" lang="nl-NL" sz="1050" b="0" i="0" u="none" strike="noStrike" kern="1200" cap="none" spc="0" normalizeH="0" baseline="0" noProof="0" dirty="0" err="1">
                  <a:ln>
                    <a:noFill/>
                  </a:ln>
                  <a:solidFill>
                    <a:srgbClr val="002857"/>
                  </a:solidFill>
                  <a:effectLst/>
                  <a:uLnTx/>
                  <a:uFillTx/>
                  <a:latin typeface="+mn-lt"/>
                  <a:ea typeface="+mn-ea"/>
                  <a:cs typeface="+mn-cs"/>
                </a:rPr>
                <a:t>bullets</a:t>
              </a:r>
              <a:r>
                <a:rPr kumimoji="0" lang="nl-NL" sz="1050" b="0" i="0" u="none" strike="noStrike" kern="1200" cap="none" spc="0" normalizeH="0" baseline="0" noProof="0" dirty="0">
                  <a:ln>
                    <a:noFill/>
                  </a:ln>
                  <a:solidFill>
                    <a:srgbClr val="002857"/>
                  </a:solidFill>
                  <a:effectLst/>
                  <a:uLnTx/>
                  <a:uFillTx/>
                  <a:latin typeface="+mn-lt"/>
                  <a:ea typeface="+mn-ea"/>
                  <a:cs typeface="+mn-cs"/>
                </a:rPr>
                <a:t> / opsomming (16pt)</a:t>
              </a:r>
            </a:p>
          </p:txBody>
        </p:sp>
        <p:sp>
          <p:nvSpPr>
            <p:cNvPr id="98" name="Ovaal 97">
              <a:extLst>
                <a:ext uri="{FF2B5EF4-FFF2-40B4-BE49-F238E27FC236}">
                  <a16:creationId xmlns:a16="http://schemas.microsoft.com/office/drawing/2014/main" id="{C7E16F89-F924-4F37-8ABB-7E738B8C680C}"/>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6</a:t>
              </a:r>
            </a:p>
          </p:txBody>
        </p:sp>
        <p:sp>
          <p:nvSpPr>
            <p:cNvPr id="99" name="Rechthoek 98">
              <a:extLst>
                <a:ext uri="{FF2B5EF4-FFF2-40B4-BE49-F238E27FC236}">
                  <a16:creationId xmlns:a16="http://schemas.microsoft.com/office/drawing/2014/main" id="{56FA90D1-5325-4132-95A0-478DA8688730}"/>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541338" marR="0" lvl="0" indent="-180975" algn="l" defTabSz="914400" rtl="0" eaLnBrk="1" fontAlgn="auto" latinLnBrk="0" hangingPunct="1">
                <a:lnSpc>
                  <a:spcPct val="90000"/>
                </a:lnSpc>
                <a:spcBef>
                  <a:spcPts val="600"/>
                </a:spcBef>
                <a:spcAft>
                  <a:spcPts val="600"/>
                </a:spcAft>
                <a:buClr>
                  <a:srgbClr val="0068BD"/>
                </a:buClr>
                <a:buSzTx/>
                <a:buFont typeface="Arial" panose="020B0604020202020204" pitchFamily="34" charset="0"/>
                <a:buChar char="•"/>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Sub-</a:t>
              </a:r>
              <a:r>
                <a:rPr kumimoji="0" lang="nl-NL" sz="1050" b="0" i="0" u="none" strike="noStrike" kern="0" cap="none" spc="0" normalizeH="0" baseline="0" noProof="0" dirty="0" err="1">
                  <a:ln>
                    <a:noFill/>
                  </a:ln>
                  <a:solidFill>
                    <a:srgbClr val="002857"/>
                  </a:solidFill>
                  <a:effectLst/>
                  <a:uLnTx/>
                  <a:uFillTx/>
                  <a:latin typeface="+mn-lt"/>
                  <a:ea typeface="+mn-ea"/>
                  <a:cs typeface="Segoe UI Light" panose="020B0502040204020203" pitchFamily="34" charset="0"/>
                </a:rPr>
                <a:t>bullet</a:t>
              </a: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 onder opsomming (16pt)</a:t>
              </a:r>
            </a:p>
          </p:txBody>
        </p:sp>
        <p:sp>
          <p:nvSpPr>
            <p:cNvPr id="100" name="Ovaal 99">
              <a:extLst>
                <a:ext uri="{FF2B5EF4-FFF2-40B4-BE49-F238E27FC236}">
                  <a16:creationId xmlns:a16="http://schemas.microsoft.com/office/drawing/2014/main" id="{02837942-F7B2-4689-85E8-C90936DDB11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1" name="Rechthoek 100">
              <a:extLst>
                <a:ext uri="{FF2B5EF4-FFF2-40B4-BE49-F238E27FC236}">
                  <a16:creationId xmlns:a16="http://schemas.microsoft.com/office/drawing/2014/main" id="{3814FBA1-DF3E-4103-AE9C-7068555C8D4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Leestekst (16pt)</a:t>
              </a:r>
            </a:p>
          </p:txBody>
        </p:sp>
        <p:sp>
          <p:nvSpPr>
            <p:cNvPr id="102" name="Ovaal 101">
              <a:extLst>
                <a:ext uri="{FF2B5EF4-FFF2-40B4-BE49-F238E27FC236}">
                  <a16:creationId xmlns:a16="http://schemas.microsoft.com/office/drawing/2014/main" id="{3715F2BB-32CE-4DDE-9DA5-A378A0782396}"/>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03" name="Rechthoek 102">
              <a:extLst>
                <a:ext uri="{FF2B5EF4-FFF2-40B4-BE49-F238E27FC236}">
                  <a16:creationId xmlns:a16="http://schemas.microsoft.com/office/drawing/2014/main" id="{88501496-95D2-44FF-9625-2868A17FE45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3" indent="0" algn="l" defTabSz="719138" rtl="0" eaLnBrk="1" fontAlgn="auto" latinLnBrk="0" hangingPunct="1">
                <a:lnSpc>
                  <a:spcPct val="90000"/>
                </a:lnSpc>
                <a:spcBef>
                  <a:spcPts val="0"/>
                </a:spcBef>
                <a:spcAft>
                  <a:spcPts val="1200"/>
                </a:spcAft>
                <a:buClrTx/>
                <a:buSzTx/>
                <a:buFont typeface="Arial" panose="020B0604020202020204" pitchFamily="34" charset="0"/>
                <a:buNone/>
                <a:tabLst/>
                <a:defRPr/>
              </a:pPr>
              <a:r>
                <a:rPr kumimoji="0" lang="nl-NL" sz="1800" b="1" i="0" u="none" strike="noStrike" kern="1200" cap="none" spc="30" normalizeH="0" baseline="0" noProof="0" dirty="0">
                  <a:ln>
                    <a:noFill/>
                  </a:ln>
                  <a:solidFill>
                    <a:srgbClr val="0068BD"/>
                  </a:solidFill>
                  <a:effectLst/>
                  <a:uLnTx/>
                  <a:uFillTx/>
                  <a:latin typeface="+mn-lt"/>
                  <a:ea typeface="+mn-ea"/>
                  <a:cs typeface="Calibri" panose="020F0502020204030204" pitchFamily="34" charset="0"/>
                </a:rPr>
                <a:t>Subtitel (24pt)</a:t>
              </a:r>
            </a:p>
          </p:txBody>
        </p:sp>
        <p:sp>
          <p:nvSpPr>
            <p:cNvPr id="104" name="Ovaal 103">
              <a:extLst>
                <a:ext uri="{FF2B5EF4-FFF2-40B4-BE49-F238E27FC236}">
                  <a16:creationId xmlns:a16="http://schemas.microsoft.com/office/drawing/2014/main" id="{6E21E38C-0040-4B9F-9DC8-5BDF5ADED075}"/>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05" name="Rechthoek 104">
              <a:extLst>
                <a:ext uri="{FF2B5EF4-FFF2-40B4-BE49-F238E27FC236}">
                  <a16:creationId xmlns:a16="http://schemas.microsoft.com/office/drawing/2014/main" id="{E909CC18-ABA5-43C9-9052-9A49B91E920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360363" marR="0" lvl="0" indent="-179388" algn="l" defTabSz="914400" rtl="0" eaLnBrk="1" fontAlgn="auto" latinLnBrk="0" hangingPunct="1">
                <a:lnSpc>
                  <a:spcPct val="90000"/>
                </a:lnSpc>
                <a:spcBef>
                  <a:spcPts val="600"/>
                </a:spcBef>
                <a:spcAft>
                  <a:spcPts val="600"/>
                </a:spcAft>
                <a:buClr>
                  <a:srgbClr val="002857"/>
                </a:buClr>
                <a:buSzTx/>
                <a:buFont typeface="+mj-lt"/>
                <a:buAutoNum type="alphaLcPeriod"/>
                <a:tabLst/>
                <a:defRPr/>
              </a:pPr>
              <a:r>
                <a:rPr kumimoji="0" lang="nl-NL" sz="1050" b="0" i="0" u="none" strike="noStrike" kern="0" cap="none" spc="0" normalizeH="0" baseline="0" noProof="0" dirty="0">
                  <a:ln>
                    <a:noFill/>
                  </a:ln>
                  <a:solidFill>
                    <a:srgbClr val="002857"/>
                  </a:solidFill>
                  <a:effectLst/>
                  <a:uLnTx/>
                  <a:uFillTx/>
                  <a:latin typeface="+mn-lt"/>
                  <a:ea typeface="+mn-ea"/>
                  <a:cs typeface="Segoe UI Light" panose="020B0502040204020203" pitchFamily="34" charset="0"/>
                </a:rPr>
                <a:t>Alfabet onder opsomming (16pt)</a:t>
              </a:r>
            </a:p>
          </p:txBody>
        </p:sp>
        <p:grpSp>
          <p:nvGrpSpPr>
            <p:cNvPr id="106" name="VOORBEELD">
              <a:extLst>
                <a:ext uri="{FF2B5EF4-FFF2-40B4-BE49-F238E27FC236}">
                  <a16:creationId xmlns:a16="http://schemas.microsoft.com/office/drawing/2014/main" id="{A2DA542B-4AF2-4DAC-AD22-C75066212E44}"/>
                </a:ext>
              </a:extLst>
            </p:cNvPr>
            <p:cNvGrpSpPr/>
            <p:nvPr userDrawn="1"/>
          </p:nvGrpSpPr>
          <p:grpSpPr>
            <a:xfrm>
              <a:off x="-3605171" y="458674"/>
              <a:ext cx="3234311" cy="558875"/>
              <a:chOff x="-3605171" y="458674"/>
              <a:chExt cx="3234311" cy="558875"/>
            </a:xfrm>
          </p:grpSpPr>
          <p:sp>
            <p:nvSpPr>
              <p:cNvPr id="107" name="Rechthoek 106">
                <a:extLst>
                  <a:ext uri="{FF2B5EF4-FFF2-40B4-BE49-F238E27FC236}">
                    <a16:creationId xmlns:a16="http://schemas.microsoft.com/office/drawing/2014/main" id="{7565E4BF-3889-4A40-9332-08B60FDB37D1}"/>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a:solidFill>
                      <a:srgbClr val="211F26"/>
                    </a:solidFill>
                    <a:latin typeface="Calibri" panose="020F0502020204030204" pitchFamily="34" charset="0"/>
                    <a:cs typeface="Calibri" panose="020F0502020204030204" pitchFamily="34" charset="0"/>
                  </a:rPr>
                  <a:t>Start</a:t>
                </a:r>
              </a:p>
            </p:txBody>
          </p:sp>
          <p:sp>
            <p:nvSpPr>
              <p:cNvPr id="108" name="Rechthoek 107">
                <a:extLst>
                  <a:ext uri="{FF2B5EF4-FFF2-40B4-BE49-F238E27FC236}">
                    <a16:creationId xmlns:a16="http://schemas.microsoft.com/office/drawing/2014/main" id="{FEB45127-5E70-478A-A768-7899B587683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9" name="Groep 108">
                <a:extLst>
                  <a:ext uri="{FF2B5EF4-FFF2-40B4-BE49-F238E27FC236}">
                    <a16:creationId xmlns:a16="http://schemas.microsoft.com/office/drawing/2014/main" id="{85139528-53B1-425B-A343-00E56EC96B16}"/>
                  </a:ext>
                </a:extLst>
              </p:cNvPr>
              <p:cNvGrpSpPr/>
              <p:nvPr userDrawn="1"/>
            </p:nvGrpSpPr>
            <p:grpSpPr>
              <a:xfrm>
                <a:off x="-3386247" y="830871"/>
                <a:ext cx="139423" cy="109566"/>
                <a:chOff x="-2866744" y="827071"/>
                <a:chExt cx="168701" cy="132575"/>
              </a:xfrm>
            </p:grpSpPr>
            <p:grpSp>
              <p:nvGrpSpPr>
                <p:cNvPr id="140" name="Groep 139">
                  <a:extLst>
                    <a:ext uri="{FF2B5EF4-FFF2-40B4-BE49-F238E27FC236}">
                      <a16:creationId xmlns:a16="http://schemas.microsoft.com/office/drawing/2014/main" id="{ECD4E02F-4C7D-4D80-943A-17AD99F27908}"/>
                    </a:ext>
                  </a:extLst>
                </p:cNvPr>
                <p:cNvGrpSpPr/>
                <p:nvPr userDrawn="1"/>
              </p:nvGrpSpPr>
              <p:grpSpPr>
                <a:xfrm>
                  <a:off x="-2866744" y="827071"/>
                  <a:ext cx="168701" cy="132575"/>
                  <a:chOff x="-2866744" y="827071"/>
                  <a:chExt cx="168701" cy="132575"/>
                </a:xfrm>
              </p:grpSpPr>
              <p:cxnSp>
                <p:nvCxnSpPr>
                  <p:cNvPr id="142" name="Rechte verbindingslijn 141">
                    <a:extLst>
                      <a:ext uri="{FF2B5EF4-FFF2-40B4-BE49-F238E27FC236}">
                        <a16:creationId xmlns:a16="http://schemas.microsoft.com/office/drawing/2014/main" id="{42C09284-BFC5-442F-BF51-8E7D9FC6E96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43" name="Rechte verbindingslijn 142">
                    <a:extLst>
                      <a:ext uri="{FF2B5EF4-FFF2-40B4-BE49-F238E27FC236}">
                        <a16:creationId xmlns:a16="http://schemas.microsoft.com/office/drawing/2014/main" id="{8EDADA96-CDCA-4B9C-B742-8DBF726707B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4" name="Rechte verbindingslijn 143">
                    <a:extLst>
                      <a:ext uri="{FF2B5EF4-FFF2-40B4-BE49-F238E27FC236}">
                        <a16:creationId xmlns:a16="http://schemas.microsoft.com/office/drawing/2014/main" id="{FB5C0730-59F4-4688-83C9-121FC03382A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5" name="Rechte verbindingslijn 144">
                    <a:extLst>
                      <a:ext uri="{FF2B5EF4-FFF2-40B4-BE49-F238E27FC236}">
                        <a16:creationId xmlns:a16="http://schemas.microsoft.com/office/drawing/2014/main" id="{AA4E3D22-2C51-41BC-AFD4-A2EC5FFC5D8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6" name="Rechte verbindingslijn 145">
                    <a:extLst>
                      <a:ext uri="{FF2B5EF4-FFF2-40B4-BE49-F238E27FC236}">
                        <a16:creationId xmlns:a16="http://schemas.microsoft.com/office/drawing/2014/main" id="{415DC988-2B75-4826-A0FA-A73D457A6033}"/>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41" name="Pijl: rechts 140">
                  <a:extLst>
                    <a:ext uri="{FF2B5EF4-FFF2-40B4-BE49-F238E27FC236}">
                      <a16:creationId xmlns:a16="http://schemas.microsoft.com/office/drawing/2014/main" id="{D9003B01-0902-445B-8575-D0D6D6D2706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FAA3B2E6-F694-4560-ABCB-B28370AE2533}"/>
                  </a:ext>
                </a:extLst>
              </p:cNvPr>
              <p:cNvGrpSpPr/>
              <p:nvPr userDrawn="1"/>
            </p:nvGrpSpPr>
            <p:grpSpPr>
              <a:xfrm>
                <a:off x="-3605171" y="830871"/>
                <a:ext cx="139423" cy="109566"/>
                <a:chOff x="-2866744" y="518074"/>
                <a:chExt cx="168701" cy="132575"/>
              </a:xfrm>
            </p:grpSpPr>
            <p:grpSp>
              <p:nvGrpSpPr>
                <p:cNvPr id="133" name="Groep 132">
                  <a:extLst>
                    <a:ext uri="{FF2B5EF4-FFF2-40B4-BE49-F238E27FC236}">
                      <a16:creationId xmlns:a16="http://schemas.microsoft.com/office/drawing/2014/main" id="{88295462-CE5B-4035-86A7-5710781990E6}"/>
                    </a:ext>
                  </a:extLst>
                </p:cNvPr>
                <p:cNvGrpSpPr/>
                <p:nvPr userDrawn="1"/>
              </p:nvGrpSpPr>
              <p:grpSpPr>
                <a:xfrm>
                  <a:off x="-2866744" y="518074"/>
                  <a:ext cx="168701" cy="132575"/>
                  <a:chOff x="-2866744" y="518074"/>
                  <a:chExt cx="168701" cy="132575"/>
                </a:xfrm>
              </p:grpSpPr>
              <p:cxnSp>
                <p:nvCxnSpPr>
                  <p:cNvPr id="135" name="Rechte verbindingslijn 134">
                    <a:extLst>
                      <a:ext uri="{FF2B5EF4-FFF2-40B4-BE49-F238E27FC236}">
                        <a16:creationId xmlns:a16="http://schemas.microsoft.com/office/drawing/2014/main" id="{EDD0B36F-5FB4-4BEB-A8DB-A4EC3AA1100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36" name="Rechte verbindingslijn 135">
                    <a:extLst>
                      <a:ext uri="{FF2B5EF4-FFF2-40B4-BE49-F238E27FC236}">
                        <a16:creationId xmlns:a16="http://schemas.microsoft.com/office/drawing/2014/main" id="{DF1A8CEE-80A4-43C5-9487-C59145EF089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37" name="Rechte verbindingslijn 136">
                    <a:extLst>
                      <a:ext uri="{FF2B5EF4-FFF2-40B4-BE49-F238E27FC236}">
                        <a16:creationId xmlns:a16="http://schemas.microsoft.com/office/drawing/2014/main" id="{285B36AC-801F-4DC0-8BA0-BCFBC8CD45A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8" name="Rechte verbindingslijn 137">
                    <a:extLst>
                      <a:ext uri="{FF2B5EF4-FFF2-40B4-BE49-F238E27FC236}">
                        <a16:creationId xmlns:a16="http://schemas.microsoft.com/office/drawing/2014/main" id="{C488B2F9-C414-4DA8-B467-1DFDBD57D35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CF07C27E-ED75-44ED-8A0F-C8B04F37FEE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34" name="Pijl: rechts 133">
                  <a:extLst>
                    <a:ext uri="{FF2B5EF4-FFF2-40B4-BE49-F238E27FC236}">
                      <a16:creationId xmlns:a16="http://schemas.microsoft.com/office/drawing/2014/main" id="{471AB105-82C5-444C-9F7D-E84BC8F5C2AF}"/>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cxnSp>
            <p:nvCxnSpPr>
              <p:cNvPr id="111" name="Rechte verbindingslijn 110">
                <a:extLst>
                  <a:ext uri="{FF2B5EF4-FFF2-40B4-BE49-F238E27FC236}">
                    <a16:creationId xmlns:a16="http://schemas.microsoft.com/office/drawing/2014/main" id="{2F6810BE-D104-4AC8-AD53-F9945877A460}"/>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2" name="Rechte verbindingslijn 111">
                <a:extLst>
                  <a:ext uri="{FF2B5EF4-FFF2-40B4-BE49-F238E27FC236}">
                    <a16:creationId xmlns:a16="http://schemas.microsoft.com/office/drawing/2014/main" id="{B3A8682A-0D68-4AD0-8AAA-0F4DB231444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13" name="Rechthoek 112">
                <a:extLst>
                  <a:ext uri="{FF2B5EF4-FFF2-40B4-BE49-F238E27FC236}">
                    <a16:creationId xmlns:a16="http://schemas.microsoft.com/office/drawing/2014/main" id="{2390FE17-E909-457E-B0D6-E8C7F40B2A1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hoog</a:t>
                </a:r>
              </a:p>
            </p:txBody>
          </p:sp>
          <p:sp>
            <p:nvSpPr>
              <p:cNvPr id="114" name="Rechthoek 113">
                <a:extLst>
                  <a:ext uri="{FF2B5EF4-FFF2-40B4-BE49-F238E27FC236}">
                    <a16:creationId xmlns:a16="http://schemas.microsoft.com/office/drawing/2014/main" id="{7EB7AFD3-7EF2-4FB3-B4F4-965BAE350CA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chemeClr val="tx1"/>
                    </a:solidFill>
                    <a:effectLst/>
                    <a:uLnTx/>
                    <a:uFillTx/>
                    <a:latin typeface="Calibri" panose="020F0502020204030204" pitchFamily="34" charset="0"/>
                    <a:cs typeface="Calibri" panose="020F0502020204030204" pitchFamily="34" charset="0"/>
                  </a:rPr>
                  <a:t>Tekstniveau omlaag</a:t>
                </a:r>
              </a:p>
            </p:txBody>
          </p:sp>
          <p:grpSp>
            <p:nvGrpSpPr>
              <p:cNvPr id="115" name="Groep 114">
                <a:extLst>
                  <a:ext uri="{FF2B5EF4-FFF2-40B4-BE49-F238E27FC236}">
                    <a16:creationId xmlns:a16="http://schemas.microsoft.com/office/drawing/2014/main" id="{D8F42D40-6DF1-435F-AAB1-0BF51355EAA8}"/>
                  </a:ext>
                </a:extLst>
              </p:cNvPr>
              <p:cNvGrpSpPr/>
              <p:nvPr userDrawn="1"/>
            </p:nvGrpSpPr>
            <p:grpSpPr>
              <a:xfrm>
                <a:off x="-2916763" y="769168"/>
                <a:ext cx="268738" cy="248381"/>
                <a:chOff x="-2916763" y="769168"/>
                <a:chExt cx="268738" cy="248381"/>
              </a:xfrm>
            </p:grpSpPr>
            <p:sp>
              <p:nvSpPr>
                <p:cNvPr id="125" name="Rechthoek 124">
                  <a:extLst>
                    <a:ext uri="{FF2B5EF4-FFF2-40B4-BE49-F238E27FC236}">
                      <a16:creationId xmlns:a16="http://schemas.microsoft.com/office/drawing/2014/main" id="{58E2E969-60FB-497C-BBB5-C31F76B5A92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26" name="Groep 125">
                  <a:extLst>
                    <a:ext uri="{FF2B5EF4-FFF2-40B4-BE49-F238E27FC236}">
                      <a16:creationId xmlns:a16="http://schemas.microsoft.com/office/drawing/2014/main" id="{D38B0883-C1D9-4641-A4E9-3BD1B1083351}"/>
                    </a:ext>
                  </a:extLst>
                </p:cNvPr>
                <p:cNvGrpSpPr/>
                <p:nvPr userDrawn="1"/>
              </p:nvGrpSpPr>
              <p:grpSpPr>
                <a:xfrm>
                  <a:off x="-2866744" y="827071"/>
                  <a:ext cx="168701" cy="132575"/>
                  <a:chOff x="-2866744" y="827071"/>
                  <a:chExt cx="168701" cy="132575"/>
                </a:xfrm>
              </p:grpSpPr>
              <p:cxnSp>
                <p:nvCxnSpPr>
                  <p:cNvPr id="128" name="Rechte verbindingslijn 127">
                    <a:extLst>
                      <a:ext uri="{FF2B5EF4-FFF2-40B4-BE49-F238E27FC236}">
                        <a16:creationId xmlns:a16="http://schemas.microsoft.com/office/drawing/2014/main" id="{0DD0323C-0AD0-4C6F-BFE4-1F3976367839}"/>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29" name="Rechte verbindingslijn 128">
                    <a:extLst>
                      <a:ext uri="{FF2B5EF4-FFF2-40B4-BE49-F238E27FC236}">
                        <a16:creationId xmlns:a16="http://schemas.microsoft.com/office/drawing/2014/main" id="{19FFB4F1-583D-4DF8-95FD-CC072E2FF41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F7CD50F3-BAC9-4547-A75C-06DD434DE486}"/>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06EB97D2-0C06-4A11-A473-6C3163342EF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32" name="Rechte verbindingslijn 131">
                    <a:extLst>
                      <a:ext uri="{FF2B5EF4-FFF2-40B4-BE49-F238E27FC236}">
                        <a16:creationId xmlns:a16="http://schemas.microsoft.com/office/drawing/2014/main" id="{293F700B-3865-4686-9F44-BCE304EB9FD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27" name="Pijl: rechts 126">
                  <a:extLst>
                    <a:ext uri="{FF2B5EF4-FFF2-40B4-BE49-F238E27FC236}">
                      <a16:creationId xmlns:a16="http://schemas.microsoft.com/office/drawing/2014/main" id="{17C99F1E-CE46-46E9-A4B6-F2E24EA7949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16" name="Groep 115">
                <a:extLst>
                  <a:ext uri="{FF2B5EF4-FFF2-40B4-BE49-F238E27FC236}">
                    <a16:creationId xmlns:a16="http://schemas.microsoft.com/office/drawing/2014/main" id="{DB6FA7D8-A247-462E-BB25-24F5EBA3ED16}"/>
                  </a:ext>
                </a:extLst>
              </p:cNvPr>
              <p:cNvGrpSpPr/>
              <p:nvPr userDrawn="1"/>
            </p:nvGrpSpPr>
            <p:grpSpPr>
              <a:xfrm>
                <a:off x="-2916763" y="460171"/>
                <a:ext cx="268738" cy="248381"/>
                <a:chOff x="-2916763" y="460171"/>
                <a:chExt cx="268738" cy="248381"/>
              </a:xfrm>
            </p:grpSpPr>
            <p:sp>
              <p:nvSpPr>
                <p:cNvPr id="117" name="Rechthoek 116">
                  <a:extLst>
                    <a:ext uri="{FF2B5EF4-FFF2-40B4-BE49-F238E27FC236}">
                      <a16:creationId xmlns:a16="http://schemas.microsoft.com/office/drawing/2014/main" id="{A3F58924-E2C2-4D95-93AA-A04242EE91E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211F26"/>
                    </a:solidFill>
                    <a:latin typeface="Calibri" panose="020F0502020204030204" pitchFamily="34" charset="0"/>
                    <a:cs typeface="Calibri" panose="020F0502020204030204" pitchFamily="34" charset="0"/>
                  </a:endParaRPr>
                </a:p>
              </p:txBody>
            </p:sp>
            <p:grpSp>
              <p:nvGrpSpPr>
                <p:cNvPr id="118" name="Groep 117">
                  <a:extLst>
                    <a:ext uri="{FF2B5EF4-FFF2-40B4-BE49-F238E27FC236}">
                      <a16:creationId xmlns:a16="http://schemas.microsoft.com/office/drawing/2014/main" id="{9D7239DE-2652-4D4A-8D25-12EE17247B17}"/>
                    </a:ext>
                  </a:extLst>
                </p:cNvPr>
                <p:cNvGrpSpPr/>
                <p:nvPr userDrawn="1"/>
              </p:nvGrpSpPr>
              <p:grpSpPr>
                <a:xfrm>
                  <a:off x="-2866744" y="518074"/>
                  <a:ext cx="168701" cy="132575"/>
                  <a:chOff x="-2866744" y="518074"/>
                  <a:chExt cx="168701" cy="132575"/>
                </a:xfrm>
              </p:grpSpPr>
              <p:cxnSp>
                <p:nvCxnSpPr>
                  <p:cNvPr id="120" name="Rechte verbindingslijn 119">
                    <a:extLst>
                      <a:ext uri="{FF2B5EF4-FFF2-40B4-BE49-F238E27FC236}">
                        <a16:creationId xmlns:a16="http://schemas.microsoft.com/office/drawing/2014/main" id="{41B94406-CB2B-414E-AF41-835297B39A81}"/>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1" name="Rechte verbindingslijn 120">
                    <a:extLst>
                      <a:ext uri="{FF2B5EF4-FFF2-40B4-BE49-F238E27FC236}">
                        <a16:creationId xmlns:a16="http://schemas.microsoft.com/office/drawing/2014/main" id="{41BC395A-56B5-4284-ACE1-16BE7AB9C22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2" name="Rechte verbindingslijn 121">
                    <a:extLst>
                      <a:ext uri="{FF2B5EF4-FFF2-40B4-BE49-F238E27FC236}">
                        <a16:creationId xmlns:a16="http://schemas.microsoft.com/office/drawing/2014/main" id="{4EB8D384-0E13-4473-A118-EBE0998CB32F}"/>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23" name="Rechte verbindingslijn 122">
                    <a:extLst>
                      <a:ext uri="{FF2B5EF4-FFF2-40B4-BE49-F238E27FC236}">
                        <a16:creationId xmlns:a16="http://schemas.microsoft.com/office/drawing/2014/main" id="{F6CCFEF6-BF71-4366-BF2F-C498641779D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24" name="Rechte verbindingslijn 123">
                    <a:extLst>
                      <a:ext uri="{FF2B5EF4-FFF2-40B4-BE49-F238E27FC236}">
                        <a16:creationId xmlns:a16="http://schemas.microsoft.com/office/drawing/2014/main" id="{BAB09BFA-4C39-4E1C-9A0A-BCDBFB20003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19" name="Pijl: rechts 118">
                  <a:extLst>
                    <a:ext uri="{FF2B5EF4-FFF2-40B4-BE49-F238E27FC236}">
                      <a16:creationId xmlns:a16="http://schemas.microsoft.com/office/drawing/2014/main" id="{C33208E6-2BAD-489C-881D-CE41AE47137E}"/>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84413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el">
    <p:bg>
      <p:bgPr>
        <a:solidFill>
          <a:schemeClr val="bg1"/>
        </a:solidFill>
        <a:effectLst/>
      </p:bgPr>
    </p:bg>
    <p:spTree>
      <p:nvGrpSpPr>
        <p:cNvPr id="1" name=""/>
        <p:cNvGrpSpPr/>
        <p:nvPr/>
      </p:nvGrpSpPr>
      <p:grpSpPr>
        <a:xfrm>
          <a:off x="0" y="0"/>
          <a:ext cx="0" cy="0"/>
          <a:chOff x="0" y="0"/>
          <a:chExt cx="0" cy="0"/>
        </a:xfrm>
      </p:grpSpPr>
      <p:sp>
        <p:nvSpPr>
          <p:cNvPr id="39" name="Titel 38"/>
          <p:cNvSpPr>
            <a:spLocks noGrp="1"/>
          </p:cNvSpPr>
          <p:nvPr>
            <p:ph type="title" hasCustomPrompt="1"/>
          </p:nvPr>
        </p:nvSpPr>
        <p:spPr/>
        <p:txBody>
          <a:bodyPr/>
          <a:lstStyle>
            <a:lvl1pPr>
              <a:defRPr/>
            </a:lvl1pPr>
          </a:lstStyle>
          <a:p>
            <a:r>
              <a:rPr lang="nl-NL" dirty="0"/>
              <a:t>Plaats hier je 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1" name="Tijdelijke aanduiding voor tabel 8"/>
          <p:cNvSpPr>
            <a:spLocks noGrp="1"/>
          </p:cNvSpPr>
          <p:nvPr>
            <p:ph type="tbl" sz="quarter" idx="15" hasCustomPrompt="1"/>
          </p:nvPr>
        </p:nvSpPr>
        <p:spPr>
          <a:xfrm>
            <a:off x="515938" y="1347275"/>
            <a:ext cx="11155362" cy="4993200"/>
          </a:xfrm>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tabel in te voegen.</a:t>
            </a:r>
            <a:br>
              <a:rPr lang="nl-NL" dirty="0"/>
            </a:br>
            <a:br>
              <a:rPr lang="nl-NL" dirty="0"/>
            </a:br>
            <a:r>
              <a:rPr lang="nl-NL" dirty="0"/>
              <a:t>Meer hulp nodig?</a:t>
            </a:r>
            <a:br>
              <a:rPr lang="nl-NL" dirty="0"/>
            </a:br>
            <a:r>
              <a:rPr lang="nl-NL" dirty="0"/>
              <a:t>Bekijk de sectie met instructie slides </a:t>
            </a:r>
            <a:br>
              <a:rPr lang="nl-NL" dirty="0"/>
            </a:br>
            <a:r>
              <a:rPr lang="nl-NL" dirty="0"/>
              <a:t>voor verdere informatie. </a:t>
            </a:r>
          </a:p>
          <a:p>
            <a:endParaRPr lang="nl-NL" dirty="0"/>
          </a:p>
        </p:txBody>
      </p:sp>
      <p:grpSp>
        <p:nvGrpSpPr>
          <p:cNvPr id="7" name="INSTRUCTIE">
            <a:extLst>
              <a:ext uri="{FF2B5EF4-FFF2-40B4-BE49-F238E27FC236}">
                <a16:creationId xmlns:a16="http://schemas.microsoft.com/office/drawing/2014/main" id="{1CE2DB09-9EEF-4EE2-9B3D-5F261FCECC4D}"/>
              </a:ext>
            </a:extLst>
          </p:cNvPr>
          <p:cNvGrpSpPr/>
          <p:nvPr userDrawn="1"/>
        </p:nvGrpSpPr>
        <p:grpSpPr>
          <a:xfrm>
            <a:off x="8469641" y="7033211"/>
            <a:ext cx="3727954" cy="1728407"/>
            <a:chOff x="5846" y="7033211"/>
            <a:chExt cx="3727954" cy="1728407"/>
          </a:xfrm>
        </p:grpSpPr>
        <p:sp>
          <p:nvSpPr>
            <p:cNvPr id="8" name="Rechthoek 7">
              <a:extLst>
                <a:ext uri="{FF2B5EF4-FFF2-40B4-BE49-F238E27FC236}">
                  <a16:creationId xmlns:a16="http://schemas.microsoft.com/office/drawing/2014/main" id="{DD9651A2-6B88-41EE-8ABB-F1E8AB4FA1E2}"/>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9" name="Ovaal 8">
              <a:extLst>
                <a:ext uri="{FF2B5EF4-FFF2-40B4-BE49-F238E27FC236}">
                  <a16:creationId xmlns:a16="http://schemas.microsoft.com/office/drawing/2014/main" id="{EAB47FCA-8EAC-4F3D-91F0-2708AA871779}"/>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00DB5086-08BF-4048-A061-DD29A8C6971B}"/>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739BDD48-70E2-434B-A85C-2FBCEC760730}"/>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2015199E-F53E-4EA6-A5E3-F2F2BF9E032D}"/>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4" name="Groep 13">
              <a:extLst>
                <a:ext uri="{FF2B5EF4-FFF2-40B4-BE49-F238E27FC236}">
                  <a16:creationId xmlns:a16="http://schemas.microsoft.com/office/drawing/2014/main" id="{CF05B20E-386E-44BC-883E-79CECAEDF2B5}"/>
                </a:ext>
              </a:extLst>
            </p:cNvPr>
            <p:cNvGrpSpPr/>
            <p:nvPr userDrawn="1"/>
          </p:nvGrpSpPr>
          <p:grpSpPr>
            <a:xfrm>
              <a:off x="2939884" y="7739834"/>
              <a:ext cx="681133" cy="750023"/>
              <a:chOff x="-910573" y="4987990"/>
              <a:chExt cx="681133" cy="750023"/>
            </a:xfrm>
          </p:grpSpPr>
          <p:grpSp>
            <p:nvGrpSpPr>
              <p:cNvPr id="15" name="Groep 14">
                <a:extLst>
                  <a:ext uri="{FF2B5EF4-FFF2-40B4-BE49-F238E27FC236}">
                    <a16:creationId xmlns:a16="http://schemas.microsoft.com/office/drawing/2014/main" id="{4FF3F740-4573-4D43-A718-2CD8781C2E5E}"/>
                  </a:ext>
                </a:extLst>
              </p:cNvPr>
              <p:cNvGrpSpPr/>
              <p:nvPr userDrawn="1"/>
            </p:nvGrpSpPr>
            <p:grpSpPr>
              <a:xfrm>
                <a:off x="-713542" y="4987990"/>
                <a:ext cx="287071" cy="379107"/>
                <a:chOff x="-4050578" y="288410"/>
                <a:chExt cx="322125" cy="379107"/>
              </a:xfrm>
            </p:grpSpPr>
            <p:sp>
              <p:nvSpPr>
                <p:cNvPr id="17" name="Rechthoek met één afgeknipte en afgeronde hoek 47">
                  <a:extLst>
                    <a:ext uri="{FF2B5EF4-FFF2-40B4-BE49-F238E27FC236}">
                      <a16:creationId xmlns:a16="http://schemas.microsoft.com/office/drawing/2014/main" id="{C782B010-1706-43AB-84F1-95DFAAD39E00}"/>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8" name="Rechthoekige driehoek 17">
                  <a:extLst>
                    <a:ext uri="{FF2B5EF4-FFF2-40B4-BE49-F238E27FC236}">
                      <a16:creationId xmlns:a16="http://schemas.microsoft.com/office/drawing/2014/main" id="{EA331EDF-D600-4740-AB4C-0B7BF3091754}"/>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19" name="Rechthoek 18">
                  <a:extLst>
                    <a:ext uri="{FF2B5EF4-FFF2-40B4-BE49-F238E27FC236}">
                      <a16:creationId xmlns:a16="http://schemas.microsoft.com/office/drawing/2014/main" id="{B629AA6A-25DB-49F7-8F67-BA1FA63E4335}"/>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 19">
                  <a:extLst>
                    <a:ext uri="{FF2B5EF4-FFF2-40B4-BE49-F238E27FC236}">
                      <a16:creationId xmlns:a16="http://schemas.microsoft.com/office/drawing/2014/main" id="{40B86E3E-448F-48E5-BA31-AEBF63B7F0ED}"/>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6" name="Rechthoek 15">
                <a:extLst>
                  <a:ext uri="{FF2B5EF4-FFF2-40B4-BE49-F238E27FC236}">
                    <a16:creationId xmlns:a16="http://schemas.microsoft.com/office/drawing/2014/main" id="{9C904C3B-93FD-438B-AFD8-9E1D1BB0328A}"/>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279903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oofdstukslide #6 en Beeld">
    <p:bg>
      <p:bgPr>
        <a:solidFill>
          <a:schemeClr val="bg1"/>
        </a:solidFill>
        <a:effectLst/>
      </p:bgPr>
    </p:bg>
    <p:spTree>
      <p:nvGrpSpPr>
        <p:cNvPr id="1" name=""/>
        <p:cNvGrpSpPr/>
        <p:nvPr/>
      </p:nvGrpSpPr>
      <p:grpSpPr>
        <a:xfrm>
          <a:off x="0" y="0"/>
          <a:ext cx="0" cy="0"/>
          <a:chOff x="0" y="0"/>
          <a:chExt cx="0" cy="0"/>
        </a:xfrm>
      </p:grpSpPr>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1981200"/>
            <a:ext cx="6465210" cy="2644561"/>
          </a:xfrm>
        </p:spPr>
        <p:txBody>
          <a:bodyPr anchor="b"/>
          <a:lstStyle>
            <a:lvl1pPr algn="l">
              <a:defRPr sz="6000">
                <a:solidFill>
                  <a:schemeClr val="tx2"/>
                </a:solidFill>
              </a:defRPr>
            </a:lvl1pPr>
          </a:lstStyle>
          <a:p>
            <a:r>
              <a:rPr lang="nl-NL" dirty="0"/>
              <a:t>Plaats hier </a:t>
            </a:r>
            <a:br>
              <a:rPr lang="nl-NL" dirty="0"/>
            </a:br>
            <a:r>
              <a:rPr lang="nl-NL" dirty="0"/>
              <a:t>je titel</a:t>
            </a:r>
            <a:br>
              <a:rPr lang="nl-NL" dirty="0"/>
            </a:br>
            <a:r>
              <a:rPr lang="nl-NL" dirty="0"/>
              <a:t>max. 3 regels</a:t>
            </a:r>
          </a:p>
        </p:txBody>
      </p:sp>
      <p:sp>
        <p:nvSpPr>
          <p:cNvPr id="31" name="Ondertitel 2">
            <a:extLst>
              <a:ext uri="{FF2B5EF4-FFF2-40B4-BE49-F238E27FC236}">
                <a16:creationId xmlns:a16="http://schemas.microsoft.com/office/drawing/2014/main" id="{9BD48850-E252-4689-9ACE-CD081746F165}"/>
              </a:ext>
            </a:extLst>
          </p:cNvPr>
          <p:cNvSpPr>
            <a:spLocks noGrp="1"/>
          </p:cNvSpPr>
          <p:nvPr>
            <p:ph type="subTitle" idx="15" hasCustomPrompt="1"/>
          </p:nvPr>
        </p:nvSpPr>
        <p:spPr>
          <a:xfrm>
            <a:off x="1488718" y="4676265"/>
            <a:ext cx="6465210" cy="419001"/>
          </a:xfrm>
        </p:spPr>
        <p:txBody>
          <a:bodyPr anchor="t"/>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Plaats</a:t>
            </a:r>
            <a:r>
              <a:rPr lang="en-GB" dirty="0"/>
              <a:t> </a:t>
            </a:r>
            <a:r>
              <a:rPr lang="en-GB" dirty="0" err="1"/>
              <a:t>hier</a:t>
            </a:r>
            <a:r>
              <a:rPr lang="en-GB" dirty="0"/>
              <a:t> je </a:t>
            </a:r>
            <a:r>
              <a:rPr lang="en-GB" dirty="0" err="1"/>
              <a:t>subtitel</a:t>
            </a:r>
            <a:endParaRPr lang="en-GB" dirty="0"/>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afbeelding 8">
            <a:extLst>
              <a:ext uri="{FF2B5EF4-FFF2-40B4-BE49-F238E27FC236}">
                <a16:creationId xmlns:a16="http://schemas.microsoft.com/office/drawing/2014/main" id="{1EB01BAA-A260-4B36-BC7A-6D5D3E1E63EC}"/>
              </a:ext>
            </a:extLst>
          </p:cNvPr>
          <p:cNvSpPr>
            <a:spLocks noGrp="1"/>
          </p:cNvSpPr>
          <p:nvPr>
            <p:ph type="pic" sz="quarter" idx="14"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dirty="0"/>
              <a:t>Klik op het onderstaand icoon </a:t>
            </a:r>
            <a:br>
              <a:rPr lang="nl-NL" dirty="0"/>
            </a:br>
            <a:r>
              <a:rPr lang="nl-NL" dirty="0"/>
              <a:t>om een illustratie in te voegen.</a:t>
            </a:r>
            <a:br>
              <a:rPr lang="nl-NL" dirty="0"/>
            </a:br>
            <a:br>
              <a:rPr lang="nl-NL" dirty="0"/>
            </a:br>
            <a:r>
              <a:rPr lang="nl-NL" dirty="0"/>
              <a:t>Meer hulp nodig?</a:t>
            </a:r>
          </a:p>
          <a:p>
            <a:r>
              <a:rPr lang="nl-NL" dirty="0"/>
              <a:t>Bekijk de sectie met instructie slides </a:t>
            </a:r>
            <a:br>
              <a:rPr lang="nl-NL" dirty="0"/>
            </a:br>
            <a:r>
              <a:rPr lang="nl-NL" dirty="0"/>
              <a:t>voor verdere informatie. </a:t>
            </a:r>
          </a:p>
          <a:p>
            <a:endParaRPr lang="nl-NL" dirty="0"/>
          </a:p>
        </p:txBody>
      </p:sp>
      <p:sp>
        <p:nvSpPr>
          <p:cNvPr id="7" name="Tijdelijke aanduiding voor voettekst 4">
            <a:extLst>
              <a:ext uri="{FF2B5EF4-FFF2-40B4-BE49-F238E27FC236}">
                <a16:creationId xmlns:a16="http://schemas.microsoft.com/office/drawing/2014/main" id="{32CDE956-D452-49A3-8677-A34CC14281C3}"/>
              </a:ext>
            </a:extLst>
          </p:cNvPr>
          <p:cNvSpPr>
            <a:spLocks noGrp="1"/>
          </p:cNvSpPr>
          <p:nvPr>
            <p:ph type="ftr" sz="quarter" idx="11"/>
          </p:nvPr>
        </p:nvSpPr>
        <p:spPr>
          <a:xfrm>
            <a:off x="521553" y="6472835"/>
            <a:ext cx="6273800" cy="225817"/>
          </a:xfrm>
        </p:spPr>
        <p:txBody>
          <a:bodyPr/>
          <a:lstStyle/>
          <a:p>
            <a:r>
              <a:rPr lang="nl-NL"/>
              <a:t>Zilveren Kruis | Naam presentatie</a:t>
            </a:r>
            <a:endParaRPr lang="nl-NL" dirty="0"/>
          </a:p>
        </p:txBody>
      </p:sp>
      <p:sp>
        <p:nvSpPr>
          <p:cNvPr id="9" name="Tijdelijke aanduiding voor dianummer 5">
            <a:extLst>
              <a:ext uri="{FF2B5EF4-FFF2-40B4-BE49-F238E27FC236}">
                <a16:creationId xmlns:a16="http://schemas.microsoft.com/office/drawing/2014/main" id="{F1D2D9A1-25D8-4701-8B3B-BA1F291467AF}"/>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grpSp>
        <p:nvGrpSpPr>
          <p:cNvPr id="10" name="INSTRUCTIE">
            <a:extLst>
              <a:ext uri="{FF2B5EF4-FFF2-40B4-BE49-F238E27FC236}">
                <a16:creationId xmlns:a16="http://schemas.microsoft.com/office/drawing/2014/main" id="{568A66DE-6BDF-4931-896D-DED193EB6608}"/>
              </a:ext>
            </a:extLst>
          </p:cNvPr>
          <p:cNvGrpSpPr/>
          <p:nvPr userDrawn="1"/>
        </p:nvGrpSpPr>
        <p:grpSpPr>
          <a:xfrm>
            <a:off x="8469641" y="7033211"/>
            <a:ext cx="3727954" cy="1728407"/>
            <a:chOff x="5846" y="7033211"/>
            <a:chExt cx="3727954" cy="1728407"/>
          </a:xfrm>
        </p:grpSpPr>
        <p:sp>
          <p:nvSpPr>
            <p:cNvPr id="11" name="Rechthoek 10">
              <a:extLst>
                <a:ext uri="{FF2B5EF4-FFF2-40B4-BE49-F238E27FC236}">
                  <a16:creationId xmlns:a16="http://schemas.microsoft.com/office/drawing/2014/main" id="{22C28782-FA9D-4CEB-A85B-39D346338898}"/>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2" name="Ovaal 11">
              <a:extLst>
                <a:ext uri="{FF2B5EF4-FFF2-40B4-BE49-F238E27FC236}">
                  <a16:creationId xmlns:a16="http://schemas.microsoft.com/office/drawing/2014/main" id="{CF5E2766-FF55-4FC8-9BC2-8075E249897E}"/>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1B6A82AD-02E3-418F-81A1-0FAB54D81950}"/>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A43A0D93-B755-40BA-8E2B-60026BAA60EA}"/>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2A5FA903-7199-4323-A79F-02AAA8D02CF9}"/>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6" name="Groep 15">
              <a:extLst>
                <a:ext uri="{FF2B5EF4-FFF2-40B4-BE49-F238E27FC236}">
                  <a16:creationId xmlns:a16="http://schemas.microsoft.com/office/drawing/2014/main" id="{53F12ABE-8F57-494B-9F01-957F64D77EAE}"/>
                </a:ext>
              </a:extLst>
            </p:cNvPr>
            <p:cNvGrpSpPr/>
            <p:nvPr userDrawn="1"/>
          </p:nvGrpSpPr>
          <p:grpSpPr>
            <a:xfrm>
              <a:off x="2939884" y="7739834"/>
              <a:ext cx="681133" cy="750023"/>
              <a:chOff x="-910573" y="4987990"/>
              <a:chExt cx="681133" cy="750023"/>
            </a:xfrm>
          </p:grpSpPr>
          <p:grpSp>
            <p:nvGrpSpPr>
              <p:cNvPr id="17" name="Groep 16">
                <a:extLst>
                  <a:ext uri="{FF2B5EF4-FFF2-40B4-BE49-F238E27FC236}">
                    <a16:creationId xmlns:a16="http://schemas.microsoft.com/office/drawing/2014/main" id="{100612B9-F78A-47E2-BBFC-C8F6A872FCD5}"/>
                  </a:ext>
                </a:extLst>
              </p:cNvPr>
              <p:cNvGrpSpPr/>
              <p:nvPr userDrawn="1"/>
            </p:nvGrpSpPr>
            <p:grpSpPr>
              <a:xfrm>
                <a:off x="-713542" y="4987990"/>
                <a:ext cx="287071" cy="379107"/>
                <a:chOff x="-4050578" y="288410"/>
                <a:chExt cx="322125" cy="379107"/>
              </a:xfrm>
            </p:grpSpPr>
            <p:sp>
              <p:nvSpPr>
                <p:cNvPr id="19" name="Rechthoek met één afgeknipte en afgeronde hoek 47">
                  <a:extLst>
                    <a:ext uri="{FF2B5EF4-FFF2-40B4-BE49-F238E27FC236}">
                      <a16:creationId xmlns:a16="http://schemas.microsoft.com/office/drawing/2014/main" id="{E9194416-5529-47FE-B07C-84E38D2BA7E0}"/>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0" name="Rechthoekige driehoek 19">
                  <a:extLst>
                    <a:ext uri="{FF2B5EF4-FFF2-40B4-BE49-F238E27FC236}">
                      <a16:creationId xmlns:a16="http://schemas.microsoft.com/office/drawing/2014/main" id="{E964EA91-4577-4C60-A085-F49C7AFBFD08}"/>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1" name="Rechthoek 20">
                  <a:extLst>
                    <a:ext uri="{FF2B5EF4-FFF2-40B4-BE49-F238E27FC236}">
                      <a16:creationId xmlns:a16="http://schemas.microsoft.com/office/drawing/2014/main" id="{AD6452E2-ADBF-40F3-A6ED-6A7C34A392CA}"/>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2" name="Rechthoek 21">
                  <a:extLst>
                    <a:ext uri="{FF2B5EF4-FFF2-40B4-BE49-F238E27FC236}">
                      <a16:creationId xmlns:a16="http://schemas.microsoft.com/office/drawing/2014/main" id="{65CEC840-BA9C-4966-89C4-3F4DD665EE81}"/>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8" name="Rechthoek 17">
                <a:extLst>
                  <a:ext uri="{FF2B5EF4-FFF2-40B4-BE49-F238E27FC236}">
                    <a16:creationId xmlns:a16="http://schemas.microsoft.com/office/drawing/2014/main" id="{BA6AEA99-A9EB-40DA-8ABB-2AD6A90B7894}"/>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grpSp>
        <p:nvGrpSpPr>
          <p:cNvPr id="23" name="Groep 22">
            <a:extLst>
              <a:ext uri="{FF2B5EF4-FFF2-40B4-BE49-F238E27FC236}">
                <a16:creationId xmlns:a16="http://schemas.microsoft.com/office/drawing/2014/main" id="{ED717392-AFF0-4D85-BF1F-AC3BFC9F6744}"/>
              </a:ext>
            </a:extLst>
          </p:cNvPr>
          <p:cNvGrpSpPr/>
          <p:nvPr userDrawn="1"/>
        </p:nvGrpSpPr>
        <p:grpSpPr>
          <a:xfrm>
            <a:off x="12377867" y="0"/>
            <a:ext cx="3593091" cy="6025208"/>
            <a:chOff x="12377867" y="0"/>
            <a:chExt cx="3593091" cy="6025208"/>
          </a:xfrm>
        </p:grpSpPr>
        <p:sp>
          <p:nvSpPr>
            <p:cNvPr id="24" name="Rechthoek 23">
              <a:extLst>
                <a:ext uri="{FF2B5EF4-FFF2-40B4-BE49-F238E27FC236}">
                  <a16:creationId xmlns:a16="http://schemas.microsoft.com/office/drawing/2014/main" id="{72E93F74-58F4-4EBF-B173-990CBC5F1A9A}"/>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25" name="Ovaal 24">
              <a:extLst>
                <a:ext uri="{FF2B5EF4-FFF2-40B4-BE49-F238E27FC236}">
                  <a16:creationId xmlns:a16="http://schemas.microsoft.com/office/drawing/2014/main" id="{DF540BA3-73FD-4F4E-B2E9-F40560FDCB59}"/>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6" name="Rechthoek 25">
              <a:extLst>
                <a:ext uri="{FF2B5EF4-FFF2-40B4-BE49-F238E27FC236}">
                  <a16:creationId xmlns:a16="http://schemas.microsoft.com/office/drawing/2014/main" id="{5750DF03-DD54-4A42-B46A-AFA2F48B5FCF}"/>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27" name="Groep 26">
              <a:extLst>
                <a:ext uri="{FF2B5EF4-FFF2-40B4-BE49-F238E27FC236}">
                  <a16:creationId xmlns:a16="http://schemas.microsoft.com/office/drawing/2014/main" id="{BDFE76DB-B28D-4154-ADEA-A1E0EF143D9E}"/>
                </a:ext>
              </a:extLst>
            </p:cNvPr>
            <p:cNvGrpSpPr/>
            <p:nvPr userDrawn="1"/>
          </p:nvGrpSpPr>
          <p:grpSpPr>
            <a:xfrm>
              <a:off x="12847853" y="1231351"/>
              <a:ext cx="294789" cy="318834"/>
              <a:chOff x="14466489" y="1001522"/>
              <a:chExt cx="290627" cy="314333"/>
            </a:xfrm>
          </p:grpSpPr>
          <p:sp>
            <p:nvSpPr>
              <p:cNvPr id="81" name="Rechthoek 80">
                <a:extLst>
                  <a:ext uri="{FF2B5EF4-FFF2-40B4-BE49-F238E27FC236}">
                    <a16:creationId xmlns:a16="http://schemas.microsoft.com/office/drawing/2014/main" id="{CDC1DC28-4E31-45DE-8236-BDA9D876325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AC9B43D3-4B5A-4905-B1BE-A215214D49F2}"/>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3" name="Vrije vorm: vorm 82">
                <a:extLst>
                  <a:ext uri="{FF2B5EF4-FFF2-40B4-BE49-F238E27FC236}">
                    <a16:creationId xmlns:a16="http://schemas.microsoft.com/office/drawing/2014/main" id="{81AB8D45-F07B-4731-903B-6FD5B2F63DD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84" name="Rechthoek: afgeronde hoeken 83">
                <a:extLst>
                  <a:ext uri="{FF2B5EF4-FFF2-40B4-BE49-F238E27FC236}">
                    <a16:creationId xmlns:a16="http://schemas.microsoft.com/office/drawing/2014/main" id="{DEE5D1F5-E140-4A60-A36C-53EDCD5D3DD9}"/>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85" name="Rechte verbindingslijn 84">
                <a:extLst>
                  <a:ext uri="{FF2B5EF4-FFF2-40B4-BE49-F238E27FC236}">
                    <a16:creationId xmlns:a16="http://schemas.microsoft.com/office/drawing/2014/main" id="{2DC71859-7831-426B-B70E-DCBAD88838B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86" name="Rechte verbindingslijn 85">
                <a:extLst>
                  <a:ext uri="{FF2B5EF4-FFF2-40B4-BE49-F238E27FC236}">
                    <a16:creationId xmlns:a16="http://schemas.microsoft.com/office/drawing/2014/main" id="{E248DF5A-23B3-4A69-B5EA-378CCE657FCD}"/>
                  </a:ext>
                </a:extLst>
              </p:cNvPr>
              <p:cNvCxnSpPr>
                <a:cxnSpLocks/>
                <a:stCxn id="8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8" name="Ovaal 27">
              <a:extLst>
                <a:ext uri="{FF2B5EF4-FFF2-40B4-BE49-F238E27FC236}">
                  <a16:creationId xmlns:a16="http://schemas.microsoft.com/office/drawing/2014/main" id="{23D3001C-10BB-4AFF-8CA9-3D9B857FEF78}"/>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9" name="Rechthoek 28">
              <a:extLst>
                <a:ext uri="{FF2B5EF4-FFF2-40B4-BE49-F238E27FC236}">
                  <a16:creationId xmlns:a16="http://schemas.microsoft.com/office/drawing/2014/main" id="{1B7075F3-19D6-420D-A866-B7D3C36ECD9F}"/>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3" name="Groep 32">
              <a:extLst>
                <a:ext uri="{FF2B5EF4-FFF2-40B4-BE49-F238E27FC236}">
                  <a16:creationId xmlns:a16="http://schemas.microsoft.com/office/drawing/2014/main" id="{08473228-FAB6-41B6-9460-491BA11947C9}"/>
                </a:ext>
              </a:extLst>
            </p:cNvPr>
            <p:cNvGrpSpPr/>
            <p:nvPr userDrawn="1"/>
          </p:nvGrpSpPr>
          <p:grpSpPr>
            <a:xfrm>
              <a:off x="12852713" y="2164285"/>
              <a:ext cx="825500" cy="209550"/>
              <a:chOff x="13504624" y="2482850"/>
              <a:chExt cx="825500" cy="209550"/>
            </a:xfrm>
          </p:grpSpPr>
          <p:sp>
            <p:nvSpPr>
              <p:cNvPr id="78" name="Rechthoek 77">
                <a:extLst>
                  <a:ext uri="{FF2B5EF4-FFF2-40B4-BE49-F238E27FC236}">
                    <a16:creationId xmlns:a16="http://schemas.microsoft.com/office/drawing/2014/main" id="{5749F3B2-F0C8-4DCE-82ED-CBCAB0096FAE}"/>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79" name="Rechte verbindingslijn 78">
                <a:extLst>
                  <a:ext uri="{FF2B5EF4-FFF2-40B4-BE49-F238E27FC236}">
                    <a16:creationId xmlns:a16="http://schemas.microsoft.com/office/drawing/2014/main" id="{953FE29B-0450-48C5-9CAF-469F96F85391}"/>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0" name="Gelijkbenige driehoek 79">
                <a:extLst>
                  <a:ext uri="{FF2B5EF4-FFF2-40B4-BE49-F238E27FC236}">
                    <a16:creationId xmlns:a16="http://schemas.microsoft.com/office/drawing/2014/main" id="{EB17A78C-7E03-4DFC-8B2A-0EEC0168E8ED}"/>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34" name="Ovaal 33">
              <a:extLst>
                <a:ext uri="{FF2B5EF4-FFF2-40B4-BE49-F238E27FC236}">
                  <a16:creationId xmlns:a16="http://schemas.microsoft.com/office/drawing/2014/main" id="{002887FB-A5BE-46D9-96A1-911161D593AD}"/>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35" name="Rechthoek 34">
              <a:extLst>
                <a:ext uri="{FF2B5EF4-FFF2-40B4-BE49-F238E27FC236}">
                  <a16:creationId xmlns:a16="http://schemas.microsoft.com/office/drawing/2014/main" id="{DC0B4A22-EF7E-4601-A374-39427D0F45E7}"/>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6" name="Ovaal 35">
              <a:extLst>
                <a:ext uri="{FF2B5EF4-FFF2-40B4-BE49-F238E27FC236}">
                  <a16:creationId xmlns:a16="http://schemas.microsoft.com/office/drawing/2014/main" id="{8504FAB7-4C36-4ECF-BE26-00148AB07C82}"/>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37" name="Rechthoek 36">
              <a:extLst>
                <a:ext uri="{FF2B5EF4-FFF2-40B4-BE49-F238E27FC236}">
                  <a16:creationId xmlns:a16="http://schemas.microsoft.com/office/drawing/2014/main" id="{CA1661B2-74E0-48F5-888E-F47CFF47BE80}"/>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38" name="Groep 37">
              <a:extLst>
                <a:ext uri="{FF2B5EF4-FFF2-40B4-BE49-F238E27FC236}">
                  <a16:creationId xmlns:a16="http://schemas.microsoft.com/office/drawing/2014/main" id="{88955EF2-4B4C-4F80-82CE-E696D96DE587}"/>
                </a:ext>
              </a:extLst>
            </p:cNvPr>
            <p:cNvGrpSpPr/>
            <p:nvPr userDrawn="1"/>
          </p:nvGrpSpPr>
          <p:grpSpPr>
            <a:xfrm>
              <a:off x="12755738" y="5236167"/>
              <a:ext cx="622283" cy="612919"/>
              <a:chOff x="12617641" y="3403239"/>
              <a:chExt cx="752963" cy="741634"/>
            </a:xfrm>
          </p:grpSpPr>
          <p:grpSp>
            <p:nvGrpSpPr>
              <p:cNvPr id="62" name="Groep 61">
                <a:extLst>
                  <a:ext uri="{FF2B5EF4-FFF2-40B4-BE49-F238E27FC236}">
                    <a16:creationId xmlns:a16="http://schemas.microsoft.com/office/drawing/2014/main" id="{CCA9626C-B517-409A-8337-326813F167FB}"/>
                  </a:ext>
                </a:extLst>
              </p:cNvPr>
              <p:cNvGrpSpPr/>
              <p:nvPr userDrawn="1"/>
            </p:nvGrpSpPr>
            <p:grpSpPr>
              <a:xfrm>
                <a:off x="12771550" y="3403239"/>
                <a:ext cx="467156" cy="448491"/>
                <a:chOff x="12782177" y="3403239"/>
                <a:chExt cx="467156" cy="448491"/>
              </a:xfrm>
            </p:grpSpPr>
            <p:grpSp>
              <p:nvGrpSpPr>
                <p:cNvPr id="65" name="Groep 64">
                  <a:extLst>
                    <a:ext uri="{FF2B5EF4-FFF2-40B4-BE49-F238E27FC236}">
                      <a16:creationId xmlns:a16="http://schemas.microsoft.com/office/drawing/2014/main" id="{EE1CEA8E-27EB-46A5-9FEA-5B4CCBD0D679}"/>
                    </a:ext>
                  </a:extLst>
                </p:cNvPr>
                <p:cNvGrpSpPr/>
                <p:nvPr userDrawn="1"/>
              </p:nvGrpSpPr>
              <p:grpSpPr>
                <a:xfrm>
                  <a:off x="12782177" y="3403239"/>
                  <a:ext cx="412972" cy="396132"/>
                  <a:chOff x="13554906" y="3320109"/>
                  <a:chExt cx="443912" cy="425811"/>
                </a:xfrm>
              </p:grpSpPr>
              <p:grpSp>
                <p:nvGrpSpPr>
                  <p:cNvPr id="72" name="Groep 71">
                    <a:extLst>
                      <a:ext uri="{FF2B5EF4-FFF2-40B4-BE49-F238E27FC236}">
                        <a16:creationId xmlns:a16="http://schemas.microsoft.com/office/drawing/2014/main" id="{FAFCDF07-A369-4848-8069-97132CF66D8E}"/>
                      </a:ext>
                    </a:extLst>
                  </p:cNvPr>
                  <p:cNvGrpSpPr/>
                  <p:nvPr userDrawn="1"/>
                </p:nvGrpSpPr>
                <p:grpSpPr>
                  <a:xfrm>
                    <a:off x="13554906" y="3320109"/>
                    <a:ext cx="443912" cy="425811"/>
                    <a:chOff x="12909684" y="1276143"/>
                    <a:chExt cx="443912" cy="425811"/>
                  </a:xfrm>
                </p:grpSpPr>
                <p:sp>
                  <p:nvSpPr>
                    <p:cNvPr id="75" name="Rechthoek 74">
                      <a:extLst>
                        <a:ext uri="{FF2B5EF4-FFF2-40B4-BE49-F238E27FC236}">
                          <a16:creationId xmlns:a16="http://schemas.microsoft.com/office/drawing/2014/main" id="{B5DE094F-9307-4EFD-9DC7-9A9BED1CEF72}"/>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742A39DC-EF46-4663-B990-60EB7D085EF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77" name="Ovaal 76">
                      <a:extLst>
                        <a:ext uri="{FF2B5EF4-FFF2-40B4-BE49-F238E27FC236}">
                          <a16:creationId xmlns:a16="http://schemas.microsoft.com/office/drawing/2014/main" id="{B29E27BD-A4AB-4477-8FBC-1C239D396E0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73" name="Afbeelding 72">
                    <a:extLst>
                      <a:ext uri="{FF2B5EF4-FFF2-40B4-BE49-F238E27FC236}">
                        <a16:creationId xmlns:a16="http://schemas.microsoft.com/office/drawing/2014/main" id="{961042E2-8CAC-437D-A10B-58DC62E244FC}"/>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2"/>
                    <a:ext cx="173367" cy="140220"/>
                  </a:xfrm>
                  <a:prstGeom prst="rect">
                    <a:avLst/>
                  </a:prstGeom>
                </p:spPr>
              </p:pic>
              <p:pic>
                <p:nvPicPr>
                  <p:cNvPr id="74" name="Afbeelding 73">
                    <a:extLst>
                      <a:ext uri="{FF2B5EF4-FFF2-40B4-BE49-F238E27FC236}">
                        <a16:creationId xmlns:a16="http://schemas.microsoft.com/office/drawing/2014/main" id="{69BFF7FC-F351-4D9C-B1D5-5066F754D216}"/>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6" name="Groep 65">
                  <a:extLst>
                    <a:ext uri="{FF2B5EF4-FFF2-40B4-BE49-F238E27FC236}">
                      <a16:creationId xmlns:a16="http://schemas.microsoft.com/office/drawing/2014/main" id="{1658EB2D-64E7-4F7D-9EBB-2FCE51FD9EAB}"/>
                    </a:ext>
                  </a:extLst>
                </p:cNvPr>
                <p:cNvGrpSpPr/>
                <p:nvPr userDrawn="1"/>
              </p:nvGrpSpPr>
              <p:grpSpPr>
                <a:xfrm>
                  <a:off x="13103513" y="3705268"/>
                  <a:ext cx="145820" cy="146462"/>
                  <a:chOff x="13096169" y="3602278"/>
                  <a:chExt cx="145820" cy="146462"/>
                </a:xfrm>
              </p:grpSpPr>
              <p:sp>
                <p:nvSpPr>
                  <p:cNvPr id="70" name="Rechthoek 69">
                    <a:extLst>
                      <a:ext uri="{FF2B5EF4-FFF2-40B4-BE49-F238E27FC236}">
                        <a16:creationId xmlns:a16="http://schemas.microsoft.com/office/drawing/2014/main" id="{4C503946-7B98-4506-AFE8-C75BC64DE3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2637A4B3-A890-428D-BB6D-6307EBC5C93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67" name="Groep 66">
                  <a:extLst>
                    <a:ext uri="{FF2B5EF4-FFF2-40B4-BE49-F238E27FC236}">
                      <a16:creationId xmlns:a16="http://schemas.microsoft.com/office/drawing/2014/main" id="{19C836B0-D5DF-48A5-A7B4-BD54E7028D7E}"/>
                    </a:ext>
                  </a:extLst>
                </p:cNvPr>
                <p:cNvGrpSpPr/>
                <p:nvPr userDrawn="1"/>
              </p:nvGrpSpPr>
              <p:grpSpPr>
                <a:xfrm rot="10800000">
                  <a:off x="13061402" y="3665637"/>
                  <a:ext cx="145820" cy="146462"/>
                  <a:chOff x="13096169" y="3602278"/>
                  <a:chExt cx="145820" cy="146462"/>
                </a:xfrm>
              </p:grpSpPr>
              <p:sp>
                <p:nvSpPr>
                  <p:cNvPr id="68" name="Rechthoek 67">
                    <a:extLst>
                      <a:ext uri="{FF2B5EF4-FFF2-40B4-BE49-F238E27FC236}">
                        <a16:creationId xmlns:a16="http://schemas.microsoft.com/office/drawing/2014/main" id="{7AD7BEE5-4AF8-459D-8BA8-BAE71ECF114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39748B7D-90F9-4696-8F72-7EC207B3A1F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63" name="Rechthoek 62">
                <a:extLst>
                  <a:ext uri="{FF2B5EF4-FFF2-40B4-BE49-F238E27FC236}">
                    <a16:creationId xmlns:a16="http://schemas.microsoft.com/office/drawing/2014/main" id="{990A8A4F-8E2B-4468-8051-B88FAAB9F66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64" name="Gelijkbenige driehoek 63">
                <a:extLst>
                  <a:ext uri="{FF2B5EF4-FFF2-40B4-BE49-F238E27FC236}">
                    <a16:creationId xmlns:a16="http://schemas.microsoft.com/office/drawing/2014/main" id="{A5D413CC-97CF-4EA3-9B4C-21EE25213E0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39" name="Rechthoek 38">
              <a:extLst>
                <a:ext uri="{FF2B5EF4-FFF2-40B4-BE49-F238E27FC236}">
                  <a16:creationId xmlns:a16="http://schemas.microsoft.com/office/drawing/2014/main" id="{CBE13056-E3D5-4B50-AD73-F21885532CFB}"/>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40" name="Groep 39">
              <a:extLst>
                <a:ext uri="{FF2B5EF4-FFF2-40B4-BE49-F238E27FC236}">
                  <a16:creationId xmlns:a16="http://schemas.microsoft.com/office/drawing/2014/main" id="{562D70BC-87E7-4650-87AD-6DDBF2EBA263}"/>
                </a:ext>
              </a:extLst>
            </p:cNvPr>
            <p:cNvGrpSpPr/>
            <p:nvPr userDrawn="1"/>
          </p:nvGrpSpPr>
          <p:grpSpPr>
            <a:xfrm>
              <a:off x="13678213" y="3399207"/>
              <a:ext cx="1222990" cy="563933"/>
              <a:chOff x="-2485819" y="3399207"/>
              <a:chExt cx="1222990" cy="563933"/>
            </a:xfrm>
          </p:grpSpPr>
          <p:sp>
            <p:nvSpPr>
              <p:cNvPr id="41" name="Rechthoek 40">
                <a:extLst>
                  <a:ext uri="{FF2B5EF4-FFF2-40B4-BE49-F238E27FC236}">
                    <a16:creationId xmlns:a16="http://schemas.microsoft.com/office/drawing/2014/main" id="{11B6DB07-2232-4622-93FE-928C3DC6EF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81DCAD5-8BD8-4BD7-B85E-57EFCD3A95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1B25DFE0-B8E0-4B03-890C-65BD010745EC}"/>
                  </a:ext>
                </a:extLst>
              </p:cNvPr>
              <p:cNvGrpSpPr/>
              <p:nvPr userDrawn="1"/>
            </p:nvGrpSpPr>
            <p:grpSpPr>
              <a:xfrm>
                <a:off x="-2403869" y="3460544"/>
                <a:ext cx="155951" cy="131922"/>
                <a:chOff x="12968836" y="3354170"/>
                <a:chExt cx="404806" cy="342433"/>
              </a:xfrm>
            </p:grpSpPr>
            <p:sp>
              <p:nvSpPr>
                <p:cNvPr id="56" name="Rechthoek: afgeronde hoeken 55">
                  <a:extLst>
                    <a:ext uri="{FF2B5EF4-FFF2-40B4-BE49-F238E27FC236}">
                      <a16:creationId xmlns:a16="http://schemas.microsoft.com/office/drawing/2014/main" id="{FEDD0287-ACDE-49E5-A851-3643DCBE91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7CB73CCE-BFD1-425B-ADED-8763EDE28089}"/>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8" name="Rechthoek 57">
                  <a:extLst>
                    <a:ext uri="{FF2B5EF4-FFF2-40B4-BE49-F238E27FC236}">
                      <a16:creationId xmlns:a16="http://schemas.microsoft.com/office/drawing/2014/main" id="{D6B31C0E-59A8-4BFB-97C3-BA4439ED442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5CA44D8D-B67F-4DD7-8B24-91FA57B387C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0" name="Rechthoek 59">
                  <a:extLst>
                    <a:ext uri="{FF2B5EF4-FFF2-40B4-BE49-F238E27FC236}">
                      <a16:creationId xmlns:a16="http://schemas.microsoft.com/office/drawing/2014/main" id="{ECFE8D9F-1644-437E-9CBC-7D0E5E08BC1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61" name="Rechthoek 60">
                  <a:extLst>
                    <a:ext uri="{FF2B5EF4-FFF2-40B4-BE49-F238E27FC236}">
                      <a16:creationId xmlns:a16="http://schemas.microsoft.com/office/drawing/2014/main" id="{48821BA2-6AE6-44AB-B936-4B150990DCF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0A844AD9-6E5E-4D65-B31B-5340CC050542}"/>
                  </a:ext>
                </a:extLst>
              </p:cNvPr>
              <p:cNvGrpSpPr/>
              <p:nvPr userDrawn="1"/>
            </p:nvGrpSpPr>
            <p:grpSpPr>
              <a:xfrm>
                <a:off x="-2423424" y="3690208"/>
                <a:ext cx="166739" cy="218963"/>
                <a:chOff x="12940828" y="3950597"/>
                <a:chExt cx="432813" cy="568367"/>
              </a:xfrm>
            </p:grpSpPr>
            <p:grpSp>
              <p:nvGrpSpPr>
                <p:cNvPr id="48" name="Groep 47">
                  <a:extLst>
                    <a:ext uri="{FF2B5EF4-FFF2-40B4-BE49-F238E27FC236}">
                      <a16:creationId xmlns:a16="http://schemas.microsoft.com/office/drawing/2014/main" id="{98B874AE-8970-472A-88AC-F63986EA4D1A}"/>
                    </a:ext>
                  </a:extLst>
                </p:cNvPr>
                <p:cNvGrpSpPr/>
                <p:nvPr userDrawn="1"/>
              </p:nvGrpSpPr>
              <p:grpSpPr>
                <a:xfrm>
                  <a:off x="13000382" y="4006891"/>
                  <a:ext cx="373259" cy="315747"/>
                  <a:chOff x="12968836" y="3354170"/>
                  <a:chExt cx="404806" cy="342433"/>
                </a:xfrm>
              </p:grpSpPr>
              <p:sp>
                <p:nvSpPr>
                  <p:cNvPr id="50" name="Rechthoek: afgeronde hoeken 49">
                    <a:extLst>
                      <a:ext uri="{FF2B5EF4-FFF2-40B4-BE49-F238E27FC236}">
                        <a16:creationId xmlns:a16="http://schemas.microsoft.com/office/drawing/2014/main" id="{9ACC2BE6-2448-40A4-9E75-4B9D8665134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843CC4AB-5111-4989-A1CE-6D8F55ECFF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03F04BF-7467-41E9-81B7-D1D240F9934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2A9E08F-AF7E-46A4-97E6-3EBC7468CA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34E63B63-B44D-4FE2-9CB3-CBA8F6CE681B}"/>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E45EF54-3B8A-4C3A-8454-B63BEE6C4AF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49" name="Boog 48">
                  <a:extLst>
                    <a:ext uri="{FF2B5EF4-FFF2-40B4-BE49-F238E27FC236}">
                      <a16:creationId xmlns:a16="http://schemas.microsoft.com/office/drawing/2014/main" id="{42CC0830-4A26-4392-8222-81EC0513683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018F6529-B169-48AD-85B9-20F48E2B686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46" name="Tekstvak 45">
                <a:extLst>
                  <a:ext uri="{FF2B5EF4-FFF2-40B4-BE49-F238E27FC236}">
                    <a16:creationId xmlns:a16="http://schemas.microsoft.com/office/drawing/2014/main" id="{1BCEE0F2-6C88-41D9-B285-70284652048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47" name="Vrije vorm: vorm 46">
                <a:extLst>
                  <a:ext uri="{FF2B5EF4-FFF2-40B4-BE49-F238E27FC236}">
                    <a16:creationId xmlns:a16="http://schemas.microsoft.com/office/drawing/2014/main" id="{343B5443-B15D-4C4B-B6C9-CC7BB2EA2C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315422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oofdstukslide #5">
    <p:bg>
      <p:bgPr>
        <a:solidFill>
          <a:schemeClr val="bg1"/>
        </a:solidFill>
        <a:effectLst/>
      </p:bgPr>
    </p:bg>
    <p:spTree>
      <p:nvGrpSpPr>
        <p:cNvPr id="1" name=""/>
        <p:cNvGrpSpPr/>
        <p:nvPr/>
      </p:nvGrpSpPr>
      <p:grpSpPr>
        <a:xfrm>
          <a:off x="0" y="0"/>
          <a:ext cx="0" cy="0"/>
          <a:chOff x="0" y="0"/>
          <a:chExt cx="0" cy="0"/>
        </a:xfrm>
      </p:grpSpPr>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1981200"/>
            <a:ext cx="6465210" cy="2644561"/>
          </a:xfrm>
        </p:spPr>
        <p:txBody>
          <a:bodyPr anchor="b"/>
          <a:lstStyle>
            <a:lvl1pPr algn="l">
              <a:defRPr sz="6000">
                <a:solidFill>
                  <a:schemeClr val="tx2"/>
                </a:solidFill>
              </a:defRPr>
            </a:lvl1pPr>
          </a:lstStyle>
          <a:p>
            <a:r>
              <a:rPr lang="nl-NL" dirty="0"/>
              <a:t>Plaats hier </a:t>
            </a:r>
            <a:br>
              <a:rPr lang="nl-NL" dirty="0"/>
            </a:br>
            <a:r>
              <a:rPr lang="nl-NL" dirty="0"/>
              <a:t>je titel</a:t>
            </a:r>
            <a:br>
              <a:rPr lang="nl-NL" dirty="0"/>
            </a:br>
            <a:r>
              <a:rPr lang="nl-NL" dirty="0"/>
              <a:t>max. 3 regels</a:t>
            </a:r>
          </a:p>
        </p:txBody>
      </p:sp>
      <p:sp>
        <p:nvSpPr>
          <p:cNvPr id="31" name="Ondertitel 2">
            <a:extLst>
              <a:ext uri="{FF2B5EF4-FFF2-40B4-BE49-F238E27FC236}">
                <a16:creationId xmlns:a16="http://schemas.microsoft.com/office/drawing/2014/main" id="{9BD48850-E252-4689-9ACE-CD081746F165}"/>
              </a:ext>
            </a:extLst>
          </p:cNvPr>
          <p:cNvSpPr>
            <a:spLocks noGrp="1"/>
          </p:cNvSpPr>
          <p:nvPr>
            <p:ph type="subTitle" idx="15" hasCustomPrompt="1"/>
          </p:nvPr>
        </p:nvSpPr>
        <p:spPr>
          <a:xfrm>
            <a:off x="1488718" y="4670423"/>
            <a:ext cx="6465210" cy="419001"/>
          </a:xfrm>
        </p:spPr>
        <p:txBody>
          <a:bodyPr anchor="t"/>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err="1"/>
              <a:t>Plaats</a:t>
            </a:r>
            <a:r>
              <a:rPr lang="en-GB" dirty="0"/>
              <a:t> </a:t>
            </a:r>
            <a:r>
              <a:rPr lang="en-GB" dirty="0" err="1"/>
              <a:t>hier</a:t>
            </a:r>
            <a:r>
              <a:rPr lang="en-GB" dirty="0"/>
              <a:t> je </a:t>
            </a:r>
            <a:r>
              <a:rPr lang="en-GB" dirty="0" err="1"/>
              <a:t>subtitel</a:t>
            </a:r>
            <a:endParaRPr lang="en-GB" dirty="0"/>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oettekst 4">
            <a:extLst>
              <a:ext uri="{FF2B5EF4-FFF2-40B4-BE49-F238E27FC236}">
                <a16:creationId xmlns:a16="http://schemas.microsoft.com/office/drawing/2014/main" id="{0B060C24-A65F-4C98-B918-4E2E57F4D7F8}"/>
              </a:ext>
            </a:extLst>
          </p:cNvPr>
          <p:cNvSpPr>
            <a:spLocks noGrp="1"/>
          </p:cNvSpPr>
          <p:nvPr>
            <p:ph type="ftr" sz="quarter" idx="11"/>
          </p:nvPr>
        </p:nvSpPr>
        <p:spPr>
          <a:xfrm>
            <a:off x="521553" y="6472835"/>
            <a:ext cx="6273800" cy="225817"/>
          </a:xfrm>
        </p:spPr>
        <p:txBody>
          <a:bodyPr/>
          <a:lstStyle/>
          <a:p>
            <a:r>
              <a:rPr lang="nl-NL"/>
              <a:t>Zilveren Kruis | Naam presentatie</a:t>
            </a:r>
            <a:endParaRPr lang="nl-NL" dirty="0"/>
          </a:p>
        </p:txBody>
      </p:sp>
      <p:sp>
        <p:nvSpPr>
          <p:cNvPr id="14" name="Tijdelijke aanduiding voor dianummer 5">
            <a:extLst>
              <a:ext uri="{FF2B5EF4-FFF2-40B4-BE49-F238E27FC236}">
                <a16:creationId xmlns:a16="http://schemas.microsoft.com/office/drawing/2014/main" id="{1874027E-5CD5-452C-8F2B-DA019268F12B}"/>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grpSp>
        <p:nvGrpSpPr>
          <p:cNvPr id="9" name="INSTRUCTIE">
            <a:extLst>
              <a:ext uri="{FF2B5EF4-FFF2-40B4-BE49-F238E27FC236}">
                <a16:creationId xmlns:a16="http://schemas.microsoft.com/office/drawing/2014/main" id="{4CA0EFD7-6DA4-4947-84EB-96385C3F0A83}"/>
              </a:ext>
            </a:extLst>
          </p:cNvPr>
          <p:cNvGrpSpPr/>
          <p:nvPr userDrawn="1"/>
        </p:nvGrpSpPr>
        <p:grpSpPr>
          <a:xfrm>
            <a:off x="8469641" y="7033211"/>
            <a:ext cx="3727954" cy="1728407"/>
            <a:chOff x="5846" y="7033211"/>
            <a:chExt cx="3727954" cy="1728407"/>
          </a:xfrm>
        </p:grpSpPr>
        <p:sp>
          <p:nvSpPr>
            <p:cNvPr id="10" name="Rechthoek 9">
              <a:extLst>
                <a:ext uri="{FF2B5EF4-FFF2-40B4-BE49-F238E27FC236}">
                  <a16:creationId xmlns:a16="http://schemas.microsoft.com/office/drawing/2014/main" id="{C0D3B3BF-696B-4928-9F68-6803C733BF65}"/>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11" name="Ovaal 10">
              <a:extLst>
                <a:ext uri="{FF2B5EF4-FFF2-40B4-BE49-F238E27FC236}">
                  <a16:creationId xmlns:a16="http://schemas.microsoft.com/office/drawing/2014/main" id="{DED30F90-32A7-4752-8BAD-1480345767EA}"/>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5EABE074-373B-4B46-A4FB-6F82BA120CC7}"/>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Ovaal 14">
              <a:extLst>
                <a:ext uri="{FF2B5EF4-FFF2-40B4-BE49-F238E27FC236}">
                  <a16:creationId xmlns:a16="http://schemas.microsoft.com/office/drawing/2014/main" id="{19AAE50D-8957-47B7-89B6-7462F3EE0C9D}"/>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BEC2B817-DBBB-4CD2-82D3-DC1750444165}"/>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17" name="Groep 16">
              <a:extLst>
                <a:ext uri="{FF2B5EF4-FFF2-40B4-BE49-F238E27FC236}">
                  <a16:creationId xmlns:a16="http://schemas.microsoft.com/office/drawing/2014/main" id="{8D69496F-3B2C-4E79-B09B-80C9D1AE49F7}"/>
                </a:ext>
              </a:extLst>
            </p:cNvPr>
            <p:cNvGrpSpPr/>
            <p:nvPr userDrawn="1"/>
          </p:nvGrpSpPr>
          <p:grpSpPr>
            <a:xfrm>
              <a:off x="2939884" y="7739834"/>
              <a:ext cx="681133" cy="750023"/>
              <a:chOff x="-910573" y="4987990"/>
              <a:chExt cx="681133" cy="750023"/>
            </a:xfrm>
          </p:grpSpPr>
          <p:grpSp>
            <p:nvGrpSpPr>
              <p:cNvPr id="18" name="Groep 17">
                <a:extLst>
                  <a:ext uri="{FF2B5EF4-FFF2-40B4-BE49-F238E27FC236}">
                    <a16:creationId xmlns:a16="http://schemas.microsoft.com/office/drawing/2014/main" id="{CACFE921-F3AE-40E3-AA9C-D63E24E1B7FB}"/>
                  </a:ext>
                </a:extLst>
              </p:cNvPr>
              <p:cNvGrpSpPr/>
              <p:nvPr userDrawn="1"/>
            </p:nvGrpSpPr>
            <p:grpSpPr>
              <a:xfrm>
                <a:off x="-713542" y="4987990"/>
                <a:ext cx="287071" cy="379107"/>
                <a:chOff x="-4050578" y="288410"/>
                <a:chExt cx="322125" cy="379107"/>
              </a:xfrm>
            </p:grpSpPr>
            <p:sp>
              <p:nvSpPr>
                <p:cNvPr id="20" name="Rechthoek met één afgeknipte en afgeronde hoek 47">
                  <a:extLst>
                    <a:ext uri="{FF2B5EF4-FFF2-40B4-BE49-F238E27FC236}">
                      <a16:creationId xmlns:a16="http://schemas.microsoft.com/office/drawing/2014/main" id="{EAD6C904-ED2D-4AFF-8CFD-E2EA85AE16C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1" name="Rechthoekige driehoek 20">
                  <a:extLst>
                    <a:ext uri="{FF2B5EF4-FFF2-40B4-BE49-F238E27FC236}">
                      <a16:creationId xmlns:a16="http://schemas.microsoft.com/office/drawing/2014/main" id="{5FA13914-B134-4086-ADE2-A5B5F4E60BAF}"/>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2" name="Rechthoek 21">
                  <a:extLst>
                    <a:ext uri="{FF2B5EF4-FFF2-40B4-BE49-F238E27FC236}">
                      <a16:creationId xmlns:a16="http://schemas.microsoft.com/office/drawing/2014/main" id="{56257072-626A-45FB-AEFD-315E3ADDC5E0}"/>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23" name="Rechthoek 22">
                  <a:extLst>
                    <a:ext uri="{FF2B5EF4-FFF2-40B4-BE49-F238E27FC236}">
                      <a16:creationId xmlns:a16="http://schemas.microsoft.com/office/drawing/2014/main" id="{CE1FF1D6-F197-4FC9-8AE5-252EF3E68463}"/>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19" name="Rechthoek 18">
                <a:extLst>
                  <a:ext uri="{FF2B5EF4-FFF2-40B4-BE49-F238E27FC236}">
                    <a16:creationId xmlns:a16="http://schemas.microsoft.com/office/drawing/2014/main" id="{F6E1CE58-839A-435D-9AEB-D4A5CE2770F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360349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fsluiting #1">
    <p:bg>
      <p:bgPr>
        <a:solidFill>
          <a:schemeClr val="bg1"/>
        </a:solidFill>
        <a:effectLst/>
      </p:bgPr>
    </p:bg>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1D78F2F6-A954-42C3-9D4C-3C55B36A04BD}"/>
              </a:ext>
            </a:extLst>
          </p:cNvPr>
          <p:cNvSpPr/>
          <p:nvPr userDrawn="1"/>
        </p:nvSpPr>
        <p:spPr>
          <a:xfrm>
            <a:off x="0" y="34095"/>
            <a:ext cx="121920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Vrije vorm: vorm 6">
            <a:extLst>
              <a:ext uri="{FF2B5EF4-FFF2-40B4-BE49-F238E27FC236}">
                <a16:creationId xmlns:a16="http://schemas.microsoft.com/office/drawing/2014/main" id="{D841B7A5-C18A-4334-9880-14E4C4865D2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hasCustomPrompt="1"/>
          </p:nvPr>
        </p:nvSpPr>
        <p:spPr>
          <a:xfrm>
            <a:off x="1488718" y="2730094"/>
            <a:ext cx="6465210" cy="1895667"/>
          </a:xfrm>
        </p:spPr>
        <p:txBody>
          <a:bodyPr anchor="b"/>
          <a:lstStyle>
            <a:lvl1pPr algn="l">
              <a:defRPr sz="6000">
                <a:solidFill>
                  <a:schemeClr val="tx2"/>
                </a:solidFill>
              </a:defRPr>
            </a:lvl1pPr>
          </a:lstStyle>
          <a:p>
            <a:r>
              <a:rPr lang="nl-NL" dirty="0"/>
              <a:t>Bedankt voor </a:t>
            </a:r>
            <a:br>
              <a:rPr lang="nl-NL" dirty="0"/>
            </a:br>
            <a:r>
              <a:rPr lang="nl-NL" dirty="0"/>
              <a:t>je aandacht</a:t>
            </a:r>
          </a:p>
        </p:txBody>
      </p:sp>
      <p:sp>
        <p:nvSpPr>
          <p:cNvPr id="16" name="Ondertitel 2">
            <a:extLst>
              <a:ext uri="{FF2B5EF4-FFF2-40B4-BE49-F238E27FC236}">
                <a16:creationId xmlns:a16="http://schemas.microsoft.com/office/drawing/2014/main" id="{6B9AEE55-2B35-4D95-BD05-69A815B97937}"/>
              </a:ext>
            </a:extLst>
          </p:cNvPr>
          <p:cNvSpPr>
            <a:spLocks noGrp="1"/>
          </p:cNvSpPr>
          <p:nvPr>
            <p:ph type="subTitle" idx="15" hasCustomPrompt="1"/>
          </p:nvPr>
        </p:nvSpPr>
        <p:spPr>
          <a:xfrm>
            <a:off x="1488718" y="4659856"/>
            <a:ext cx="6465210" cy="419001"/>
          </a:xfrm>
        </p:spPr>
        <p:txBody>
          <a:bodyPr anchor="t"/>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Zijn er nog vragen?</a:t>
            </a:r>
            <a:endParaRPr lang="en-GB" dirty="0"/>
          </a:p>
        </p:txBody>
      </p:sp>
      <p:sp>
        <p:nvSpPr>
          <p:cNvPr id="10" name="Tijdelijke aanduiding voor verticale tekst 2">
            <a:extLst>
              <a:ext uri="{FF2B5EF4-FFF2-40B4-BE49-F238E27FC236}">
                <a16:creationId xmlns:a16="http://schemas.microsoft.com/office/drawing/2014/main" id="{5A66A891-BFB3-4E0B-82AA-5B3D38F339D2}"/>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pic>
        <p:nvPicPr>
          <p:cNvPr id="11" name="Picture 143">
            <a:extLst>
              <a:ext uri="{FF2B5EF4-FFF2-40B4-BE49-F238E27FC236}">
                <a16:creationId xmlns:a16="http://schemas.microsoft.com/office/drawing/2014/main" id="{94C99662-2F55-4599-851F-35380BBCDE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4067" y="6340476"/>
            <a:ext cx="3206774" cy="146317"/>
          </a:xfrm>
          <a:prstGeom prst="rect">
            <a:avLst/>
          </a:prstGeom>
        </p:spPr>
      </p:pic>
    </p:spTree>
    <p:extLst>
      <p:ext uri="{BB962C8B-B14F-4D97-AF65-F5344CB8AC3E}">
        <p14:creationId xmlns:p14="http://schemas.microsoft.com/office/powerpoint/2010/main" val="3981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fsluiting #2">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Vrije vorm: vorm 5">
            <a:extLst>
              <a:ext uri="{FF2B5EF4-FFF2-40B4-BE49-F238E27FC236}">
                <a16:creationId xmlns:a16="http://schemas.microsoft.com/office/drawing/2014/main" id="{FDA79D0C-6735-4931-A8A7-2E98B7225BB0}"/>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2730094"/>
            <a:ext cx="6465210" cy="1895667"/>
          </a:xfrm>
        </p:spPr>
        <p:txBody>
          <a:bodyPr anchor="b"/>
          <a:lstStyle>
            <a:lvl1pPr algn="l">
              <a:defRPr sz="6000">
                <a:solidFill>
                  <a:schemeClr val="tx2"/>
                </a:solidFill>
              </a:defRPr>
            </a:lvl1pPr>
          </a:lstStyle>
          <a:p>
            <a:r>
              <a:rPr lang="nl-NL" dirty="0"/>
              <a:t>Bedankt voor </a:t>
            </a:r>
            <a:br>
              <a:rPr lang="nl-NL" dirty="0"/>
            </a:br>
            <a:r>
              <a:rPr lang="nl-NL" dirty="0"/>
              <a:t>je aandacht</a:t>
            </a:r>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pic>
        <p:nvPicPr>
          <p:cNvPr id="9" name="Picture 143">
            <a:extLst>
              <a:ext uri="{FF2B5EF4-FFF2-40B4-BE49-F238E27FC236}">
                <a16:creationId xmlns:a16="http://schemas.microsoft.com/office/drawing/2014/main" id="{84569202-07D6-4944-8360-569E0D678B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4067" y="6340476"/>
            <a:ext cx="3206774" cy="146317"/>
          </a:xfrm>
          <a:prstGeom prst="rect">
            <a:avLst/>
          </a:prstGeom>
        </p:spPr>
      </p:pic>
      <p:sp>
        <p:nvSpPr>
          <p:cNvPr id="8" name="Ondertitel 2">
            <a:extLst>
              <a:ext uri="{FF2B5EF4-FFF2-40B4-BE49-F238E27FC236}">
                <a16:creationId xmlns:a16="http://schemas.microsoft.com/office/drawing/2014/main" id="{4C184845-CB9D-4251-908E-6EE02B2A36B5}"/>
              </a:ext>
            </a:extLst>
          </p:cNvPr>
          <p:cNvSpPr>
            <a:spLocks noGrp="1"/>
          </p:cNvSpPr>
          <p:nvPr>
            <p:ph type="subTitle" idx="15" hasCustomPrompt="1"/>
          </p:nvPr>
        </p:nvSpPr>
        <p:spPr>
          <a:xfrm>
            <a:off x="1488718" y="4659856"/>
            <a:ext cx="6465210" cy="419001"/>
          </a:xfrm>
        </p:spPr>
        <p:txBody>
          <a:bodyPr anchor="t"/>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Zijn er nog vragen?</a:t>
            </a:r>
            <a:endParaRPr lang="en-GB" dirty="0"/>
          </a:p>
        </p:txBody>
      </p:sp>
    </p:spTree>
    <p:extLst>
      <p:ext uri="{BB962C8B-B14F-4D97-AF65-F5344CB8AC3E}">
        <p14:creationId xmlns:p14="http://schemas.microsoft.com/office/powerpoint/2010/main" val="155728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fsluiting #3">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0"/>
            <a:ext cx="12192000" cy="6858000"/>
          </a:xfrm>
          <a:prstGeom prst="rect">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2730094"/>
            <a:ext cx="6465210" cy="1895667"/>
          </a:xfrm>
        </p:spPr>
        <p:txBody>
          <a:bodyPr anchor="b"/>
          <a:lstStyle>
            <a:lvl1pPr algn="l">
              <a:defRPr sz="6000">
                <a:solidFill>
                  <a:schemeClr val="tx2"/>
                </a:solidFill>
              </a:defRPr>
            </a:lvl1pPr>
          </a:lstStyle>
          <a:p>
            <a:r>
              <a:rPr lang="nl-NL" dirty="0"/>
              <a:t>Bedankt voor </a:t>
            </a:r>
            <a:br>
              <a:rPr lang="nl-NL" dirty="0"/>
            </a:br>
            <a:r>
              <a:rPr lang="nl-NL" dirty="0"/>
              <a:t>je aandacht</a:t>
            </a:r>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6" name="Vrije vorm: vorm 5">
            <a:extLst>
              <a:ext uri="{FF2B5EF4-FFF2-40B4-BE49-F238E27FC236}">
                <a16:creationId xmlns:a16="http://schemas.microsoft.com/office/drawing/2014/main" id="{A799B31B-B4BB-475C-917A-82EF3F7455A4}"/>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Picture 143">
            <a:extLst>
              <a:ext uri="{FF2B5EF4-FFF2-40B4-BE49-F238E27FC236}">
                <a16:creationId xmlns:a16="http://schemas.microsoft.com/office/drawing/2014/main" id="{69367BEB-5434-4498-B914-649E1D75D8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4067" y="6340476"/>
            <a:ext cx="3206774" cy="146317"/>
          </a:xfrm>
          <a:prstGeom prst="rect">
            <a:avLst/>
          </a:prstGeom>
        </p:spPr>
      </p:pic>
      <p:sp>
        <p:nvSpPr>
          <p:cNvPr id="8" name="Ondertitel 2">
            <a:extLst>
              <a:ext uri="{FF2B5EF4-FFF2-40B4-BE49-F238E27FC236}">
                <a16:creationId xmlns:a16="http://schemas.microsoft.com/office/drawing/2014/main" id="{0C564CBC-695C-480B-A87E-805A9AA16FD7}"/>
              </a:ext>
            </a:extLst>
          </p:cNvPr>
          <p:cNvSpPr>
            <a:spLocks noGrp="1"/>
          </p:cNvSpPr>
          <p:nvPr>
            <p:ph type="subTitle" idx="15" hasCustomPrompt="1"/>
          </p:nvPr>
        </p:nvSpPr>
        <p:spPr>
          <a:xfrm>
            <a:off x="1488718" y="4659856"/>
            <a:ext cx="6465210" cy="419001"/>
          </a:xfrm>
        </p:spPr>
        <p:txBody>
          <a:bodyPr anchor="t"/>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Zijn er nog vragen?</a:t>
            </a:r>
            <a:endParaRPr lang="en-GB" dirty="0"/>
          </a:p>
        </p:txBody>
      </p:sp>
    </p:spTree>
    <p:extLst>
      <p:ext uri="{BB962C8B-B14F-4D97-AF65-F5344CB8AC3E}">
        <p14:creationId xmlns:p14="http://schemas.microsoft.com/office/powerpoint/2010/main" val="231333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fsluiting #4">
    <p:bg>
      <p:bgPr>
        <a:solidFill>
          <a:schemeClr val="bg1"/>
        </a:solid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8E6A9C01-D5BC-45D2-A6DC-609E5569AA70}"/>
              </a:ext>
            </a:extLst>
          </p:cNvPr>
          <p:cNvSpPr/>
          <p:nvPr userDrawn="1"/>
        </p:nvSpPr>
        <p:spPr>
          <a:xfrm>
            <a:off x="0" y="-1"/>
            <a:ext cx="12192000" cy="6857999"/>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itel 5">
            <a:extLst>
              <a:ext uri="{FF2B5EF4-FFF2-40B4-BE49-F238E27FC236}">
                <a16:creationId xmlns:a16="http://schemas.microsoft.com/office/drawing/2014/main" id="{791B44D0-94E1-41BB-BA28-6F2D3733EDBD}"/>
              </a:ext>
            </a:extLst>
          </p:cNvPr>
          <p:cNvSpPr>
            <a:spLocks noGrp="1"/>
          </p:cNvSpPr>
          <p:nvPr>
            <p:ph type="title" hasCustomPrompt="1"/>
          </p:nvPr>
        </p:nvSpPr>
        <p:spPr>
          <a:xfrm>
            <a:off x="1488718" y="2730094"/>
            <a:ext cx="6465210" cy="1895667"/>
          </a:xfrm>
        </p:spPr>
        <p:txBody>
          <a:bodyPr anchor="b"/>
          <a:lstStyle>
            <a:lvl1pPr algn="l">
              <a:defRPr sz="6000">
                <a:solidFill>
                  <a:schemeClr val="tx2"/>
                </a:solidFill>
              </a:defRPr>
            </a:lvl1pPr>
          </a:lstStyle>
          <a:p>
            <a:r>
              <a:rPr lang="nl-NL" dirty="0"/>
              <a:t>Bedankt voor </a:t>
            </a:r>
            <a:br>
              <a:rPr lang="nl-NL" dirty="0"/>
            </a:br>
            <a:r>
              <a:rPr lang="nl-NL" dirty="0"/>
              <a:t>je aandacht</a:t>
            </a:r>
          </a:p>
        </p:txBody>
      </p:sp>
      <p:sp>
        <p:nvSpPr>
          <p:cNvPr id="32" name="Tijdelijke aanduiding voor verticale tekst 2">
            <a:extLst>
              <a:ext uri="{FF2B5EF4-FFF2-40B4-BE49-F238E27FC236}">
                <a16:creationId xmlns:a16="http://schemas.microsoft.com/office/drawing/2014/main" id="{5FC128FC-B5A3-4AB2-855D-47E8582496B4}"/>
              </a:ext>
            </a:extLst>
          </p:cNvPr>
          <p:cNvSpPr>
            <a:spLocks noGrp="1"/>
          </p:cNvSpPr>
          <p:nvPr>
            <p:ph type="body" orient="vert" idx="13" hasCustomPrompt="1"/>
          </p:nvPr>
        </p:nvSpPr>
        <p:spPr>
          <a:xfrm>
            <a:off x="710506" y="713151"/>
            <a:ext cx="2217600" cy="702000"/>
          </a:xfrm>
          <a:blipFill>
            <a:blip r:embed="rId2"/>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dirty="0"/>
              <a:t>    </a:t>
            </a:r>
          </a:p>
        </p:txBody>
      </p:sp>
      <p:sp>
        <p:nvSpPr>
          <p:cNvPr id="6" name="Vrije vorm: vorm 5">
            <a:extLst>
              <a:ext uri="{FF2B5EF4-FFF2-40B4-BE49-F238E27FC236}">
                <a16:creationId xmlns:a16="http://schemas.microsoft.com/office/drawing/2014/main" id="{C0D65187-61AF-4138-98A2-6386B0F83773}"/>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Picture 143">
            <a:extLst>
              <a:ext uri="{FF2B5EF4-FFF2-40B4-BE49-F238E27FC236}">
                <a16:creationId xmlns:a16="http://schemas.microsoft.com/office/drawing/2014/main" id="{647069F7-24E0-4996-83A2-5A5A723FC3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24067" y="6340476"/>
            <a:ext cx="3206774" cy="146317"/>
          </a:xfrm>
          <a:prstGeom prst="rect">
            <a:avLst/>
          </a:prstGeom>
        </p:spPr>
      </p:pic>
      <p:sp>
        <p:nvSpPr>
          <p:cNvPr id="8" name="Ondertitel 2">
            <a:extLst>
              <a:ext uri="{FF2B5EF4-FFF2-40B4-BE49-F238E27FC236}">
                <a16:creationId xmlns:a16="http://schemas.microsoft.com/office/drawing/2014/main" id="{215E6D3B-F847-4CD3-9E05-F633F5321233}"/>
              </a:ext>
            </a:extLst>
          </p:cNvPr>
          <p:cNvSpPr>
            <a:spLocks noGrp="1"/>
          </p:cNvSpPr>
          <p:nvPr>
            <p:ph type="subTitle" idx="15" hasCustomPrompt="1"/>
          </p:nvPr>
        </p:nvSpPr>
        <p:spPr>
          <a:xfrm>
            <a:off x="1488718" y="4659856"/>
            <a:ext cx="6465210" cy="419001"/>
          </a:xfrm>
        </p:spPr>
        <p:txBody>
          <a:bodyPr anchor="t"/>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Zijn er nog vragen?</a:t>
            </a:r>
            <a:endParaRPr lang="en-GB" dirty="0"/>
          </a:p>
        </p:txBody>
      </p:sp>
    </p:spTree>
    <p:extLst>
      <p:ext uri="{BB962C8B-B14F-4D97-AF65-F5344CB8AC3E}">
        <p14:creationId xmlns:p14="http://schemas.microsoft.com/office/powerpoint/2010/main" val="365005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termerk geel">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71CC6503-E677-4561-A4A1-13E3A8FF54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729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838200" y="681037"/>
            <a:ext cx="10515600" cy="1009651"/>
          </a:xfrm>
          <a:prstGeom prst="rect">
            <a:avLst/>
          </a:prstGeom>
        </p:spPr>
        <p:txBody>
          <a:bodyPr anchor="t"/>
          <a:lstStyle>
            <a:lvl1pPr>
              <a:defRPr sz="3600"/>
            </a:lvl1pPr>
          </a:lstStyle>
          <a:p>
            <a:r>
              <a:rPr lang="nl-NL"/>
              <a:t>Klik om stijl te bewerken</a:t>
            </a:r>
            <a:endParaRPr lang="nl-NL" dirty="0"/>
          </a:p>
        </p:txBody>
      </p:sp>
      <p:sp>
        <p:nvSpPr>
          <p:cNvPr id="8" name="Tijdelijke aanduiding voor tekst 2"/>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datum 2">
            <a:extLst>
              <a:ext uri="{FF2B5EF4-FFF2-40B4-BE49-F238E27FC236}">
                <a16:creationId xmlns:a16="http://schemas.microsoft.com/office/drawing/2014/main" id="{CB8160A9-4106-4B04-A8A4-4F0215C34895}"/>
              </a:ext>
            </a:extLst>
          </p:cNvPr>
          <p:cNvSpPr>
            <a:spLocks noGrp="1"/>
          </p:cNvSpPr>
          <p:nvPr>
            <p:ph type="dt" sz="half" idx="10"/>
          </p:nvPr>
        </p:nvSpPr>
        <p:spPr/>
        <p:txBody>
          <a:bodyPr/>
          <a:lstStyle>
            <a:lvl1pPr>
              <a:defRPr/>
            </a:lvl1pPr>
          </a:lstStyle>
          <a:p>
            <a:pPr>
              <a:defRPr/>
            </a:pPr>
            <a:fld id="{CDF61A7E-DDFE-4816-A1FE-AF4D3312A87B}" type="datetimeFigureOut">
              <a:rPr lang="nl-NL"/>
              <a:pPr>
                <a:defRPr/>
              </a:pPr>
              <a:t>28-9-2022</a:t>
            </a:fld>
            <a:endParaRPr lang="nl-NL"/>
          </a:p>
        </p:txBody>
      </p:sp>
      <p:sp>
        <p:nvSpPr>
          <p:cNvPr id="6" name="Tijdelijke aanduiding voor voettekst 3">
            <a:extLst>
              <a:ext uri="{FF2B5EF4-FFF2-40B4-BE49-F238E27FC236}">
                <a16:creationId xmlns:a16="http://schemas.microsoft.com/office/drawing/2014/main" id="{4931ABE9-3CE5-4D42-8503-BDC95444761A}"/>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4">
            <a:extLst>
              <a:ext uri="{FF2B5EF4-FFF2-40B4-BE49-F238E27FC236}">
                <a16:creationId xmlns:a16="http://schemas.microsoft.com/office/drawing/2014/main" id="{E080CE87-C966-4243-8529-5AC2DFD5F8E6}"/>
              </a:ext>
            </a:extLst>
          </p:cNvPr>
          <p:cNvSpPr>
            <a:spLocks noGrp="1"/>
          </p:cNvSpPr>
          <p:nvPr>
            <p:ph type="sldNum" sz="quarter" idx="12"/>
          </p:nvPr>
        </p:nvSpPr>
        <p:spPr/>
        <p:txBody>
          <a:bodyPr/>
          <a:lstStyle>
            <a:lvl1pPr>
              <a:defRPr/>
            </a:lvl1pPr>
          </a:lstStyle>
          <a:p>
            <a:pPr>
              <a:defRPr/>
            </a:pPr>
            <a:fld id="{36362C8A-AB81-4C8D-A7B7-55C252433E94}" type="slidenum">
              <a:rPr lang="nl-NL"/>
              <a:pPr>
                <a:defRPr/>
              </a:pPr>
              <a:t>‹nr.›</a:t>
            </a:fld>
            <a:endParaRPr lang="nl-NL"/>
          </a:p>
        </p:txBody>
      </p:sp>
    </p:spTree>
    <p:extLst>
      <p:ext uri="{BB962C8B-B14F-4D97-AF65-F5344CB8AC3E}">
        <p14:creationId xmlns:p14="http://schemas.microsoft.com/office/powerpoint/2010/main" val="3025276686"/>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conen">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lIns="0" tIns="0" rIns="0" bIns="0"/>
          <a:lstStyle>
            <a:lvl1pPr algn="l">
              <a:defRPr/>
            </a:lvl1pPr>
          </a:lstStyle>
          <a:p>
            <a:r>
              <a:rPr lang="nl-NL" dirty="0"/>
              <a:t>Plaats hier je titel</a:t>
            </a:r>
          </a:p>
        </p:txBody>
      </p:sp>
      <p:sp>
        <p:nvSpPr>
          <p:cNvPr id="5" name="Tijdelijke aanduiding voor voettekst 4"/>
          <p:cNvSpPr>
            <a:spLocks noGrp="1"/>
          </p:cNvSpPr>
          <p:nvPr>
            <p:ph type="ftr" sz="quarter" idx="11"/>
          </p:nvPr>
        </p:nvSpPr>
        <p:spPr/>
        <p:txBody>
          <a:bodyPr/>
          <a:lstStyle/>
          <a:p>
            <a:r>
              <a:rPr lang="nl-NL"/>
              <a:t>Zilveren Kruis | Naam presentatie</a:t>
            </a:r>
            <a:endParaRPr lang="nl-NL" dirty="0"/>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8" name="Rechthoek 7">
            <a:extLst>
              <a:ext uri="{FF2B5EF4-FFF2-40B4-BE49-F238E27FC236}">
                <a16:creationId xmlns:a16="http://schemas.microsoft.com/office/drawing/2014/main" id="{E6DF5DB1-94B0-4EE3-A791-D11E1AA42D87}"/>
              </a:ext>
            </a:extLst>
          </p:cNvPr>
          <p:cNvSpPr/>
          <p:nvPr/>
        </p:nvSpPr>
        <p:spPr>
          <a:xfrm>
            <a:off x="515938"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9" name="Rechthoek 8">
            <a:extLst>
              <a:ext uri="{FF2B5EF4-FFF2-40B4-BE49-F238E27FC236}">
                <a16:creationId xmlns:a16="http://schemas.microsoft.com/office/drawing/2014/main" id="{6EC15E4E-9BB7-48B4-990A-BC92D18A964F}"/>
              </a:ext>
            </a:extLst>
          </p:cNvPr>
          <p:cNvSpPr/>
          <p:nvPr/>
        </p:nvSpPr>
        <p:spPr>
          <a:xfrm>
            <a:off x="515938"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0" name="Rechthoek 9">
            <a:extLst>
              <a:ext uri="{FF2B5EF4-FFF2-40B4-BE49-F238E27FC236}">
                <a16:creationId xmlns:a16="http://schemas.microsoft.com/office/drawing/2014/main" id="{52D8CAAB-BE0A-42E1-B75F-97F703783A41}"/>
              </a:ext>
            </a:extLst>
          </p:cNvPr>
          <p:cNvSpPr/>
          <p:nvPr/>
        </p:nvSpPr>
        <p:spPr>
          <a:xfrm>
            <a:off x="515938"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1" name="Rechthoek 10">
            <a:extLst>
              <a:ext uri="{FF2B5EF4-FFF2-40B4-BE49-F238E27FC236}">
                <a16:creationId xmlns:a16="http://schemas.microsoft.com/office/drawing/2014/main" id="{2AF6942B-2A90-4D8E-9FE1-2CDEA6844A99}"/>
              </a:ext>
            </a:extLst>
          </p:cNvPr>
          <p:cNvSpPr/>
          <p:nvPr/>
        </p:nvSpPr>
        <p:spPr>
          <a:xfrm>
            <a:off x="1938550"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2" name="Rechthoek 11">
            <a:extLst>
              <a:ext uri="{FF2B5EF4-FFF2-40B4-BE49-F238E27FC236}">
                <a16:creationId xmlns:a16="http://schemas.microsoft.com/office/drawing/2014/main" id="{7371CA71-7F01-469A-BF6A-49B9D7D4DD91}"/>
              </a:ext>
            </a:extLst>
          </p:cNvPr>
          <p:cNvSpPr/>
          <p:nvPr/>
        </p:nvSpPr>
        <p:spPr>
          <a:xfrm>
            <a:off x="1938550"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3" name="Rechthoek 12">
            <a:extLst>
              <a:ext uri="{FF2B5EF4-FFF2-40B4-BE49-F238E27FC236}">
                <a16:creationId xmlns:a16="http://schemas.microsoft.com/office/drawing/2014/main" id="{0796DBA6-6140-43D0-AED3-2A698F5875AE}"/>
              </a:ext>
            </a:extLst>
          </p:cNvPr>
          <p:cNvSpPr/>
          <p:nvPr/>
        </p:nvSpPr>
        <p:spPr>
          <a:xfrm>
            <a:off x="1938550"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4" name="Rechthoek 13">
            <a:extLst>
              <a:ext uri="{FF2B5EF4-FFF2-40B4-BE49-F238E27FC236}">
                <a16:creationId xmlns:a16="http://schemas.microsoft.com/office/drawing/2014/main" id="{14411FE5-5F39-43F1-80FF-5F59E7381EE7}"/>
              </a:ext>
            </a:extLst>
          </p:cNvPr>
          <p:cNvSpPr/>
          <p:nvPr/>
        </p:nvSpPr>
        <p:spPr>
          <a:xfrm>
            <a:off x="3361162"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5" name="Rechthoek 14">
            <a:extLst>
              <a:ext uri="{FF2B5EF4-FFF2-40B4-BE49-F238E27FC236}">
                <a16:creationId xmlns:a16="http://schemas.microsoft.com/office/drawing/2014/main" id="{61D6604E-C5A2-4A78-BA6C-186EB6192129}"/>
              </a:ext>
            </a:extLst>
          </p:cNvPr>
          <p:cNvSpPr/>
          <p:nvPr/>
        </p:nvSpPr>
        <p:spPr>
          <a:xfrm>
            <a:off x="3361162"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6" name="Rechthoek 15">
            <a:extLst>
              <a:ext uri="{FF2B5EF4-FFF2-40B4-BE49-F238E27FC236}">
                <a16:creationId xmlns:a16="http://schemas.microsoft.com/office/drawing/2014/main" id="{824DD07D-F258-4E9A-9584-D819736201F5}"/>
              </a:ext>
            </a:extLst>
          </p:cNvPr>
          <p:cNvSpPr/>
          <p:nvPr/>
        </p:nvSpPr>
        <p:spPr>
          <a:xfrm>
            <a:off x="3361162"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7" name="Rechthoek 16">
            <a:extLst>
              <a:ext uri="{FF2B5EF4-FFF2-40B4-BE49-F238E27FC236}">
                <a16:creationId xmlns:a16="http://schemas.microsoft.com/office/drawing/2014/main" id="{B77B9F7E-D5E0-4A1D-9850-D527BCB024FE}"/>
              </a:ext>
            </a:extLst>
          </p:cNvPr>
          <p:cNvSpPr/>
          <p:nvPr/>
        </p:nvSpPr>
        <p:spPr>
          <a:xfrm>
            <a:off x="4783774"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8" name="Rechthoek 17">
            <a:extLst>
              <a:ext uri="{FF2B5EF4-FFF2-40B4-BE49-F238E27FC236}">
                <a16:creationId xmlns:a16="http://schemas.microsoft.com/office/drawing/2014/main" id="{64C88A47-9298-403A-A84C-A17060420D9A}"/>
              </a:ext>
            </a:extLst>
          </p:cNvPr>
          <p:cNvSpPr/>
          <p:nvPr/>
        </p:nvSpPr>
        <p:spPr>
          <a:xfrm>
            <a:off x="4783774"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19" name="Rechthoek 18">
            <a:extLst>
              <a:ext uri="{FF2B5EF4-FFF2-40B4-BE49-F238E27FC236}">
                <a16:creationId xmlns:a16="http://schemas.microsoft.com/office/drawing/2014/main" id="{B2B5B666-38DC-4526-B121-53442294D9A3}"/>
              </a:ext>
            </a:extLst>
          </p:cNvPr>
          <p:cNvSpPr/>
          <p:nvPr/>
        </p:nvSpPr>
        <p:spPr>
          <a:xfrm>
            <a:off x="4783774"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Rechthoek 19">
            <a:extLst>
              <a:ext uri="{FF2B5EF4-FFF2-40B4-BE49-F238E27FC236}">
                <a16:creationId xmlns:a16="http://schemas.microsoft.com/office/drawing/2014/main" id="{40DB5782-87E4-46E7-B6D1-8132E3E18B18}"/>
              </a:ext>
            </a:extLst>
          </p:cNvPr>
          <p:cNvSpPr/>
          <p:nvPr/>
        </p:nvSpPr>
        <p:spPr>
          <a:xfrm>
            <a:off x="6206386"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1" name="Rechthoek 20">
            <a:extLst>
              <a:ext uri="{FF2B5EF4-FFF2-40B4-BE49-F238E27FC236}">
                <a16:creationId xmlns:a16="http://schemas.microsoft.com/office/drawing/2014/main" id="{1897D6AF-F28C-4EFC-B8DA-650B8FBFE45E}"/>
              </a:ext>
            </a:extLst>
          </p:cNvPr>
          <p:cNvSpPr/>
          <p:nvPr/>
        </p:nvSpPr>
        <p:spPr>
          <a:xfrm>
            <a:off x="6206386"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2" name="Rechthoek 21">
            <a:extLst>
              <a:ext uri="{FF2B5EF4-FFF2-40B4-BE49-F238E27FC236}">
                <a16:creationId xmlns:a16="http://schemas.microsoft.com/office/drawing/2014/main" id="{ACD4F9B5-688C-4630-A14A-3E3A5FC3A787}"/>
              </a:ext>
            </a:extLst>
          </p:cNvPr>
          <p:cNvSpPr/>
          <p:nvPr/>
        </p:nvSpPr>
        <p:spPr>
          <a:xfrm>
            <a:off x="6206386"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3" name="Rechthoek 22">
            <a:extLst>
              <a:ext uri="{FF2B5EF4-FFF2-40B4-BE49-F238E27FC236}">
                <a16:creationId xmlns:a16="http://schemas.microsoft.com/office/drawing/2014/main" id="{E40E986B-09EB-41ED-8874-EC47A88B1D05}"/>
              </a:ext>
            </a:extLst>
          </p:cNvPr>
          <p:cNvSpPr/>
          <p:nvPr/>
        </p:nvSpPr>
        <p:spPr>
          <a:xfrm>
            <a:off x="7628998"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4" name="Rechthoek 23">
            <a:extLst>
              <a:ext uri="{FF2B5EF4-FFF2-40B4-BE49-F238E27FC236}">
                <a16:creationId xmlns:a16="http://schemas.microsoft.com/office/drawing/2014/main" id="{9C81E893-522A-4FE4-8567-6B2B957C9AB0}"/>
              </a:ext>
            </a:extLst>
          </p:cNvPr>
          <p:cNvSpPr/>
          <p:nvPr/>
        </p:nvSpPr>
        <p:spPr>
          <a:xfrm>
            <a:off x="7628998"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5" name="Rechthoek 24">
            <a:extLst>
              <a:ext uri="{FF2B5EF4-FFF2-40B4-BE49-F238E27FC236}">
                <a16:creationId xmlns:a16="http://schemas.microsoft.com/office/drawing/2014/main" id="{61C06748-C1B1-4C7C-ADA2-14607754AF7D}"/>
              </a:ext>
            </a:extLst>
          </p:cNvPr>
          <p:cNvSpPr/>
          <p:nvPr/>
        </p:nvSpPr>
        <p:spPr>
          <a:xfrm>
            <a:off x="7628998"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6" name="Rechthoek 25">
            <a:extLst>
              <a:ext uri="{FF2B5EF4-FFF2-40B4-BE49-F238E27FC236}">
                <a16:creationId xmlns:a16="http://schemas.microsoft.com/office/drawing/2014/main" id="{C29DA80C-E238-4AF8-8367-6DBA09869B4C}"/>
              </a:ext>
            </a:extLst>
          </p:cNvPr>
          <p:cNvSpPr/>
          <p:nvPr/>
        </p:nvSpPr>
        <p:spPr>
          <a:xfrm>
            <a:off x="9051610"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7" name="Rechthoek 26">
            <a:extLst>
              <a:ext uri="{FF2B5EF4-FFF2-40B4-BE49-F238E27FC236}">
                <a16:creationId xmlns:a16="http://schemas.microsoft.com/office/drawing/2014/main" id="{0AD3F371-3967-4A20-B55C-4B744D0FCC70}"/>
              </a:ext>
            </a:extLst>
          </p:cNvPr>
          <p:cNvSpPr/>
          <p:nvPr/>
        </p:nvSpPr>
        <p:spPr>
          <a:xfrm>
            <a:off x="9051610"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8" name="Rechthoek 27">
            <a:extLst>
              <a:ext uri="{FF2B5EF4-FFF2-40B4-BE49-F238E27FC236}">
                <a16:creationId xmlns:a16="http://schemas.microsoft.com/office/drawing/2014/main" id="{A2099084-20BE-4EE8-B583-F75B68CA1841}"/>
              </a:ext>
            </a:extLst>
          </p:cNvPr>
          <p:cNvSpPr/>
          <p:nvPr/>
        </p:nvSpPr>
        <p:spPr>
          <a:xfrm>
            <a:off x="9051610"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29" name="Rechthoek 28">
            <a:extLst>
              <a:ext uri="{FF2B5EF4-FFF2-40B4-BE49-F238E27FC236}">
                <a16:creationId xmlns:a16="http://schemas.microsoft.com/office/drawing/2014/main" id="{BC9D15B7-C5D7-4F0A-8ED5-7AB247F6D6FE}"/>
              </a:ext>
            </a:extLst>
          </p:cNvPr>
          <p:cNvSpPr/>
          <p:nvPr/>
        </p:nvSpPr>
        <p:spPr>
          <a:xfrm>
            <a:off x="10474225" y="1891538"/>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0" name="Rechthoek 29">
            <a:extLst>
              <a:ext uri="{FF2B5EF4-FFF2-40B4-BE49-F238E27FC236}">
                <a16:creationId xmlns:a16="http://schemas.microsoft.com/office/drawing/2014/main" id="{CD7D74B5-8738-439E-8B6A-9DA6FE10B844}"/>
              </a:ext>
            </a:extLst>
          </p:cNvPr>
          <p:cNvSpPr/>
          <p:nvPr/>
        </p:nvSpPr>
        <p:spPr>
          <a:xfrm>
            <a:off x="10474225" y="4492324"/>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sp>
        <p:nvSpPr>
          <p:cNvPr id="31" name="Rechthoek 30">
            <a:extLst>
              <a:ext uri="{FF2B5EF4-FFF2-40B4-BE49-F238E27FC236}">
                <a16:creationId xmlns:a16="http://schemas.microsoft.com/office/drawing/2014/main" id="{D1814140-2FF1-4604-B43E-D0B616EBE600}"/>
              </a:ext>
            </a:extLst>
          </p:cNvPr>
          <p:cNvSpPr/>
          <p:nvPr/>
        </p:nvSpPr>
        <p:spPr>
          <a:xfrm>
            <a:off x="10474225" y="3191932"/>
            <a:ext cx="1197075" cy="1156401"/>
          </a:xfrm>
          <a:prstGeom prst="rect">
            <a:avLst/>
          </a:prstGeom>
          <a:solidFill>
            <a:srgbClr val="E9E9E9"/>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Arial"/>
              <a:ea typeface="+mn-ea"/>
              <a:cs typeface="+mn-cs"/>
            </a:endParaRPr>
          </a:p>
        </p:txBody>
      </p:sp>
      <p:grpSp>
        <p:nvGrpSpPr>
          <p:cNvPr id="32" name="INSTRUCTIE">
            <a:extLst>
              <a:ext uri="{FF2B5EF4-FFF2-40B4-BE49-F238E27FC236}">
                <a16:creationId xmlns:a16="http://schemas.microsoft.com/office/drawing/2014/main" id="{C8780331-4AFC-4BC8-ACCE-73FF7712F0F3}"/>
              </a:ext>
            </a:extLst>
          </p:cNvPr>
          <p:cNvGrpSpPr/>
          <p:nvPr userDrawn="1"/>
        </p:nvGrpSpPr>
        <p:grpSpPr>
          <a:xfrm>
            <a:off x="8469641" y="7033211"/>
            <a:ext cx="3727954" cy="1728407"/>
            <a:chOff x="5846" y="7033211"/>
            <a:chExt cx="3727954" cy="1728407"/>
          </a:xfrm>
        </p:grpSpPr>
        <p:sp>
          <p:nvSpPr>
            <p:cNvPr id="33" name="Rechthoek 32">
              <a:extLst>
                <a:ext uri="{FF2B5EF4-FFF2-40B4-BE49-F238E27FC236}">
                  <a16:creationId xmlns:a16="http://schemas.microsoft.com/office/drawing/2014/main" id="{A9333B02-75A6-4E93-B330-C75FF8214CD6}"/>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Voettekst, dia nummer </a:t>
              </a:r>
              <a:br>
                <a:rPr lang="nl-NL" sz="1400" b="1" cap="all" baseline="0" noProof="0" dirty="0">
                  <a:solidFill>
                    <a:schemeClr val="accent1"/>
                  </a:solidFill>
                  <a:latin typeface="Calibri" panose="020F0502020204030204" pitchFamily="34" charset="0"/>
                  <a:cs typeface="Calibri" panose="020F0502020204030204" pitchFamily="34" charset="0"/>
                </a:rPr>
              </a:br>
              <a:r>
                <a:rPr lang="nl-NL" sz="1400" b="1" cap="all" baseline="0" noProof="0" dirty="0">
                  <a:solidFill>
                    <a:schemeClr val="accent1"/>
                  </a:solidFill>
                  <a:latin typeface="Calibri" panose="020F0502020204030204" pitchFamily="34" charset="0"/>
                  <a:cs typeface="Calibri" panose="020F0502020204030204" pitchFamily="34" charset="0"/>
                </a:rPr>
                <a:t>en datum aanpassen</a:t>
              </a:r>
            </a:p>
          </p:txBody>
        </p:sp>
        <p:sp>
          <p:nvSpPr>
            <p:cNvPr id="34" name="Ovaal 33">
              <a:extLst>
                <a:ext uri="{FF2B5EF4-FFF2-40B4-BE49-F238E27FC236}">
                  <a16:creationId xmlns:a16="http://schemas.microsoft.com/office/drawing/2014/main" id="{0B1A8282-1321-40E4-813A-B36D45486D4C}"/>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5" name="Rechthoek 34">
              <a:extLst>
                <a:ext uri="{FF2B5EF4-FFF2-40B4-BE49-F238E27FC236}">
                  <a16:creationId xmlns:a16="http://schemas.microsoft.com/office/drawing/2014/main" id="{C35BDB53-1D11-43CC-8986-B27ECEC6BF52}"/>
                </a:ext>
              </a:extLst>
            </p:cNvPr>
            <p:cNvSpPr/>
            <p:nvPr userDrawn="1"/>
          </p:nvSpPr>
          <p:spPr>
            <a:xfrm>
              <a:off x="472596" y="7678534"/>
              <a:ext cx="2322719"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36" name="Ovaal 35">
              <a:extLst>
                <a:ext uri="{FF2B5EF4-FFF2-40B4-BE49-F238E27FC236}">
                  <a16:creationId xmlns:a16="http://schemas.microsoft.com/office/drawing/2014/main" id="{A1DCF6C7-E9B2-4619-BAA1-6533AF1795AB}"/>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7" name="Rechthoek 36">
              <a:extLst>
                <a:ext uri="{FF2B5EF4-FFF2-40B4-BE49-F238E27FC236}">
                  <a16:creationId xmlns:a16="http://schemas.microsoft.com/office/drawing/2014/main" id="{A3925061-B212-4D51-98C7-F18041095F38}"/>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38" name="Groep 37">
              <a:extLst>
                <a:ext uri="{FF2B5EF4-FFF2-40B4-BE49-F238E27FC236}">
                  <a16:creationId xmlns:a16="http://schemas.microsoft.com/office/drawing/2014/main" id="{E5A6AA12-9E2C-4B31-A103-1C5BD1DE07A8}"/>
                </a:ext>
              </a:extLst>
            </p:cNvPr>
            <p:cNvGrpSpPr/>
            <p:nvPr userDrawn="1"/>
          </p:nvGrpSpPr>
          <p:grpSpPr>
            <a:xfrm>
              <a:off x="2939884" y="7739834"/>
              <a:ext cx="681133" cy="750023"/>
              <a:chOff x="-910573" y="4987990"/>
              <a:chExt cx="681133" cy="750023"/>
            </a:xfrm>
          </p:grpSpPr>
          <p:grpSp>
            <p:nvGrpSpPr>
              <p:cNvPr id="39" name="Groep 38">
                <a:extLst>
                  <a:ext uri="{FF2B5EF4-FFF2-40B4-BE49-F238E27FC236}">
                    <a16:creationId xmlns:a16="http://schemas.microsoft.com/office/drawing/2014/main" id="{FB106D60-84E2-4D89-A7F5-A20AFEE4DBF9}"/>
                  </a:ext>
                </a:extLst>
              </p:cNvPr>
              <p:cNvGrpSpPr/>
              <p:nvPr userDrawn="1"/>
            </p:nvGrpSpPr>
            <p:grpSpPr>
              <a:xfrm>
                <a:off x="-713542" y="4987990"/>
                <a:ext cx="287071" cy="379107"/>
                <a:chOff x="-4050578" y="288410"/>
                <a:chExt cx="322125" cy="379107"/>
              </a:xfrm>
            </p:grpSpPr>
            <p:sp>
              <p:nvSpPr>
                <p:cNvPr id="41" name="Rechthoek met één afgeknipte en afgeronde hoek 47">
                  <a:extLst>
                    <a:ext uri="{FF2B5EF4-FFF2-40B4-BE49-F238E27FC236}">
                      <a16:creationId xmlns:a16="http://schemas.microsoft.com/office/drawing/2014/main" id="{48115C6C-A28D-4968-A0FC-5743730FD533}"/>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2" name="Rechthoekige driehoek 41">
                  <a:extLst>
                    <a:ext uri="{FF2B5EF4-FFF2-40B4-BE49-F238E27FC236}">
                      <a16:creationId xmlns:a16="http://schemas.microsoft.com/office/drawing/2014/main" id="{9F6C3BD3-697C-440C-BEEC-146DA631BE0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3" name="Rechthoek 42">
                  <a:extLst>
                    <a:ext uri="{FF2B5EF4-FFF2-40B4-BE49-F238E27FC236}">
                      <a16:creationId xmlns:a16="http://schemas.microsoft.com/office/drawing/2014/main" id="{8F639FD9-EDA9-4FD5-99F5-96E84C8AEFD4}"/>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44" name="Rechthoek 43">
                  <a:extLst>
                    <a:ext uri="{FF2B5EF4-FFF2-40B4-BE49-F238E27FC236}">
                      <a16:creationId xmlns:a16="http://schemas.microsoft.com/office/drawing/2014/main" id="{546E70F2-4E8D-4455-BFC5-7CF400AFF8C5}"/>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40" name="Rechthoek 39">
                <a:extLst>
                  <a:ext uri="{FF2B5EF4-FFF2-40B4-BE49-F238E27FC236}">
                    <a16:creationId xmlns:a16="http://schemas.microsoft.com/office/drawing/2014/main" id="{42F09CEE-4DE6-4A60-AD2A-67D11C8E6AC6}"/>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2352798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tro slide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923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3600" b="1" i="0" baseline="0">
              <a:latin typeface="Arial"/>
              <a:ea typeface="+mj-ea"/>
              <a:cs typeface="+mj-cs"/>
              <a:sym typeface="Arial"/>
            </a:endParaRPr>
          </a:p>
        </p:txBody>
      </p:sp>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accent3"/>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pictogram als u een afbeelding wilt toevoegen</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7" cstate="email">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9" cstate="email">
                    <a:duotone>
                      <a:prstClr val="black"/>
                      <a:srgbClr val="4D82B8">
                        <a:tint val="45000"/>
                        <a:satMod val="400000"/>
                      </a:srgbClr>
                    </a:duotone>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1349574" y="2316401"/>
            <a:ext cx="9482420" cy="2288285"/>
          </a:xfrm>
        </p:spPr>
        <p:txBody>
          <a:bodyPr anchor="ctr" anchorCtr="0"/>
          <a:lstStyle>
            <a:lvl1pPr algn="ctr">
              <a:defRPr sz="3600">
                <a:solidFill>
                  <a:schemeClr val="tx2"/>
                </a:solidFill>
              </a:defRPr>
            </a:lvl1pPr>
          </a:lstStyle>
          <a:p>
            <a:r>
              <a:rPr lang="nl-NL"/>
              <a:t>Plaats hier naam presentatie, max. 2 regels</a:t>
            </a:r>
          </a:p>
        </p:txBody>
      </p:sp>
    </p:spTree>
    <p:extLst>
      <p:ext uri="{BB962C8B-B14F-4D97-AF65-F5344CB8AC3E}">
        <p14:creationId xmlns:p14="http://schemas.microsoft.com/office/powerpoint/2010/main" val="276196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Inhoudsopgave">
    <p:spTree>
      <p:nvGrpSpPr>
        <p:cNvPr id="1" name=""/>
        <p:cNvGrpSpPr/>
        <p:nvPr/>
      </p:nvGrpSpPr>
      <p:grpSpPr>
        <a:xfrm>
          <a:off x="0" y="0"/>
          <a:ext cx="0" cy="0"/>
          <a:chOff x="0" y="0"/>
          <a:chExt cx="0" cy="0"/>
        </a:xfrm>
      </p:grpSpPr>
      <p:sp>
        <p:nvSpPr>
          <p:cNvPr id="24" name="Vrije vorm: vorm 23">
            <a:extLst>
              <a:ext uri="{FF2B5EF4-FFF2-40B4-BE49-F238E27FC236}">
                <a16:creationId xmlns:a16="http://schemas.microsoft.com/office/drawing/2014/main" id="{1A88944A-4CF2-45B8-9B1B-0645279B74C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3" name="Tijdelijke aanduiding voor verticale tekst 2"/>
          <p:cNvSpPr>
            <a:spLocks noGrp="1"/>
          </p:cNvSpPr>
          <p:nvPr>
            <p:ph type="body" orient="vert" idx="1" hasCustomPrompt="1"/>
          </p:nvPr>
        </p:nvSpPr>
        <p:spPr>
          <a:xfrm>
            <a:off x="515940" y="13507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bij voorkeur titels van de slides in de presentatie en zorg voor herkenbare piramide – zorg dat de blokken samen een logisch oplopende samenvatting van je verhaal zijn</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71" name="Tijdelijke aanduiding voor verticale tekst 2">
            <a:extLst>
              <a:ext uri="{FF2B5EF4-FFF2-40B4-BE49-F238E27FC236}">
                <a16:creationId xmlns:a16="http://schemas.microsoft.com/office/drawing/2014/main" id="{FE290CDF-749E-45F0-844F-4806A956D0AA}"/>
              </a:ext>
            </a:extLst>
          </p:cNvPr>
          <p:cNvSpPr>
            <a:spLocks noGrp="1"/>
          </p:cNvSpPr>
          <p:nvPr>
            <p:ph type="body" orient="vert" idx="13" hasCustomPrompt="1"/>
          </p:nvPr>
        </p:nvSpPr>
        <p:spPr>
          <a:xfrm>
            <a:off x="515940" y="23739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Herhaal deze slide en accentueer het te bespreken onderwerp (lichtblauw)</a:t>
            </a:r>
          </a:p>
        </p:txBody>
      </p:sp>
      <p:sp>
        <p:nvSpPr>
          <p:cNvPr id="173" name="Tijdelijke aanduiding voor verticale tekst 2">
            <a:extLst>
              <a:ext uri="{FF2B5EF4-FFF2-40B4-BE49-F238E27FC236}">
                <a16:creationId xmlns:a16="http://schemas.microsoft.com/office/drawing/2014/main" id="{8C347347-F4D9-4B0A-B408-EE867EE63246}"/>
              </a:ext>
            </a:extLst>
          </p:cNvPr>
          <p:cNvSpPr>
            <a:spLocks noGrp="1"/>
          </p:cNvSpPr>
          <p:nvPr>
            <p:ph type="body" orient="vert" idx="14" hasCustomPrompt="1"/>
          </p:nvPr>
        </p:nvSpPr>
        <p:spPr>
          <a:xfrm>
            <a:off x="515940" y="33971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ebruik volzinnen van maximaal 15 woorden in de titel, gebruik geen punten</a:t>
            </a:r>
          </a:p>
        </p:txBody>
      </p:sp>
      <p:sp>
        <p:nvSpPr>
          <p:cNvPr id="174" name="Tijdelijke aanduiding voor verticale tekst 2">
            <a:extLst>
              <a:ext uri="{FF2B5EF4-FFF2-40B4-BE49-F238E27FC236}">
                <a16:creationId xmlns:a16="http://schemas.microsoft.com/office/drawing/2014/main" id="{3B6ACEE2-7D5F-4223-B109-7E58AD9898E2}"/>
              </a:ext>
            </a:extLst>
          </p:cNvPr>
          <p:cNvSpPr>
            <a:spLocks noGrp="1"/>
          </p:cNvSpPr>
          <p:nvPr>
            <p:ph type="body" orient="vert" idx="15" hasCustomPrompt="1"/>
          </p:nvPr>
        </p:nvSpPr>
        <p:spPr>
          <a:xfrm>
            <a:off x="515940" y="4420310"/>
            <a:ext cx="7498975" cy="890063"/>
          </a:xfrm>
          <a:solidFill>
            <a:schemeClr val="bg1"/>
          </a:solidFill>
          <a:ln>
            <a:solidFill>
              <a:srgbClr val="DCEBF3"/>
            </a:solidFill>
          </a:ln>
        </p:spPr>
        <p:txBody>
          <a:bodyPr vert="horz" lIns="144000" tIns="144000" rIns="144000" bIns="144000" anchor="ctr"/>
          <a:lstStyle>
            <a:lvl1pPr marL="0" indent="0">
              <a:buFontTx/>
              <a:buNone/>
              <a:defRPr sz="140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Lettertype grootte is Arial 14pt</a:t>
            </a:r>
          </a:p>
        </p:txBody>
      </p:sp>
      <p:sp>
        <p:nvSpPr>
          <p:cNvPr id="175" name="Tijdelijke aanduiding voor verticale tekst 2">
            <a:extLst>
              <a:ext uri="{FF2B5EF4-FFF2-40B4-BE49-F238E27FC236}">
                <a16:creationId xmlns:a16="http://schemas.microsoft.com/office/drawing/2014/main" id="{6DC1EEB1-7AFB-4F24-B984-79C4741696C5}"/>
              </a:ext>
            </a:extLst>
          </p:cNvPr>
          <p:cNvSpPr>
            <a:spLocks noGrp="1"/>
          </p:cNvSpPr>
          <p:nvPr>
            <p:ph type="body" orient="vert" idx="16" hasCustomPrompt="1"/>
          </p:nvPr>
        </p:nvSpPr>
        <p:spPr>
          <a:xfrm>
            <a:off x="515940" y="5443510"/>
            <a:ext cx="7498975" cy="890063"/>
          </a:xfrm>
          <a:solidFill>
            <a:schemeClr val="bg1"/>
          </a:solidFill>
          <a:ln>
            <a:solidFill>
              <a:srgbClr val="DCEBF3"/>
            </a:solidFill>
          </a:ln>
        </p:spPr>
        <p:txBody>
          <a:bodyPr vert="horz" lIns="144000" tIns="144000" rIns="144000" bIns="144000" anchor="ctr"/>
          <a:lstStyle>
            <a:lvl1pPr marL="0" indent="0">
              <a:buFontTx/>
              <a:buNone/>
              <a:defRPr sz="1400" baseline="0">
                <a:solidFill>
                  <a:schemeClr val="tx2"/>
                </a:solidFill>
              </a:defRPr>
            </a:lvl1pPr>
            <a:lvl2pPr marL="0" indent="0">
              <a:buFontTx/>
              <a:buNone/>
              <a:defRPr sz="1400"/>
            </a:lvl2pPr>
            <a:lvl3pPr>
              <a:defRPr sz="1400"/>
            </a:lvl3pPr>
            <a:lvl4pPr>
              <a:defRPr sz="1400" b="0">
                <a:solidFill>
                  <a:schemeClr val="tx2"/>
                </a:solidFill>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Ga voor kleuren en iconen naar </a:t>
            </a:r>
            <a:r>
              <a:rPr lang="nl-NL" err="1"/>
              <a:t>frontify</a:t>
            </a:r>
            <a:r>
              <a:rPr lang="nl-NL"/>
              <a:t>. Nog geen toegang? Vraag het aan via </a:t>
            </a:r>
            <a:r>
              <a:rPr lang="nl-NL">
                <a:effectLst/>
                <a:hlinkClick r:id="rId2"/>
              </a:rPr>
              <a:t>huisstijl@zilverenkruis.nl</a:t>
            </a:r>
            <a:endParaRPr lang="nl-NL"/>
          </a:p>
        </p:txBody>
      </p:sp>
    </p:spTree>
    <p:extLst>
      <p:ext uri="{BB962C8B-B14F-4D97-AF65-F5344CB8AC3E}">
        <p14:creationId xmlns:p14="http://schemas.microsoft.com/office/powerpoint/2010/main" val="433247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Tree>
    <p:extLst>
      <p:ext uri="{BB962C8B-B14F-4D97-AF65-F5344CB8AC3E}">
        <p14:creationId xmlns:p14="http://schemas.microsoft.com/office/powerpoint/2010/main" val="3320687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1653880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jdelijke aanduiding voor verticale tekst 2"/>
          <p:cNvSpPr>
            <a:spLocks noGrp="1"/>
          </p:cNvSpPr>
          <p:nvPr>
            <p:ph type="body" orient="vert" idx="1" hasCustomPrompt="1"/>
          </p:nvPr>
        </p:nvSpPr>
        <p:spPr>
          <a:xfrm>
            <a:off x="515940" y="1808162"/>
            <a:ext cx="11155359" cy="4527551"/>
          </a:xfrm>
        </p:spPr>
        <p:txBody>
          <a:bodyPr vert="horz" lIns="0" tIns="0" rIns="0" bIns="0"/>
          <a:lstStyle>
            <a:lvl1pPr marL="263525" indent="-263525">
              <a:lnSpc>
                <a:spcPct val="150000"/>
              </a:lnSpc>
              <a:spcAft>
                <a:spcPts val="0"/>
              </a:spcAft>
              <a:buFont typeface="Arial" panose="020B0604020202020204" pitchFamily="34" charset="0"/>
              <a:buChar char="•"/>
              <a:defRPr sz="1400" b="0" baseline="0">
                <a:solidFill>
                  <a:schemeClr val="tx2"/>
                </a:solidFill>
                <a:latin typeface="+mj-lt"/>
              </a:defRPr>
            </a:lvl1pPr>
            <a:lvl2pPr marL="538163" indent="-274638">
              <a:lnSpc>
                <a:spcPct val="150000"/>
              </a:lnSpc>
              <a:spcAft>
                <a:spcPts val="0"/>
              </a:spcAft>
              <a:buFont typeface="Arial" panose="020B0604020202020204" pitchFamily="34" charset="0"/>
              <a:buChar char="•"/>
              <a:defRPr sz="1400" b="0">
                <a:solidFill>
                  <a:schemeClr val="tx2"/>
                </a:solidFill>
                <a:latin typeface="+mj-lt"/>
              </a:defRPr>
            </a:lvl2pPr>
            <a:lvl3pPr marL="808038" marR="0" indent="-273050" algn="l" defTabSz="719138" rtl="0" eaLnBrk="1" fontAlgn="auto" latinLnBrk="0" hangingPunct="1">
              <a:lnSpc>
                <a:spcPct val="150000"/>
              </a:lnSpc>
              <a:spcBef>
                <a:spcPts val="0"/>
              </a:spcBef>
              <a:spcAft>
                <a:spcPts val="0"/>
              </a:spcAft>
              <a:buClr>
                <a:schemeClr val="tx2"/>
              </a:buClr>
              <a:buSzPct val="100000"/>
              <a:buFont typeface="Arial" panose="020B0604020202020204" pitchFamily="34" charset="0"/>
              <a:buChar char="•"/>
              <a:tabLst/>
              <a:defRPr sz="1400" b="0" baseline="0">
                <a:solidFill>
                  <a:schemeClr val="tx2"/>
                </a:solidFill>
                <a:latin typeface="+mj-lt"/>
              </a:defRPr>
            </a:lvl3pPr>
            <a:lvl4pPr marL="1081088" indent="-273050">
              <a:lnSpc>
                <a:spcPct val="150000"/>
              </a:lnSpc>
              <a:spcAft>
                <a:spcPts val="0"/>
              </a:spcAft>
              <a:buSzPct val="100000"/>
              <a:buFont typeface="Arial" panose="020B0604020202020204" pitchFamily="34" charset="0"/>
              <a:buChar char="•"/>
              <a:defRPr sz="1400" b="0" baseline="0">
                <a:solidFill>
                  <a:schemeClr val="tx2"/>
                </a:solidFill>
                <a:latin typeface="+mj-lt"/>
              </a:defRPr>
            </a:lvl4pPr>
            <a:lvl5pPr marL="1341438" indent="-285750">
              <a:lnSpc>
                <a:spcPct val="150000"/>
              </a:lnSpc>
              <a:buFont typeface="Arial" panose="020B0604020202020204" pitchFamily="34" charset="0"/>
              <a:buChar char="•"/>
              <a:defRPr sz="1400" baseline="0"/>
            </a:lvl5pPr>
            <a:lvl6pPr marL="549275" indent="-285750">
              <a:buFont typeface="Wingdings" panose="05000000000000000000" pitchFamily="2" charset="2"/>
              <a:buChar char="§"/>
              <a:defRPr/>
            </a:lvl6pPr>
            <a:lvl7pPr>
              <a:defRPr/>
            </a:lvl7pPr>
            <a:lvl8pPr>
              <a:defRPr/>
            </a:lvl8pPr>
            <a:lvl9pPr>
              <a:defRPr/>
            </a:lvl9pPr>
          </a:lstStyle>
          <a:p>
            <a:pPr lvl="0"/>
            <a:r>
              <a:rPr lang="nl-NL"/>
              <a:t>Bullet niveau 1</a:t>
            </a:r>
          </a:p>
          <a:p>
            <a:pPr lvl="1"/>
            <a:r>
              <a:rPr lang="nl-NL"/>
              <a:t>Bullet niveau 2</a:t>
            </a:r>
          </a:p>
          <a:p>
            <a:pPr lvl="2"/>
            <a:r>
              <a:rPr lang="nl-NL"/>
              <a:t>Bullet niveau 3</a:t>
            </a:r>
          </a:p>
          <a:p>
            <a:pPr lvl="3"/>
            <a:r>
              <a:rPr lang="nl-NL"/>
              <a:t>Bullet niveau 4</a:t>
            </a:r>
          </a:p>
          <a:p>
            <a:pPr lvl="4"/>
            <a:r>
              <a:rPr lang="nl-NL"/>
              <a:t>Bullet niveau 5</a:t>
            </a:r>
          </a:p>
        </p:txBody>
      </p:sp>
    </p:spTree>
    <p:extLst>
      <p:ext uri="{BB962C8B-B14F-4D97-AF65-F5344CB8AC3E}">
        <p14:creationId xmlns:p14="http://schemas.microsoft.com/office/powerpoint/2010/main" val="3603672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18" name="Rechte verbindingslijn 17"/>
          <p:cNvCxnSpPr/>
          <p:nvPr userDrawn="1"/>
        </p:nvCxnSpPr>
        <p:spPr>
          <a:xfrm>
            <a:off x="524404" y="1801284"/>
            <a:ext cx="111601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3" hasCustomPrompt="1"/>
          </p:nvPr>
        </p:nvSpPr>
        <p:spPr>
          <a:xfrm>
            <a:off x="520700" y="1585840"/>
            <a:ext cx="11153775" cy="215444"/>
          </a:xfrm>
          <a:ln>
            <a:noFill/>
          </a:ln>
        </p:spPr>
        <p:txBody>
          <a:bodyPr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3933859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946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6362396"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24" name="Text Placeholder 3"/>
          <p:cNvSpPr>
            <a:spLocks noGrp="1"/>
          </p:cNvSpPr>
          <p:nvPr>
            <p:ph type="body" sz="quarter" idx="14" hasCustomPrompt="1"/>
          </p:nvPr>
        </p:nvSpPr>
        <p:spPr>
          <a:xfrm>
            <a:off x="63500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24000446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5822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1" name="Rechte verbindingslijn 20"/>
          <p:cNvCxnSpPr/>
          <p:nvPr userDrawn="1"/>
        </p:nvCxnSpPr>
        <p:spPr>
          <a:xfrm>
            <a:off x="525462"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4309269"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8093075" y="1806953"/>
            <a:ext cx="35808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Text Placeholder 3"/>
          <p:cNvSpPr>
            <a:spLocks noGrp="1"/>
          </p:cNvSpPr>
          <p:nvPr>
            <p:ph type="body" sz="quarter" idx="13" hasCustomPrompt="1"/>
          </p:nvPr>
        </p:nvSpPr>
        <p:spPr>
          <a:xfrm>
            <a:off x="520699"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5" name="Text Placeholder 3"/>
          <p:cNvSpPr>
            <a:spLocks noGrp="1"/>
          </p:cNvSpPr>
          <p:nvPr>
            <p:ph type="body" sz="quarter" idx="14" hasCustomPrompt="1"/>
          </p:nvPr>
        </p:nvSpPr>
        <p:spPr>
          <a:xfrm>
            <a:off x="4306887"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6" name="Text Placeholder 3"/>
          <p:cNvSpPr>
            <a:spLocks noGrp="1"/>
          </p:cNvSpPr>
          <p:nvPr>
            <p:ph type="body" sz="quarter" idx="15" hasCustomPrompt="1"/>
          </p:nvPr>
        </p:nvSpPr>
        <p:spPr>
          <a:xfrm>
            <a:off x="8093075" y="1430742"/>
            <a:ext cx="3581400" cy="369332"/>
          </a:xfrm>
          <a:ln>
            <a:noFill/>
          </a:ln>
        </p:spPr>
        <p:txBody>
          <a:bodyPr wrap="square" anchor="b">
            <a:no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951496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grafiek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9798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nl-NL" sz="2200" b="1" i="0" baseline="0">
              <a:latin typeface="Arial"/>
              <a:ea typeface="+mj-ea"/>
              <a:cs typeface="+mj-cs"/>
              <a:sym typeface="Arial"/>
            </a:endParaRPr>
          </a:p>
        </p:txBody>
      </p:sp>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2" name="Rechte verbindingslijn 21"/>
          <p:cNvCxnSpPr/>
          <p:nvPr userDrawn="1"/>
        </p:nvCxnSpPr>
        <p:spPr>
          <a:xfrm>
            <a:off x="525462"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3365824" y="180128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26"/>
          <p:cNvCxnSpPr/>
          <p:nvPr userDrawn="1"/>
        </p:nvCxnSpPr>
        <p:spPr>
          <a:xfrm>
            <a:off x="6208081"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9050337" y="1800074"/>
            <a:ext cx="2632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 Placeholder 3"/>
          <p:cNvSpPr>
            <a:spLocks noGrp="1"/>
          </p:cNvSpPr>
          <p:nvPr>
            <p:ph type="body" sz="quarter" idx="13" hasCustomPrompt="1"/>
          </p:nvPr>
        </p:nvSpPr>
        <p:spPr>
          <a:xfrm>
            <a:off x="520700"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1" name="Text Placeholder 3"/>
          <p:cNvSpPr>
            <a:spLocks noGrp="1"/>
          </p:cNvSpPr>
          <p:nvPr>
            <p:ph type="body" sz="quarter" idx="14" hasCustomPrompt="1"/>
          </p:nvPr>
        </p:nvSpPr>
        <p:spPr>
          <a:xfrm>
            <a:off x="6208081"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2" name="Text Placeholder 3"/>
          <p:cNvSpPr>
            <a:spLocks noGrp="1"/>
          </p:cNvSpPr>
          <p:nvPr>
            <p:ph type="body" sz="quarter" idx="15" hasCustomPrompt="1"/>
          </p:nvPr>
        </p:nvSpPr>
        <p:spPr>
          <a:xfrm>
            <a:off x="3365824"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
        <p:nvSpPr>
          <p:cNvPr id="33" name="Text Placeholder 3"/>
          <p:cNvSpPr>
            <a:spLocks noGrp="1"/>
          </p:cNvSpPr>
          <p:nvPr>
            <p:ph type="body" sz="quarter" idx="16" hasCustomPrompt="1"/>
          </p:nvPr>
        </p:nvSpPr>
        <p:spPr>
          <a:xfrm>
            <a:off x="9050337" y="1153743"/>
            <a:ext cx="2632075" cy="646331"/>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2673893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pic>
        <p:nvPicPr>
          <p:cNvPr id="3" name="Afbeelding 6">
            <a:extLst>
              <a:ext uri="{FF2B5EF4-FFF2-40B4-BE49-F238E27FC236}">
                <a16:creationId xmlns:a16="http://schemas.microsoft.com/office/drawing/2014/main" id="{727B4409-DBBC-4DD6-B3BE-8B1BE47F3B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13" y="0"/>
            <a:ext cx="121808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tekst 2"/>
          <p:cNvSpPr>
            <a:spLocks noGrp="1"/>
          </p:cNvSpPr>
          <p:nvPr>
            <p:ph idx="1"/>
          </p:nvPr>
        </p:nvSpPr>
        <p:spPr>
          <a:xfrm>
            <a:off x="1730326" y="1702191"/>
            <a:ext cx="9623474" cy="4474772"/>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2">
            <a:extLst>
              <a:ext uri="{FF2B5EF4-FFF2-40B4-BE49-F238E27FC236}">
                <a16:creationId xmlns:a16="http://schemas.microsoft.com/office/drawing/2014/main" id="{51102FE7-5A83-4558-8279-1C81237C00AE}"/>
              </a:ext>
            </a:extLst>
          </p:cNvPr>
          <p:cNvSpPr>
            <a:spLocks noGrp="1"/>
          </p:cNvSpPr>
          <p:nvPr>
            <p:ph type="dt" sz="half" idx="10"/>
          </p:nvPr>
        </p:nvSpPr>
        <p:spPr/>
        <p:txBody>
          <a:bodyPr/>
          <a:lstStyle>
            <a:lvl1pPr>
              <a:defRPr smtClean="0">
                <a:solidFill>
                  <a:schemeClr val="bg1"/>
                </a:solidFill>
              </a:defRPr>
            </a:lvl1pPr>
          </a:lstStyle>
          <a:p>
            <a:pPr>
              <a:defRPr/>
            </a:pPr>
            <a:fld id="{7D17E528-4E6F-47D8-B4C0-5015C8A59B9D}" type="datetimeFigureOut">
              <a:rPr lang="nl-NL"/>
              <a:pPr>
                <a:defRPr/>
              </a:pPr>
              <a:t>28-9-2022</a:t>
            </a:fld>
            <a:endParaRPr lang="nl-NL" dirty="0"/>
          </a:p>
        </p:txBody>
      </p:sp>
      <p:sp>
        <p:nvSpPr>
          <p:cNvPr id="5" name="Tijdelijke aanduiding voor voettekst 3">
            <a:extLst>
              <a:ext uri="{FF2B5EF4-FFF2-40B4-BE49-F238E27FC236}">
                <a16:creationId xmlns:a16="http://schemas.microsoft.com/office/drawing/2014/main" id="{6A6E6290-F242-49C9-AE71-5A8DF3214A20}"/>
              </a:ext>
            </a:extLst>
          </p:cNvPr>
          <p:cNvSpPr>
            <a:spLocks noGrp="1"/>
          </p:cNvSpPr>
          <p:nvPr>
            <p:ph type="ftr" sz="quarter" idx="11"/>
          </p:nvPr>
        </p:nvSpPr>
        <p:spPr/>
        <p:txBody>
          <a:bodyPr/>
          <a:lstStyle>
            <a:lvl1pPr>
              <a:defRPr dirty="0">
                <a:solidFill>
                  <a:schemeClr val="bg1"/>
                </a:solidFill>
              </a:defRPr>
            </a:lvl1pPr>
          </a:lstStyle>
          <a:p>
            <a:pPr>
              <a:defRPr/>
            </a:pPr>
            <a:endParaRPr lang="nl-NL"/>
          </a:p>
        </p:txBody>
      </p:sp>
      <p:sp>
        <p:nvSpPr>
          <p:cNvPr id="6" name="Tijdelijke aanduiding voor dianummer 4">
            <a:extLst>
              <a:ext uri="{FF2B5EF4-FFF2-40B4-BE49-F238E27FC236}">
                <a16:creationId xmlns:a16="http://schemas.microsoft.com/office/drawing/2014/main" id="{DB819C4E-5019-4496-88D1-9CC870C411E3}"/>
              </a:ext>
            </a:extLst>
          </p:cNvPr>
          <p:cNvSpPr>
            <a:spLocks noGrp="1"/>
          </p:cNvSpPr>
          <p:nvPr>
            <p:ph type="sldNum" sz="quarter" idx="12"/>
          </p:nvPr>
        </p:nvSpPr>
        <p:spPr/>
        <p:txBody>
          <a:bodyPr/>
          <a:lstStyle>
            <a:lvl1pPr>
              <a:defRPr smtClean="0">
                <a:solidFill>
                  <a:schemeClr val="bg1"/>
                </a:solidFill>
              </a:defRPr>
            </a:lvl1pPr>
          </a:lstStyle>
          <a:p>
            <a:pPr>
              <a:defRPr/>
            </a:pPr>
            <a:fld id="{ECE5C4EC-45E7-4F83-8FA5-5964D8C1A874}" type="slidenum">
              <a:rPr lang="nl-NL"/>
              <a:pPr>
                <a:defRPr/>
              </a:pPr>
              <a:t>‹nr.›</a:t>
            </a:fld>
            <a:endParaRPr lang="nl-NL" dirty="0"/>
          </a:p>
        </p:txBody>
      </p:sp>
    </p:spTree>
    <p:extLst>
      <p:ext uri="{BB962C8B-B14F-4D97-AF65-F5344CB8AC3E}">
        <p14:creationId xmlns:p14="http://schemas.microsoft.com/office/powerpoint/2010/main" val="391038561"/>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grafiek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41" y="517525"/>
            <a:ext cx="11155352" cy="582850"/>
          </a:xfrm>
        </p:spPr>
        <p:txBody>
          <a:bodyPr lIns="0" tIns="0" rIns="0" bIns="0"/>
          <a:lstStyle>
            <a:lvl1pPr>
              <a:defRPr sz="2200"/>
            </a:lvl1pPr>
          </a:lstStyle>
          <a:p>
            <a:r>
              <a:rPr lang="nl-NL"/>
              <a:t>Titel, gebruik volzinnen, zorg dat de boodschap aansluit op de slide, max. 15 woorden, geen punt – </a:t>
            </a:r>
            <a:r>
              <a:rPr lang="nl-NL" err="1"/>
              <a:t>Arial</a:t>
            </a:r>
            <a:r>
              <a:rPr lang="nl-NL"/>
              <a:t>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cxnSp>
        <p:nvCxnSpPr>
          <p:cNvPr id="20" name="Rechte verbindingslijn 21"/>
          <p:cNvCxnSpPr/>
          <p:nvPr userDrawn="1"/>
        </p:nvCxnSpPr>
        <p:spPr>
          <a:xfrm>
            <a:off x="525462" y="1801284"/>
            <a:ext cx="5324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3"/>
          <p:cNvSpPr>
            <a:spLocks noGrp="1"/>
          </p:cNvSpPr>
          <p:nvPr>
            <p:ph type="body" sz="quarter" idx="13" hasCustomPrompt="1"/>
          </p:nvPr>
        </p:nvSpPr>
        <p:spPr>
          <a:xfrm>
            <a:off x="520700" y="1370397"/>
            <a:ext cx="5324475" cy="430887"/>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17160268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fiek en tekstblo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15939" y="517525"/>
            <a:ext cx="7920000" cy="582850"/>
          </a:xfrm>
        </p:spPr>
        <p:txBody>
          <a:bodyPr lIns="0" tIns="0" rIns="0" bIns="0"/>
          <a:lstStyle>
            <a:lvl1pPr>
              <a:defRPr sz="2200"/>
            </a:lvl1pPr>
          </a:lstStyle>
          <a:p>
            <a:r>
              <a:rPr lang="nl-NL"/>
              <a:t>Titel, gebruik volzinnen, zorg dat de boodschap aansluit op de slide, max. 15 woorden, geen punt – Arial 22 Bold</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grpSp>
        <p:nvGrpSpPr>
          <p:cNvPr id="82" name="INSTRUCTIE">
            <a:extLst>
              <a:ext uri="{FF2B5EF4-FFF2-40B4-BE49-F238E27FC236}">
                <a16:creationId xmlns:a16="http://schemas.microsoft.com/office/drawing/2014/main" id="{1C6445C8-0612-4503-86CB-F968B5F784AD}"/>
              </a:ext>
            </a:extLst>
          </p:cNvPr>
          <p:cNvGrpSpPr/>
          <p:nvPr userDrawn="1"/>
        </p:nvGrpSpPr>
        <p:grpSpPr>
          <a:xfrm>
            <a:off x="8469641" y="7033211"/>
            <a:ext cx="3727954" cy="1728407"/>
            <a:chOff x="5846" y="7033211"/>
            <a:chExt cx="3727954" cy="1728407"/>
          </a:xfrm>
        </p:grpSpPr>
        <p:sp>
          <p:nvSpPr>
            <p:cNvPr id="83" name="Rechthoek 82">
              <a:extLst>
                <a:ext uri="{FF2B5EF4-FFF2-40B4-BE49-F238E27FC236}">
                  <a16:creationId xmlns:a16="http://schemas.microsoft.com/office/drawing/2014/main" id="{A31FD392-B32B-4DBC-8603-265723EFCA8C}"/>
                </a:ext>
              </a:extLst>
            </p:cNvPr>
            <p:cNvSpPr/>
            <p:nvPr userDrawn="1"/>
          </p:nvSpPr>
          <p:spPr>
            <a:xfrm>
              <a:off x="5846" y="7033211"/>
              <a:ext cx="3727954" cy="1577390"/>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Voettekst, dia nummer </a:t>
              </a:r>
              <a:br>
                <a:rPr lang="nl-NL" sz="1400" b="1" cap="all" baseline="0" noProof="0">
                  <a:solidFill>
                    <a:schemeClr val="accent1"/>
                  </a:solidFill>
                  <a:latin typeface="Calibri" panose="020F0502020204030204" pitchFamily="34" charset="0"/>
                  <a:cs typeface="Calibri" panose="020F0502020204030204" pitchFamily="34" charset="0"/>
                </a:rPr>
              </a:br>
              <a:r>
                <a:rPr lang="nl-NL" sz="1400" b="1" cap="all" baseline="0" noProof="0">
                  <a:solidFill>
                    <a:schemeClr val="accent1"/>
                  </a:solidFill>
                  <a:latin typeface="Calibri" panose="020F0502020204030204" pitchFamily="34" charset="0"/>
                  <a:cs typeface="Calibri" panose="020F0502020204030204" pitchFamily="34" charset="0"/>
                </a:rPr>
                <a:t>en datum aanpassen</a:t>
              </a:r>
            </a:p>
          </p:txBody>
        </p:sp>
        <p:sp>
          <p:nvSpPr>
            <p:cNvPr id="84" name="Ovaal 83">
              <a:extLst>
                <a:ext uri="{FF2B5EF4-FFF2-40B4-BE49-F238E27FC236}">
                  <a16:creationId xmlns:a16="http://schemas.microsoft.com/office/drawing/2014/main" id="{21037486-524A-4557-9338-0FBA4263B6C8}"/>
                </a:ext>
              </a:extLst>
            </p:cNvPr>
            <p:cNvSpPr/>
            <p:nvPr userDrawn="1"/>
          </p:nvSpPr>
          <p:spPr>
            <a:xfrm>
              <a:off x="188424" y="76785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8EB54E77-3C32-4184-9C2E-D61396E87343}"/>
                </a:ext>
              </a:extLst>
            </p:cNvPr>
            <p:cNvSpPr/>
            <p:nvPr userDrawn="1"/>
          </p:nvSpPr>
          <p:spPr>
            <a:xfrm>
              <a:off x="472596" y="7678534"/>
              <a:ext cx="2467288" cy="31672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dan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op- en voettekst’</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86" name="Ovaal 85">
              <a:extLst>
                <a:ext uri="{FF2B5EF4-FFF2-40B4-BE49-F238E27FC236}">
                  <a16:creationId xmlns:a16="http://schemas.microsoft.com/office/drawing/2014/main" id="{BAC10CF5-3614-4B6E-A3E4-52018E164437}"/>
                </a:ext>
              </a:extLst>
            </p:cNvPr>
            <p:cNvSpPr/>
            <p:nvPr userDrawn="1"/>
          </p:nvSpPr>
          <p:spPr>
            <a:xfrm>
              <a:off x="188424" y="810886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7" name="Rechthoek 86">
              <a:extLst>
                <a:ext uri="{FF2B5EF4-FFF2-40B4-BE49-F238E27FC236}">
                  <a16:creationId xmlns:a16="http://schemas.microsoft.com/office/drawing/2014/main" id="{C632D71A-C55C-4685-8AFC-C7EF4DF020A1}"/>
                </a:ext>
              </a:extLst>
            </p:cNvPr>
            <p:cNvSpPr/>
            <p:nvPr userDrawn="1"/>
          </p:nvSpPr>
          <p:spPr>
            <a:xfrm>
              <a:off x="472596" y="8108869"/>
              <a:ext cx="2322719"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op</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veral toe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om de gegevens op elke slide toe te passen.</a:t>
              </a:r>
            </a:p>
          </p:txBody>
        </p:sp>
        <p:grpSp>
          <p:nvGrpSpPr>
            <p:cNvPr id="88" name="Groep 87">
              <a:extLst>
                <a:ext uri="{FF2B5EF4-FFF2-40B4-BE49-F238E27FC236}">
                  <a16:creationId xmlns:a16="http://schemas.microsoft.com/office/drawing/2014/main" id="{B8FD42C7-1A7F-446B-91F3-422E05208364}"/>
                </a:ext>
              </a:extLst>
            </p:cNvPr>
            <p:cNvGrpSpPr/>
            <p:nvPr userDrawn="1"/>
          </p:nvGrpSpPr>
          <p:grpSpPr>
            <a:xfrm>
              <a:off x="2939884" y="7739834"/>
              <a:ext cx="681133" cy="750023"/>
              <a:chOff x="-910573" y="4987990"/>
              <a:chExt cx="681133" cy="750023"/>
            </a:xfrm>
          </p:grpSpPr>
          <p:grpSp>
            <p:nvGrpSpPr>
              <p:cNvPr id="89" name="Groep 88">
                <a:extLst>
                  <a:ext uri="{FF2B5EF4-FFF2-40B4-BE49-F238E27FC236}">
                    <a16:creationId xmlns:a16="http://schemas.microsoft.com/office/drawing/2014/main" id="{0C12E15E-A807-420D-83A1-6579C29D7B13}"/>
                  </a:ext>
                </a:extLst>
              </p:cNvPr>
              <p:cNvGrpSpPr/>
              <p:nvPr userDrawn="1"/>
            </p:nvGrpSpPr>
            <p:grpSpPr>
              <a:xfrm>
                <a:off x="-713542" y="4987990"/>
                <a:ext cx="287071" cy="379107"/>
                <a:chOff x="-4050578" y="288410"/>
                <a:chExt cx="322125" cy="379107"/>
              </a:xfrm>
            </p:grpSpPr>
            <p:sp>
              <p:nvSpPr>
                <p:cNvPr id="91" name="Rechthoek met één afgeknipte en afgeronde hoek 47">
                  <a:extLst>
                    <a:ext uri="{FF2B5EF4-FFF2-40B4-BE49-F238E27FC236}">
                      <a16:creationId xmlns:a16="http://schemas.microsoft.com/office/drawing/2014/main" id="{93C2D5F4-D2F1-4355-B0A8-E544182B6755}"/>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2" name="Rechthoekige driehoek 91">
                  <a:extLst>
                    <a:ext uri="{FF2B5EF4-FFF2-40B4-BE49-F238E27FC236}">
                      <a16:creationId xmlns:a16="http://schemas.microsoft.com/office/drawing/2014/main" id="{37D8AF32-5653-4975-85C5-9A10326C8C79}"/>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3" name="Rechthoek 92">
                  <a:extLst>
                    <a:ext uri="{FF2B5EF4-FFF2-40B4-BE49-F238E27FC236}">
                      <a16:creationId xmlns:a16="http://schemas.microsoft.com/office/drawing/2014/main" id="{0A06A7C4-1CF5-4FB6-BB11-AF46F8B0F552}"/>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endParaRPr>
                </a:p>
              </p:txBody>
            </p:sp>
            <p:sp>
              <p:nvSpPr>
                <p:cNvPr id="94" name="Rechthoek 93">
                  <a:extLst>
                    <a:ext uri="{FF2B5EF4-FFF2-40B4-BE49-F238E27FC236}">
                      <a16:creationId xmlns:a16="http://schemas.microsoft.com/office/drawing/2014/main" id="{0AA1F487-59C6-4028-92BF-2AECD5D366DF}"/>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900" b="0" i="0" u="none" strike="noStrike" kern="0" cap="none" spc="0" normalizeH="0" baseline="0" noProof="0">
                    <a:ln>
                      <a:noFill/>
                    </a:ln>
                    <a:solidFill>
                      <a:srgbClr val="211F26"/>
                    </a:solidFill>
                    <a:effectLst/>
                    <a:uLnTx/>
                    <a:uFillTx/>
                    <a:latin typeface="Calibri" panose="020F0502020204030204" pitchFamily="34" charset="0"/>
                    <a:cs typeface="Calibri" panose="020F0502020204030204" pitchFamily="34" charset="0"/>
                  </a:endParaRPr>
                </a:p>
              </p:txBody>
            </p:sp>
          </p:grpSp>
          <p:sp>
            <p:nvSpPr>
              <p:cNvPr id="90" name="Rechthoek 89">
                <a:extLst>
                  <a:ext uri="{FF2B5EF4-FFF2-40B4-BE49-F238E27FC236}">
                    <a16:creationId xmlns:a16="http://schemas.microsoft.com/office/drawing/2014/main" id="{459EAD9A-15FD-4599-8BA2-10D1A0637BE2}"/>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211F26"/>
                    </a:solidFill>
                    <a:effectLst/>
                    <a:uLnTx/>
                    <a:uFillTx/>
                    <a:latin typeface="Calibri" panose="020F0502020204030204" pitchFamily="34" charset="0"/>
                    <a:ea typeface="+mn-ea"/>
                    <a:cs typeface="Calibri" panose="020F0502020204030204" pitchFamily="34" charset="0"/>
                  </a:rPr>
                  <a:t>Koptekst en voettekst</a:t>
                </a:r>
              </a:p>
            </p:txBody>
          </p:sp>
        </p:grpSp>
      </p:grpSp>
      <p:sp>
        <p:nvSpPr>
          <p:cNvPr id="18" name="Rechthoek 17">
            <a:extLst>
              <a:ext uri="{FF2B5EF4-FFF2-40B4-BE49-F238E27FC236}">
                <a16:creationId xmlns:a16="http://schemas.microsoft.com/office/drawing/2014/main" id="{C525B69E-5D09-42FF-8F54-0BE3F44BAE8B}"/>
              </a:ext>
            </a:extLst>
          </p:cNvPr>
          <p:cNvSpPr/>
          <p:nvPr userDrawn="1"/>
        </p:nvSpPr>
        <p:spPr>
          <a:xfrm>
            <a:off x="8652219" y="517525"/>
            <a:ext cx="3019074" cy="58314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a:p>
        </p:txBody>
      </p:sp>
      <p:sp>
        <p:nvSpPr>
          <p:cNvPr id="19" name="Tijdelijke aanduiding voor tekst 3">
            <a:extLst>
              <a:ext uri="{FF2B5EF4-FFF2-40B4-BE49-F238E27FC236}">
                <a16:creationId xmlns:a16="http://schemas.microsoft.com/office/drawing/2014/main" id="{06E25283-08E7-4282-86E9-576442C89149}"/>
              </a:ext>
            </a:extLst>
          </p:cNvPr>
          <p:cNvSpPr>
            <a:spLocks noGrp="1"/>
          </p:cNvSpPr>
          <p:nvPr>
            <p:ph type="body" sz="quarter" idx="15" hasCustomPrompt="1"/>
          </p:nvPr>
        </p:nvSpPr>
        <p:spPr>
          <a:xfrm>
            <a:off x="8926848" y="807579"/>
            <a:ext cx="2452215" cy="570455"/>
          </a:xfrm>
        </p:spPr>
        <p:txBody>
          <a:bodyPr/>
          <a:lstStyle>
            <a:lvl1pPr marL="0" indent="0">
              <a:spcAft>
                <a:spcPts val="0"/>
              </a:spcAft>
              <a:buNone/>
              <a:defRPr sz="1800" b="1">
                <a:solidFill>
                  <a:schemeClr val="tx2"/>
                </a:solidFill>
              </a:defRPr>
            </a:lvl1pPr>
          </a:lstStyle>
          <a:p>
            <a:pPr lvl="0"/>
            <a:r>
              <a:rPr lang="nl-NL"/>
              <a:t>Subtitel </a:t>
            </a:r>
            <a:br>
              <a:rPr lang="nl-NL"/>
            </a:br>
            <a:r>
              <a:rPr lang="nl-NL"/>
              <a:t>maximaal 2 regels </a:t>
            </a:r>
          </a:p>
        </p:txBody>
      </p:sp>
      <p:sp>
        <p:nvSpPr>
          <p:cNvPr id="29" name="Tijdelijke aanduiding voor verticale tekst 2">
            <a:extLst>
              <a:ext uri="{FF2B5EF4-FFF2-40B4-BE49-F238E27FC236}">
                <a16:creationId xmlns:a16="http://schemas.microsoft.com/office/drawing/2014/main" id="{9F205ACE-098F-4DFA-A6B0-1D838BF5E101}"/>
              </a:ext>
            </a:extLst>
          </p:cNvPr>
          <p:cNvSpPr>
            <a:spLocks noGrp="1"/>
          </p:cNvSpPr>
          <p:nvPr>
            <p:ph type="body" orient="vert" idx="1" hasCustomPrompt="1"/>
          </p:nvPr>
        </p:nvSpPr>
        <p:spPr>
          <a:xfrm>
            <a:off x="8926849" y="1801284"/>
            <a:ext cx="2452214" cy="4293682"/>
          </a:xfrm>
          <a:noFill/>
        </p:spPr>
        <p:txBody>
          <a:bodyPr vert="horz" lIns="0" tIns="0" rIns="0" bIns="0" anchor="t"/>
          <a:lstStyle>
            <a:lvl1pPr marL="0" indent="0">
              <a:buFontTx/>
              <a:buNone/>
              <a:defRPr sz="1400">
                <a:solidFill>
                  <a:schemeClr val="tx2"/>
                </a:solidFill>
              </a:defRPr>
            </a:lvl1pPr>
            <a:lvl2pPr marL="0" indent="0">
              <a:buFontTx/>
              <a:buNone/>
              <a:defRPr sz="1400"/>
            </a:lvl2pPr>
            <a:lvl3pPr>
              <a:defRPr sz="1400"/>
            </a:lvl3pPr>
            <a:lvl4pPr>
              <a:defRPr sz="1400" b="0" spc="0">
                <a:solidFill>
                  <a:schemeClr val="tx2"/>
                </a:solidFill>
                <a:latin typeface="+mn-lt"/>
              </a:defRPr>
            </a:lvl4pPr>
            <a:lvl5pPr marL="0" indent="0">
              <a:buFontTx/>
              <a:buNone/>
              <a:defRPr sz="1400"/>
            </a:lvl5pPr>
            <a:lvl6pPr marL="0" indent="0">
              <a:buFontTx/>
              <a:buNone/>
              <a:defRPr sz="1400"/>
            </a:lvl6pPr>
            <a:lvl7pPr marL="0" indent="0">
              <a:buFontTx/>
              <a:buNone/>
              <a:defRPr sz="1400"/>
            </a:lvl7pPr>
            <a:lvl8pPr>
              <a:defRPr sz="1400"/>
            </a:lvl8pPr>
            <a:lvl9pPr>
              <a:defRPr sz="1400" b="0"/>
            </a:lvl9pPr>
          </a:lstStyle>
          <a:p>
            <a:pPr lvl="0"/>
            <a:r>
              <a:rPr lang="nl-NL"/>
              <a:t>Plaats hier tekst, Arial 14 pt</a:t>
            </a:r>
          </a:p>
        </p:txBody>
      </p:sp>
      <p:cxnSp>
        <p:nvCxnSpPr>
          <p:cNvPr id="25" name="Rechte verbindingslijn 21"/>
          <p:cNvCxnSpPr/>
          <p:nvPr userDrawn="1"/>
        </p:nvCxnSpPr>
        <p:spPr>
          <a:xfrm>
            <a:off x="525462" y="1801284"/>
            <a:ext cx="794882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 Placeholder 3"/>
          <p:cNvSpPr>
            <a:spLocks noGrp="1"/>
          </p:cNvSpPr>
          <p:nvPr>
            <p:ph type="body" sz="quarter" idx="13" hasCustomPrompt="1"/>
          </p:nvPr>
        </p:nvSpPr>
        <p:spPr>
          <a:xfrm>
            <a:off x="520700" y="1585840"/>
            <a:ext cx="7948941" cy="215444"/>
          </a:xfrm>
          <a:ln>
            <a:noFill/>
          </a:ln>
        </p:spPr>
        <p:txBody>
          <a:bodyPr wrap="square" anchor="b">
            <a:spAutoFit/>
          </a:bodyPr>
          <a:lstStyle>
            <a:lvl1pPr marL="0" indent="0">
              <a:lnSpc>
                <a:spcPct val="100000"/>
              </a:lnSpc>
              <a:spcAft>
                <a:spcPts val="0"/>
              </a:spcAft>
              <a:buNone/>
              <a:defRPr sz="1400" b="1" baseline="0"/>
            </a:lvl1pPr>
          </a:lstStyle>
          <a:p>
            <a:pPr lvl="0"/>
            <a:r>
              <a:rPr lang="nl-NL"/>
              <a:t>Titel grafiek – alleen zakelijk weergeven wat er in de grafiek staat</a:t>
            </a:r>
            <a:endParaRPr lang="en-US"/>
          </a:p>
        </p:txBody>
      </p:sp>
    </p:spTree>
    <p:extLst>
      <p:ext uri="{BB962C8B-B14F-4D97-AF65-F5344CB8AC3E}">
        <p14:creationId xmlns:p14="http://schemas.microsoft.com/office/powerpoint/2010/main" val="24990742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 grote grafiek">
    <p:spTree>
      <p:nvGrpSpPr>
        <p:cNvPr id="1" name=""/>
        <p:cNvGrpSpPr/>
        <p:nvPr/>
      </p:nvGrpSpPr>
      <p:grpSpPr>
        <a:xfrm>
          <a:off x="0" y="0"/>
          <a:ext cx="0" cy="0"/>
          <a:chOff x="0" y="0"/>
          <a:chExt cx="0" cy="0"/>
        </a:xfrm>
      </p:grpSpPr>
      <p:sp>
        <p:nvSpPr>
          <p:cNvPr id="12" name="Tijdelijke aanduiding voor tekst 5"/>
          <p:cNvSpPr>
            <a:spLocks noGrp="1"/>
          </p:cNvSpPr>
          <p:nvPr>
            <p:ph type="body" sz="quarter" idx="23" hasCustomPrompt="1"/>
          </p:nvPr>
        </p:nvSpPr>
        <p:spPr>
          <a:xfrm>
            <a:off x="839788" y="6370737"/>
            <a:ext cx="10512425" cy="153888"/>
          </a:xfrm>
          <a:prstGeom prst="rect">
            <a:avLst/>
          </a:prstGeom>
        </p:spPr>
        <p:txBody>
          <a:bodyPr lIns="0" tIns="0" rIns="0" bIns="0" anchor="b" anchorCtr="0">
            <a:spAutoFit/>
          </a:bodyPr>
          <a:lstStyle>
            <a:lvl1pPr>
              <a:defRPr sz="1000" baseline="0"/>
            </a:lvl1pPr>
          </a:lstStyle>
          <a:p>
            <a:pPr lvl="0"/>
            <a:r>
              <a:rPr lang="nl-NL"/>
              <a:t>Voetnoot en bron – </a:t>
            </a:r>
            <a:r>
              <a:rPr lang="nl-NL" err="1"/>
              <a:t>Arial</a:t>
            </a:r>
            <a:r>
              <a:rPr lang="nl-NL"/>
              <a:t> 10</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32804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cxnSp>
        <p:nvCxnSpPr>
          <p:cNvPr id="10" name="Straight Connector 9"/>
          <p:cNvCxnSpPr/>
          <p:nvPr userDrawn="1"/>
        </p:nvCxnSpPr>
        <p:spPr>
          <a:xfrm>
            <a:off x="839788" y="2204863"/>
            <a:ext cx="10512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ijdelijke aanduiding voor dianummer 5"/>
          <p:cNvSpPr txBox="1">
            <a:spLocks/>
          </p:cNvSpPr>
          <p:nvPr userDrawn="1"/>
        </p:nvSpPr>
        <p:spPr>
          <a:xfrm>
            <a:off x="11554801" y="6202342"/>
            <a:ext cx="637200" cy="655658"/>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vert="horz" lIns="91440" tIns="180000" rIns="137159" bIns="0" rtlCol="0" anchor="ctr"/>
          <a:lstStyle>
            <a:defPPr>
              <a:defRPr lang="nl-NL"/>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55DED4-5E6E-4DAC-80A0-4F2528075632}" type="slidenum">
              <a:rPr lang="nl-NL" sz="1201" smtClean="0">
                <a:solidFill>
                  <a:srgbClr val="FFFFFF"/>
                </a:solidFill>
                <a:cs typeface="Arial"/>
                <a:sym typeface="Arial"/>
              </a:rPr>
              <a:pPr/>
              <a:t>‹nr.›</a:t>
            </a:fld>
            <a:endParaRPr lang="nl-NL" sz="1201">
              <a:solidFill>
                <a:srgbClr val="FFFFFF"/>
              </a:solidFill>
              <a:cs typeface="Arial"/>
              <a:sym typeface="Arial"/>
            </a:endParaRPr>
          </a:p>
        </p:txBody>
      </p:sp>
      <p:sp>
        <p:nvSpPr>
          <p:cNvPr id="8" name="Tijdelijke aanduiding voor tekst 3"/>
          <p:cNvSpPr>
            <a:spLocks noGrp="1"/>
          </p:cNvSpPr>
          <p:nvPr>
            <p:ph type="body" sz="quarter" idx="22" hasCustomPrompt="1"/>
          </p:nvPr>
        </p:nvSpPr>
        <p:spPr>
          <a:xfrm>
            <a:off x="839788" y="692696"/>
            <a:ext cx="10512425" cy="677108"/>
          </a:xfrm>
          <a:prstGeom prst="rect">
            <a:avLst/>
          </a:prstGeom>
        </p:spPr>
        <p:txBody>
          <a:bodyPr lIns="0" tIns="0" rIns="0" bIns="0">
            <a:spAutoFit/>
          </a:bodyPr>
          <a:lstStyle>
            <a:lvl1pPr>
              <a:defRPr sz="2200" b="1"/>
            </a:lvl1pPr>
            <a:lvl5pPr marL="363536" indent="0">
              <a:buNone/>
              <a:defRPr sz="2200" b="1" baseline="0"/>
            </a:lvl5pPr>
          </a:lstStyle>
          <a:p>
            <a:pPr lvl="0"/>
            <a:r>
              <a:rPr lang="nl-NL"/>
              <a:t>Titel – gebruik volzinnen, zorg dat de boodschap aansluit op de slide, max 15 woorden, geen punt – </a:t>
            </a:r>
            <a:r>
              <a:rPr lang="nl-NL" err="1"/>
              <a:t>Arial</a:t>
            </a:r>
            <a:r>
              <a:rPr lang="nl-NL"/>
              <a:t> 22 </a:t>
            </a:r>
            <a:r>
              <a:rPr lang="nl-NL" err="1"/>
              <a:t>Bold</a:t>
            </a:r>
            <a:endParaRPr lang="nl-NL"/>
          </a:p>
        </p:txBody>
      </p:sp>
      <p:sp>
        <p:nvSpPr>
          <p:cNvPr id="5" name="Tijdelijke aanduiding voor tekst 4"/>
          <p:cNvSpPr>
            <a:spLocks noGrp="1"/>
          </p:cNvSpPr>
          <p:nvPr>
            <p:ph type="body" sz="quarter" idx="24" hasCustomPrompt="1"/>
          </p:nvPr>
        </p:nvSpPr>
        <p:spPr>
          <a:xfrm>
            <a:off x="839788" y="1681644"/>
            <a:ext cx="10510837" cy="523220"/>
          </a:xfrm>
          <a:prstGeom prst="rect">
            <a:avLst/>
          </a:prstGeom>
        </p:spPr>
        <p:txBody>
          <a:bodyPr wrap="square" lIns="0" tIns="46800" rIns="0" bIns="46800" anchor="b">
            <a:spAutoFit/>
          </a:bodyPr>
          <a:lstStyle>
            <a:lvl1pPr>
              <a:defRPr lang="nl-NL" sz="1400" b="1" baseline="0" dirty="0" smtClean="0"/>
            </a:lvl1pPr>
          </a:lstStyle>
          <a:p>
            <a:pPr lvl="0">
              <a:spcBef>
                <a:spcPts val="0"/>
              </a:spcBef>
            </a:pPr>
            <a:r>
              <a:rPr lang="nl-NL"/>
              <a:t>Titel grafiek – alleen zakelijk weergeven wat er in de grafiek staat </a:t>
            </a:r>
          </a:p>
          <a:p>
            <a:pPr lvl="0">
              <a:spcBef>
                <a:spcPts val="0"/>
              </a:spcBef>
            </a:pPr>
            <a:r>
              <a:rPr lang="en-US"/>
              <a:t>[</a:t>
            </a:r>
            <a:r>
              <a:rPr lang="en-US" err="1"/>
              <a:t>eenheid</a:t>
            </a:r>
            <a:r>
              <a:rPr lang="en-US"/>
              <a:t>, </a:t>
            </a:r>
            <a:r>
              <a:rPr lang="en-US" err="1"/>
              <a:t>jaar</a:t>
            </a:r>
            <a:r>
              <a:rPr lang="en-US"/>
              <a:t>] – </a:t>
            </a:r>
            <a:r>
              <a:rPr lang="nl-NL" err="1"/>
              <a:t>Arial</a:t>
            </a:r>
            <a:r>
              <a:rPr lang="nl-NL"/>
              <a:t> 14</a:t>
            </a:r>
          </a:p>
        </p:txBody>
      </p:sp>
    </p:spTree>
    <p:extLst>
      <p:ext uri="{BB962C8B-B14F-4D97-AF65-F5344CB8AC3E}">
        <p14:creationId xmlns:p14="http://schemas.microsoft.com/office/powerpoint/2010/main" val="240711338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Intro slide #1">
    <p:spTree>
      <p:nvGrpSpPr>
        <p:cNvPr id="1" name=""/>
        <p:cNvGrpSpPr/>
        <p:nvPr/>
      </p:nvGrpSpPr>
      <p:grpSpPr>
        <a:xfrm>
          <a:off x="0" y="0"/>
          <a:ext cx="0" cy="0"/>
          <a:chOff x="0" y="0"/>
          <a:chExt cx="0" cy="0"/>
        </a:xfrm>
      </p:grpSpPr>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17488" y="217488"/>
            <a:ext cx="11755437" cy="5345835"/>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bg2">
                    <a:lumMod val="60000"/>
                    <a:lumOff val="4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514800" y="512385"/>
            <a:ext cx="2217600" cy="702000"/>
          </a:xfrm>
          <a:blipFill>
            <a:blip r:embed="rId2"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5713"/>
            <a:ext cx="8528773" cy="180000"/>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82" name="Groep 81">
            <a:extLst>
              <a:ext uri="{FF2B5EF4-FFF2-40B4-BE49-F238E27FC236}">
                <a16:creationId xmlns:a16="http://schemas.microsoft.com/office/drawing/2014/main" id="{F77BB341-8CB7-498F-90CA-21EBB7F6A3B6}"/>
              </a:ext>
            </a:extLst>
          </p:cNvPr>
          <p:cNvGrpSpPr/>
          <p:nvPr userDrawn="1"/>
        </p:nvGrpSpPr>
        <p:grpSpPr>
          <a:xfrm>
            <a:off x="12377867" y="0"/>
            <a:ext cx="3593091" cy="6025208"/>
            <a:chOff x="12377867" y="0"/>
            <a:chExt cx="3593091" cy="6025208"/>
          </a:xfrm>
        </p:grpSpPr>
        <p:sp>
          <p:nvSpPr>
            <p:cNvPr id="83" name="Rechthoek 82">
              <a:extLst>
                <a:ext uri="{FF2B5EF4-FFF2-40B4-BE49-F238E27FC236}">
                  <a16:creationId xmlns:a16="http://schemas.microsoft.com/office/drawing/2014/main" id="{0C39F3A0-1103-44BD-8D1C-2F6BD0A84FC4}"/>
                </a:ext>
              </a:extLst>
            </p:cNvPr>
            <p:cNvSpPr/>
            <p:nvPr userDrawn="1"/>
          </p:nvSpPr>
          <p:spPr>
            <a:xfrm>
              <a:off x="12377867" y="0"/>
              <a:ext cx="3593091" cy="6025208"/>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Afbeelding invoegen/opmaken</a:t>
              </a:r>
            </a:p>
          </p:txBody>
        </p:sp>
        <p:sp>
          <p:nvSpPr>
            <p:cNvPr id="84" name="Ovaal 83">
              <a:extLst>
                <a:ext uri="{FF2B5EF4-FFF2-40B4-BE49-F238E27FC236}">
                  <a16:creationId xmlns:a16="http://schemas.microsoft.com/office/drawing/2014/main" id="{0A36397C-3A9A-4CD8-8E43-719B50F3664E}"/>
                </a:ext>
              </a:extLst>
            </p:cNvPr>
            <p:cNvSpPr/>
            <p:nvPr userDrawn="1"/>
          </p:nvSpPr>
          <p:spPr>
            <a:xfrm>
              <a:off x="12560445"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4970BD00-7615-4430-BC64-F3535001EB8E}"/>
                </a:ext>
              </a:extLst>
            </p:cNvPr>
            <p:cNvSpPr/>
            <p:nvPr userDrawn="1"/>
          </p:nvSpPr>
          <p:spPr>
            <a:xfrm>
              <a:off x="12844617"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6" name="Groep 85">
              <a:extLst>
                <a:ext uri="{FF2B5EF4-FFF2-40B4-BE49-F238E27FC236}">
                  <a16:creationId xmlns:a16="http://schemas.microsoft.com/office/drawing/2014/main" id="{F723C82B-73B8-49C6-A124-E9FE2F212CBD}"/>
                </a:ext>
              </a:extLst>
            </p:cNvPr>
            <p:cNvGrpSpPr/>
            <p:nvPr userDrawn="1"/>
          </p:nvGrpSpPr>
          <p:grpSpPr>
            <a:xfrm>
              <a:off x="12847853" y="1231351"/>
              <a:ext cx="294789" cy="318834"/>
              <a:chOff x="14466489" y="1001522"/>
              <a:chExt cx="290627" cy="314333"/>
            </a:xfrm>
          </p:grpSpPr>
          <p:sp>
            <p:nvSpPr>
              <p:cNvPr id="199" name="Rechthoek 198">
                <a:extLst>
                  <a:ext uri="{FF2B5EF4-FFF2-40B4-BE49-F238E27FC236}">
                    <a16:creationId xmlns:a16="http://schemas.microsoft.com/office/drawing/2014/main" id="{38527B74-12B9-455A-96C0-B41F7C12CF85}"/>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200" name="Ovaal 199">
                <a:extLst>
                  <a:ext uri="{FF2B5EF4-FFF2-40B4-BE49-F238E27FC236}">
                    <a16:creationId xmlns:a16="http://schemas.microsoft.com/office/drawing/2014/main" id="{A821F8A7-F63C-42C6-83B2-B077F3F3857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1" name="Vrije vorm: vorm 200">
                <a:extLst>
                  <a:ext uri="{FF2B5EF4-FFF2-40B4-BE49-F238E27FC236}">
                    <a16:creationId xmlns:a16="http://schemas.microsoft.com/office/drawing/2014/main" id="{DCF7CAF6-36DE-4355-97CE-B4B388704479}"/>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202" name="Rechthoek: afgeronde hoeken 201">
                <a:extLst>
                  <a:ext uri="{FF2B5EF4-FFF2-40B4-BE49-F238E27FC236}">
                    <a16:creationId xmlns:a16="http://schemas.microsoft.com/office/drawing/2014/main" id="{F278AA97-438B-43CC-8268-397DE6DD9554}"/>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3" name="Rechte verbindingslijn 202">
                <a:extLst>
                  <a:ext uri="{FF2B5EF4-FFF2-40B4-BE49-F238E27FC236}">
                    <a16:creationId xmlns:a16="http://schemas.microsoft.com/office/drawing/2014/main" id="{EDF89C32-0447-4011-AF1F-6022E989CE6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4" name="Rechte verbindingslijn 203">
                <a:extLst>
                  <a:ext uri="{FF2B5EF4-FFF2-40B4-BE49-F238E27FC236}">
                    <a16:creationId xmlns:a16="http://schemas.microsoft.com/office/drawing/2014/main" id="{4FE9392B-CF49-44D9-9708-A7898B1AC38A}"/>
                  </a:ext>
                </a:extLst>
              </p:cNvPr>
              <p:cNvCxnSpPr>
                <a:cxnSpLocks/>
                <a:stCxn id="202"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7" name="Ovaal 86">
              <a:extLst>
                <a:ext uri="{FF2B5EF4-FFF2-40B4-BE49-F238E27FC236}">
                  <a16:creationId xmlns:a16="http://schemas.microsoft.com/office/drawing/2014/main" id="{E9039D2E-0D9A-49BC-809F-B52A4F698D6D}"/>
                </a:ext>
              </a:extLst>
            </p:cNvPr>
            <p:cNvSpPr/>
            <p:nvPr userDrawn="1"/>
          </p:nvSpPr>
          <p:spPr>
            <a:xfrm>
              <a:off x="12560445"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8" name="Rechthoek 87">
              <a:extLst>
                <a:ext uri="{FF2B5EF4-FFF2-40B4-BE49-F238E27FC236}">
                  <a16:creationId xmlns:a16="http://schemas.microsoft.com/office/drawing/2014/main" id="{D54BAFD2-7FF0-41E8-8F13-503C81D9A442}"/>
                </a:ext>
              </a:extLst>
            </p:cNvPr>
            <p:cNvSpPr/>
            <p:nvPr userDrawn="1"/>
          </p:nvSpPr>
          <p:spPr>
            <a:xfrm>
              <a:off x="12844617"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3D49E850-8C51-4BDE-9018-DA26F97E73E3}"/>
                </a:ext>
              </a:extLst>
            </p:cNvPr>
            <p:cNvGrpSpPr/>
            <p:nvPr userDrawn="1"/>
          </p:nvGrpSpPr>
          <p:grpSpPr>
            <a:xfrm>
              <a:off x="12852713" y="2164285"/>
              <a:ext cx="825500" cy="209550"/>
              <a:chOff x="13504624" y="2482850"/>
              <a:chExt cx="825500" cy="209550"/>
            </a:xfrm>
          </p:grpSpPr>
          <p:sp>
            <p:nvSpPr>
              <p:cNvPr id="196" name="Rechthoek 195">
                <a:extLst>
                  <a:ext uri="{FF2B5EF4-FFF2-40B4-BE49-F238E27FC236}">
                    <a16:creationId xmlns:a16="http://schemas.microsoft.com/office/drawing/2014/main" id="{815AD41B-489E-4A04-8239-B3B01237BAC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97" name="Rechte verbindingslijn 196">
                <a:extLst>
                  <a:ext uri="{FF2B5EF4-FFF2-40B4-BE49-F238E27FC236}">
                    <a16:creationId xmlns:a16="http://schemas.microsoft.com/office/drawing/2014/main" id="{7DA9E068-72D5-4420-B2E3-DE22B471F89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98" name="Gelijkbenige driehoek 197">
                <a:extLst>
                  <a:ext uri="{FF2B5EF4-FFF2-40B4-BE49-F238E27FC236}">
                    <a16:creationId xmlns:a16="http://schemas.microsoft.com/office/drawing/2014/main" id="{B4B0CCB9-81DF-423C-939C-42A9B8D342B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2FAC3966-2B7B-4796-B5A8-01CAC830F89A}"/>
                </a:ext>
              </a:extLst>
            </p:cNvPr>
            <p:cNvSpPr/>
            <p:nvPr userDrawn="1"/>
          </p:nvSpPr>
          <p:spPr>
            <a:xfrm>
              <a:off x="12560445"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C80C8290-E1A7-43CA-854A-B50794B7A5E5}"/>
                </a:ext>
              </a:extLst>
            </p:cNvPr>
            <p:cNvSpPr/>
            <p:nvPr userDrawn="1"/>
          </p:nvSpPr>
          <p:spPr>
            <a:xfrm>
              <a:off x="128446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lik met de rechter muisknop op de miniatuurweergave van de dia aan de linkerkant van het scherm en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ia herstell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B99F9676-E57E-4781-805C-75BDC1665463}"/>
                </a:ext>
              </a:extLst>
            </p:cNvPr>
            <p:cNvSpPr/>
            <p:nvPr userDrawn="1"/>
          </p:nvSpPr>
          <p:spPr>
            <a:xfrm>
              <a:off x="12560445"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7491B23B-47D6-4CF9-AB3F-A85D40BE7594}"/>
                </a:ext>
              </a:extLst>
            </p:cNvPr>
            <p:cNvSpPr/>
            <p:nvPr userDrawn="1"/>
          </p:nvSpPr>
          <p:spPr>
            <a:xfrm>
              <a:off x="12844617" y="4145790"/>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22220D4B-9810-4AC7-851A-71D5B2D4872F}"/>
                </a:ext>
              </a:extLst>
            </p:cNvPr>
            <p:cNvGrpSpPr/>
            <p:nvPr userDrawn="1"/>
          </p:nvGrpSpPr>
          <p:grpSpPr>
            <a:xfrm>
              <a:off x="12755738" y="5236167"/>
              <a:ext cx="622283" cy="612919"/>
              <a:chOff x="12617641" y="3403239"/>
              <a:chExt cx="752963" cy="741634"/>
            </a:xfrm>
          </p:grpSpPr>
          <p:grpSp>
            <p:nvGrpSpPr>
              <p:cNvPr id="119" name="Groep 118">
                <a:extLst>
                  <a:ext uri="{FF2B5EF4-FFF2-40B4-BE49-F238E27FC236}">
                    <a16:creationId xmlns:a16="http://schemas.microsoft.com/office/drawing/2014/main" id="{4F30173D-4423-4675-BA75-5ABDBAB71D4D}"/>
                  </a:ext>
                </a:extLst>
              </p:cNvPr>
              <p:cNvGrpSpPr/>
              <p:nvPr userDrawn="1"/>
            </p:nvGrpSpPr>
            <p:grpSpPr>
              <a:xfrm>
                <a:off x="12771550" y="3403239"/>
                <a:ext cx="467156" cy="448491"/>
                <a:chOff x="12782177" y="3403239"/>
                <a:chExt cx="467156" cy="448491"/>
              </a:xfrm>
            </p:grpSpPr>
            <p:grpSp>
              <p:nvGrpSpPr>
                <p:cNvPr id="122" name="Groep 121">
                  <a:extLst>
                    <a:ext uri="{FF2B5EF4-FFF2-40B4-BE49-F238E27FC236}">
                      <a16:creationId xmlns:a16="http://schemas.microsoft.com/office/drawing/2014/main" id="{CAD7154A-2A16-403B-B94F-5B0E522CD885}"/>
                    </a:ext>
                  </a:extLst>
                </p:cNvPr>
                <p:cNvGrpSpPr/>
                <p:nvPr userDrawn="1"/>
              </p:nvGrpSpPr>
              <p:grpSpPr>
                <a:xfrm>
                  <a:off x="12782177" y="3403239"/>
                  <a:ext cx="412972" cy="396132"/>
                  <a:chOff x="13554906" y="3320109"/>
                  <a:chExt cx="443912" cy="425811"/>
                </a:xfrm>
              </p:grpSpPr>
              <p:grpSp>
                <p:nvGrpSpPr>
                  <p:cNvPr id="190" name="Groep 189">
                    <a:extLst>
                      <a:ext uri="{FF2B5EF4-FFF2-40B4-BE49-F238E27FC236}">
                        <a16:creationId xmlns:a16="http://schemas.microsoft.com/office/drawing/2014/main" id="{78543CDB-BE00-470C-A61A-A4D31B27BBC1}"/>
                      </a:ext>
                    </a:extLst>
                  </p:cNvPr>
                  <p:cNvGrpSpPr/>
                  <p:nvPr userDrawn="1"/>
                </p:nvGrpSpPr>
                <p:grpSpPr>
                  <a:xfrm>
                    <a:off x="13554906" y="3320109"/>
                    <a:ext cx="443912" cy="425811"/>
                    <a:chOff x="12909684" y="1276143"/>
                    <a:chExt cx="443912" cy="425811"/>
                  </a:xfrm>
                </p:grpSpPr>
                <p:sp>
                  <p:nvSpPr>
                    <p:cNvPr id="193" name="Rechthoek 192">
                      <a:extLst>
                        <a:ext uri="{FF2B5EF4-FFF2-40B4-BE49-F238E27FC236}">
                          <a16:creationId xmlns:a16="http://schemas.microsoft.com/office/drawing/2014/main" id="{95EE74B7-1C57-441A-83BA-30F4EB472CC9}"/>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4" name="Rechthoek 193">
                      <a:extLst>
                        <a:ext uri="{FF2B5EF4-FFF2-40B4-BE49-F238E27FC236}">
                          <a16:creationId xmlns:a16="http://schemas.microsoft.com/office/drawing/2014/main" id="{2C51D6AD-9BE9-4A20-8606-02ECCF19CD0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95" name="Ovaal 194">
                      <a:extLst>
                        <a:ext uri="{FF2B5EF4-FFF2-40B4-BE49-F238E27FC236}">
                          <a16:creationId xmlns:a16="http://schemas.microsoft.com/office/drawing/2014/main" id="{B887E4EC-31B2-4AA9-857A-3FE89992A68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91" name="Afbeelding 190">
                    <a:extLst>
                      <a:ext uri="{FF2B5EF4-FFF2-40B4-BE49-F238E27FC236}">
                        <a16:creationId xmlns:a16="http://schemas.microsoft.com/office/drawing/2014/main" id="{528F06FB-86B0-4869-ACA9-34EDF753FB4F}"/>
                      </a:ext>
                    </a:extLst>
                  </p:cNvPr>
                  <p:cNvPicPr>
                    <a:picLocks noChangeAspect="1"/>
                  </p:cNvPicPr>
                  <p:nvPr userDrawn="1"/>
                </p:nvPicPr>
                <p:blipFill>
                  <a:blip r:embed="rId3" cstate="email">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2"/>
                    <a:ext cx="173367" cy="140220"/>
                  </a:xfrm>
                  <a:prstGeom prst="rect">
                    <a:avLst/>
                  </a:prstGeom>
                </p:spPr>
              </p:pic>
              <p:pic>
                <p:nvPicPr>
                  <p:cNvPr id="192" name="Afbeelding 191">
                    <a:extLst>
                      <a:ext uri="{FF2B5EF4-FFF2-40B4-BE49-F238E27FC236}">
                        <a16:creationId xmlns:a16="http://schemas.microsoft.com/office/drawing/2014/main" id="{450FF46D-C8CC-4D55-AF05-399D009B1B3F}"/>
                      </a:ext>
                    </a:extLst>
                  </p:cNvPr>
                  <p:cNvPicPr>
                    <a:picLocks noChangeAspect="1"/>
                  </p:cNvPicPr>
                  <p:nvPr userDrawn="1"/>
                </p:nvPicPr>
                <p:blipFill>
                  <a:blip r:embed="rId5" cstate="email">
                    <a:duotone>
                      <a:prstClr val="black"/>
                      <a:srgbClr val="4D82B8">
                        <a:tint val="45000"/>
                        <a:satMod val="400000"/>
                      </a:srgb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9" y="3453788"/>
                    <a:ext cx="173367" cy="111424"/>
                  </a:xfrm>
                  <a:prstGeom prst="rect">
                    <a:avLst/>
                  </a:prstGeom>
                </p:spPr>
              </p:pic>
            </p:grpSp>
            <p:grpSp>
              <p:nvGrpSpPr>
                <p:cNvPr id="123" name="Groep 122">
                  <a:extLst>
                    <a:ext uri="{FF2B5EF4-FFF2-40B4-BE49-F238E27FC236}">
                      <a16:creationId xmlns:a16="http://schemas.microsoft.com/office/drawing/2014/main" id="{95C1F23E-9F3F-4A7B-B69A-4D58157C3944}"/>
                    </a:ext>
                  </a:extLst>
                </p:cNvPr>
                <p:cNvGrpSpPr/>
                <p:nvPr userDrawn="1"/>
              </p:nvGrpSpPr>
              <p:grpSpPr>
                <a:xfrm>
                  <a:off x="13103513" y="3705268"/>
                  <a:ext cx="145820" cy="146462"/>
                  <a:chOff x="13096169" y="3602278"/>
                  <a:chExt cx="145820" cy="146462"/>
                </a:xfrm>
              </p:grpSpPr>
              <p:sp>
                <p:nvSpPr>
                  <p:cNvPr id="188" name="Rechthoek 187">
                    <a:extLst>
                      <a:ext uri="{FF2B5EF4-FFF2-40B4-BE49-F238E27FC236}">
                        <a16:creationId xmlns:a16="http://schemas.microsoft.com/office/drawing/2014/main" id="{A21ECE89-A7F6-4576-832F-A1C28E85C9A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9" name="Rechthoek 188">
                    <a:extLst>
                      <a:ext uri="{FF2B5EF4-FFF2-40B4-BE49-F238E27FC236}">
                        <a16:creationId xmlns:a16="http://schemas.microsoft.com/office/drawing/2014/main" id="{EDB29BDE-A647-4C61-8F04-663D576C06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24" name="Groep 123">
                  <a:extLst>
                    <a:ext uri="{FF2B5EF4-FFF2-40B4-BE49-F238E27FC236}">
                      <a16:creationId xmlns:a16="http://schemas.microsoft.com/office/drawing/2014/main" id="{5D89AB07-39D0-49DF-A340-F29C4C22A269}"/>
                    </a:ext>
                  </a:extLst>
                </p:cNvPr>
                <p:cNvGrpSpPr/>
                <p:nvPr userDrawn="1"/>
              </p:nvGrpSpPr>
              <p:grpSpPr>
                <a:xfrm rot="10800000">
                  <a:off x="13061402" y="3665637"/>
                  <a:ext cx="145820" cy="146462"/>
                  <a:chOff x="13096169" y="3602278"/>
                  <a:chExt cx="145820" cy="146462"/>
                </a:xfrm>
              </p:grpSpPr>
              <p:sp>
                <p:nvSpPr>
                  <p:cNvPr id="186" name="Rechthoek 185">
                    <a:extLst>
                      <a:ext uri="{FF2B5EF4-FFF2-40B4-BE49-F238E27FC236}">
                        <a16:creationId xmlns:a16="http://schemas.microsoft.com/office/drawing/2014/main" id="{8D4900F6-F5C4-44E3-9899-1B2893380E0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71C60356-CA4E-4998-B2DD-187C683F711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20" name="Rechthoek 119">
                <a:extLst>
                  <a:ext uri="{FF2B5EF4-FFF2-40B4-BE49-F238E27FC236}">
                    <a16:creationId xmlns:a16="http://schemas.microsoft.com/office/drawing/2014/main" id="{EDE96F9C-6F75-435A-BFCB-690EF1229ED6}"/>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21" name="Gelijkbenige driehoek 120">
                <a:extLst>
                  <a:ext uri="{FF2B5EF4-FFF2-40B4-BE49-F238E27FC236}">
                    <a16:creationId xmlns:a16="http://schemas.microsoft.com/office/drawing/2014/main" id="{1C4A7324-29CA-41ED-8FD5-FE7F1DB92DA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96" name="Rechthoek 95">
              <a:extLst>
                <a:ext uri="{FF2B5EF4-FFF2-40B4-BE49-F238E27FC236}">
                  <a16:creationId xmlns:a16="http://schemas.microsoft.com/office/drawing/2014/main" id="{C153DF37-FB00-4F1E-8A70-78C97DC32C7F}"/>
                </a:ext>
              </a:extLst>
            </p:cNvPr>
            <p:cNvSpPr/>
            <p:nvPr userDrawn="1"/>
          </p:nvSpPr>
          <p:spPr>
            <a:xfrm>
              <a:off x="1284719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rgbClr val="211F26"/>
                </a:solidFill>
                <a:latin typeface="Calibri" panose="020F0502020204030204" pitchFamily="34" charset="0"/>
                <a:cs typeface="Calibri" panose="020F0502020204030204" pitchFamily="34" charset="0"/>
              </a:endParaRPr>
            </a:p>
          </p:txBody>
        </p:sp>
        <p:grpSp>
          <p:nvGrpSpPr>
            <p:cNvPr id="97" name="Groep 96">
              <a:extLst>
                <a:ext uri="{FF2B5EF4-FFF2-40B4-BE49-F238E27FC236}">
                  <a16:creationId xmlns:a16="http://schemas.microsoft.com/office/drawing/2014/main" id="{8841E94A-83E4-4D54-B7C8-2A656C2C42AF}"/>
                </a:ext>
              </a:extLst>
            </p:cNvPr>
            <p:cNvGrpSpPr/>
            <p:nvPr userDrawn="1"/>
          </p:nvGrpSpPr>
          <p:grpSpPr>
            <a:xfrm>
              <a:off x="13678213" y="3399207"/>
              <a:ext cx="1222990" cy="563933"/>
              <a:chOff x="-2485819" y="3399207"/>
              <a:chExt cx="1222990" cy="563933"/>
            </a:xfrm>
          </p:grpSpPr>
          <p:sp>
            <p:nvSpPr>
              <p:cNvPr id="98" name="Rechthoek 97">
                <a:extLst>
                  <a:ext uri="{FF2B5EF4-FFF2-40B4-BE49-F238E27FC236}">
                    <a16:creationId xmlns:a16="http://schemas.microsoft.com/office/drawing/2014/main" id="{13264E39-AD45-41FF-A5D2-AC4A62CA318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F5AB91B8-3BEA-4B26-8DF3-26AF6840049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nvGrpSpPr>
              <p:cNvPr id="100" name="Groep 99">
                <a:extLst>
                  <a:ext uri="{FF2B5EF4-FFF2-40B4-BE49-F238E27FC236}">
                    <a16:creationId xmlns:a16="http://schemas.microsoft.com/office/drawing/2014/main" id="{6E7E58DE-69C4-4541-ACA0-E4519BFD7DFF}"/>
                  </a:ext>
                </a:extLst>
              </p:cNvPr>
              <p:cNvGrpSpPr/>
              <p:nvPr userDrawn="1"/>
            </p:nvGrpSpPr>
            <p:grpSpPr>
              <a:xfrm>
                <a:off x="-2403869" y="3460544"/>
                <a:ext cx="155951" cy="131922"/>
                <a:chOff x="12968836" y="3354170"/>
                <a:chExt cx="404806" cy="342433"/>
              </a:xfrm>
            </p:grpSpPr>
            <p:sp>
              <p:nvSpPr>
                <p:cNvPr id="113" name="Rechthoek: afgeronde hoeken 112">
                  <a:extLst>
                    <a:ext uri="{FF2B5EF4-FFF2-40B4-BE49-F238E27FC236}">
                      <a16:creationId xmlns:a16="http://schemas.microsoft.com/office/drawing/2014/main" id="{95010D82-1939-40C5-86DB-F4390008F9E0}"/>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159A9ACA-BA89-435D-8939-69DDC3EE714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5" name="Rechthoek 114">
                  <a:extLst>
                    <a:ext uri="{FF2B5EF4-FFF2-40B4-BE49-F238E27FC236}">
                      <a16:creationId xmlns:a16="http://schemas.microsoft.com/office/drawing/2014/main" id="{F7C93D79-561D-4F31-A8FC-24C9C032041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6" name="Rechthoek 115">
                  <a:extLst>
                    <a:ext uri="{FF2B5EF4-FFF2-40B4-BE49-F238E27FC236}">
                      <a16:creationId xmlns:a16="http://schemas.microsoft.com/office/drawing/2014/main" id="{A89D64BB-71C9-4994-BFF7-483836364F0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7" name="Rechthoek 116">
                  <a:extLst>
                    <a:ext uri="{FF2B5EF4-FFF2-40B4-BE49-F238E27FC236}">
                      <a16:creationId xmlns:a16="http://schemas.microsoft.com/office/drawing/2014/main" id="{45E405CE-34FC-4136-AC11-599F588CCF7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23A1BC37-A38D-4EF9-B43F-85C76267AD5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01" name="Groep 100">
                <a:extLst>
                  <a:ext uri="{FF2B5EF4-FFF2-40B4-BE49-F238E27FC236}">
                    <a16:creationId xmlns:a16="http://schemas.microsoft.com/office/drawing/2014/main" id="{8BC9A76D-615F-437C-9981-1C38AAC4756D}"/>
                  </a:ext>
                </a:extLst>
              </p:cNvPr>
              <p:cNvGrpSpPr/>
              <p:nvPr userDrawn="1"/>
            </p:nvGrpSpPr>
            <p:grpSpPr>
              <a:xfrm>
                <a:off x="-2423424" y="3690208"/>
                <a:ext cx="166739" cy="218963"/>
                <a:chOff x="12940828" y="3950597"/>
                <a:chExt cx="432813" cy="568367"/>
              </a:xfrm>
            </p:grpSpPr>
            <p:grpSp>
              <p:nvGrpSpPr>
                <p:cNvPr id="105" name="Groep 104">
                  <a:extLst>
                    <a:ext uri="{FF2B5EF4-FFF2-40B4-BE49-F238E27FC236}">
                      <a16:creationId xmlns:a16="http://schemas.microsoft.com/office/drawing/2014/main" id="{D2179DE5-95EC-48E7-8D42-66E64606CF01}"/>
                    </a:ext>
                  </a:extLst>
                </p:cNvPr>
                <p:cNvGrpSpPr/>
                <p:nvPr userDrawn="1"/>
              </p:nvGrpSpPr>
              <p:grpSpPr>
                <a:xfrm>
                  <a:off x="13000382" y="4006891"/>
                  <a:ext cx="373259" cy="315747"/>
                  <a:chOff x="12968836" y="3354170"/>
                  <a:chExt cx="404806" cy="342433"/>
                </a:xfrm>
              </p:grpSpPr>
              <p:sp>
                <p:nvSpPr>
                  <p:cNvPr id="107" name="Rechthoek: afgeronde hoeken 106">
                    <a:extLst>
                      <a:ext uri="{FF2B5EF4-FFF2-40B4-BE49-F238E27FC236}">
                        <a16:creationId xmlns:a16="http://schemas.microsoft.com/office/drawing/2014/main" id="{B719F31B-0FD8-44B4-A3D5-41258D2A1A1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08" name="Rechthoek 107">
                    <a:extLst>
                      <a:ext uri="{FF2B5EF4-FFF2-40B4-BE49-F238E27FC236}">
                        <a16:creationId xmlns:a16="http://schemas.microsoft.com/office/drawing/2014/main" id="{52E4F764-54F9-4F93-82FE-09F9A316543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C8700F60-C883-4887-AB45-4C0AC79110AA}"/>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D83819CD-16FB-4E64-982D-92B20DFDC44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C4F1546F-F87B-4D2E-A857-1F6F3AE77AA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05506A6-BDB6-4B05-8BC9-E369187FE8E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06" name="Boog 105">
                  <a:extLst>
                    <a:ext uri="{FF2B5EF4-FFF2-40B4-BE49-F238E27FC236}">
                      <a16:creationId xmlns:a16="http://schemas.microsoft.com/office/drawing/2014/main" id="{088FD027-CAFD-48CF-8BC2-3C8BC94A0066}"/>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nl-NL" sz="2400" noProof="0">
                    <a:solidFill>
                      <a:srgbClr val="211F26"/>
                    </a:solidFill>
                    <a:latin typeface="Calibri" panose="020F0502020204030204" pitchFamily="34" charset="0"/>
                    <a:cs typeface="Calibri" panose="020F0502020204030204" pitchFamily="34" charset="0"/>
                  </a:endParaRPr>
                </a:p>
              </p:txBody>
            </p:sp>
          </p:grpSp>
          <p:sp>
            <p:nvSpPr>
              <p:cNvPr id="102" name="Tekstvak 101">
                <a:extLst>
                  <a:ext uri="{FF2B5EF4-FFF2-40B4-BE49-F238E27FC236}">
                    <a16:creationId xmlns:a16="http://schemas.microsoft.com/office/drawing/2014/main" id="{C35BE10B-6985-474A-9F8C-5859C81A591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Indeling</a:t>
                </a:r>
              </a:p>
            </p:txBody>
          </p:sp>
          <p:sp>
            <p:nvSpPr>
              <p:cNvPr id="103" name="Tekstvak 102">
                <a:extLst>
                  <a:ext uri="{FF2B5EF4-FFF2-40B4-BE49-F238E27FC236}">
                    <a16:creationId xmlns:a16="http://schemas.microsoft.com/office/drawing/2014/main" id="{260819B5-7A91-417C-8C19-D6375A85EB1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Dia Herstellen</a:t>
                </a:r>
              </a:p>
            </p:txBody>
          </p:sp>
          <p:sp>
            <p:nvSpPr>
              <p:cNvPr id="104" name="Vrije vorm: vorm 103">
                <a:extLst>
                  <a:ext uri="{FF2B5EF4-FFF2-40B4-BE49-F238E27FC236}">
                    <a16:creationId xmlns:a16="http://schemas.microsoft.com/office/drawing/2014/main" id="{EFA816DC-63FB-4EBB-A3A0-0C696C5D007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gr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514800" y="2296801"/>
            <a:ext cx="9628263" cy="1916454"/>
          </a:xfrm>
        </p:spPr>
        <p:txBody>
          <a:bodyPr bIns="216000" anchor="b" anchorCtr="0"/>
          <a:lstStyle>
            <a:lvl1pPr algn="l">
              <a:defRPr sz="6000">
                <a:solidFill>
                  <a:schemeClr val="tx2"/>
                </a:solidFill>
              </a:defRPr>
            </a:lvl1pPr>
          </a:lstStyle>
          <a:p>
            <a:r>
              <a:rPr lang="nl-NL"/>
              <a:t>Plaats hier naam presentatie, max. 2 regels</a:t>
            </a:r>
          </a:p>
        </p:txBody>
      </p:sp>
      <p:sp>
        <p:nvSpPr>
          <p:cNvPr id="89" name="Tijdelijke aanduiding voor afbeelding 76">
            <a:extLst>
              <a:ext uri="{FF2B5EF4-FFF2-40B4-BE49-F238E27FC236}">
                <a16:creationId xmlns:a16="http://schemas.microsoft.com/office/drawing/2014/main" id="{6436AB13-C9EF-4DCD-ABA6-C52F31D09B2F}"/>
              </a:ext>
            </a:extLst>
          </p:cNvPr>
          <p:cNvSpPr>
            <a:spLocks noGrp="1"/>
          </p:cNvSpPr>
          <p:nvPr>
            <p:ph type="pic" sz="quarter" idx="16" hasCustomPrompt="1"/>
          </p:nvPr>
        </p:nvSpPr>
        <p:spPr>
          <a:xfrm>
            <a:off x="3045563" y="512386"/>
            <a:ext cx="2217600" cy="711558"/>
          </a:xfrm>
          <a:prstGeom prst="rect">
            <a:avLst/>
          </a:prstGeom>
          <a:noFill/>
        </p:spPr>
        <p:txBody>
          <a:bodyPr wrap="square" bIns="252000" anchor="ctr">
            <a:noAutofit/>
          </a:bodyPr>
          <a:lstStyle>
            <a:lvl1pPr marL="0" indent="0" algn="ctr">
              <a:lnSpc>
                <a:spcPct val="300000"/>
              </a:lnSpc>
              <a:spcBef>
                <a:spcPts val="0"/>
              </a:spcBef>
              <a:spcAft>
                <a:spcPts val="0"/>
              </a:spcAft>
              <a:buNone/>
              <a:defRPr sz="1050" i="1">
                <a:solidFill>
                  <a:schemeClr val="bg2">
                    <a:lumMod val="75000"/>
                  </a:schemeClr>
                </a:solidFill>
              </a:defRPr>
            </a:lvl1pPr>
          </a:lstStyle>
          <a:p>
            <a:r>
              <a:rPr lang="nl-NL"/>
              <a:t>Voeg hier </a:t>
            </a:r>
            <a:br>
              <a:rPr lang="nl-NL"/>
            </a:br>
            <a:r>
              <a:rPr lang="nl-NL"/>
              <a:t>een logo in</a:t>
            </a:r>
          </a:p>
        </p:txBody>
      </p:sp>
      <p:sp>
        <p:nvSpPr>
          <p:cNvPr id="133" name="Tijdelijke aanduiding voor tekst 2">
            <a:extLst>
              <a:ext uri="{FF2B5EF4-FFF2-40B4-BE49-F238E27FC236}">
                <a16:creationId xmlns:a16="http://schemas.microsoft.com/office/drawing/2014/main" id="{07E5C559-974D-4D03-B65C-EF4D9D8511BE}"/>
              </a:ext>
            </a:extLst>
          </p:cNvPr>
          <p:cNvSpPr>
            <a:spLocks noGrp="1"/>
          </p:cNvSpPr>
          <p:nvPr>
            <p:ph type="body" sz="quarter" idx="17" hasCustomPrompt="1"/>
          </p:nvPr>
        </p:nvSpPr>
        <p:spPr>
          <a:xfrm>
            <a:off x="547689" y="4220308"/>
            <a:ext cx="9586368" cy="351693"/>
          </a:xfrm>
        </p:spPr>
        <p:txBody>
          <a:bodyPr/>
          <a:lstStyle>
            <a:lvl1pPr marL="0" indent="0">
              <a:buNone/>
              <a:defRPr sz="2000" b="1">
                <a:solidFill>
                  <a:schemeClr val="tx2"/>
                </a:solidFill>
              </a:defRPr>
            </a:lvl1pPr>
          </a:lstStyle>
          <a:p>
            <a:pPr lvl="0"/>
            <a:r>
              <a:rPr lang="nl-NL"/>
              <a:t>Plaats hier je subtitel</a:t>
            </a:r>
          </a:p>
        </p:txBody>
      </p:sp>
      <p:grpSp>
        <p:nvGrpSpPr>
          <p:cNvPr id="2" name="Groep 1">
            <a:extLst>
              <a:ext uri="{FF2B5EF4-FFF2-40B4-BE49-F238E27FC236}">
                <a16:creationId xmlns:a16="http://schemas.microsoft.com/office/drawing/2014/main" id="{D3EEA51C-E48B-40B3-B4E6-A082C2DB3F1A}"/>
              </a:ext>
            </a:extLst>
          </p:cNvPr>
          <p:cNvGrpSpPr/>
          <p:nvPr userDrawn="1"/>
        </p:nvGrpSpPr>
        <p:grpSpPr>
          <a:xfrm>
            <a:off x="-3786437" y="6112906"/>
            <a:ext cx="3593091" cy="1535545"/>
            <a:chOff x="-3812167" y="5105400"/>
            <a:chExt cx="3593091" cy="1535545"/>
          </a:xfrm>
        </p:grpSpPr>
        <p:sp>
          <p:nvSpPr>
            <p:cNvPr id="210" name="Rechthoek 209">
              <a:extLst>
                <a:ext uri="{FF2B5EF4-FFF2-40B4-BE49-F238E27FC236}">
                  <a16:creationId xmlns:a16="http://schemas.microsoft.com/office/drawing/2014/main" id="{0E12D28F-0500-4DE6-BC26-0B398A8AC806}"/>
                </a:ext>
              </a:extLst>
            </p:cNvPr>
            <p:cNvSpPr/>
            <p:nvPr userDrawn="1"/>
          </p:nvSpPr>
          <p:spPr>
            <a:xfrm>
              <a:off x="-3812167" y="5105400"/>
              <a:ext cx="3593091" cy="1535545"/>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eesbaarheid titel en subtitel</a:t>
              </a:r>
            </a:p>
          </p:txBody>
        </p:sp>
        <p:sp>
          <p:nvSpPr>
            <p:cNvPr id="211" name="Ovaal 210">
              <a:extLst>
                <a:ext uri="{FF2B5EF4-FFF2-40B4-BE49-F238E27FC236}">
                  <a16:creationId xmlns:a16="http://schemas.microsoft.com/office/drawing/2014/main" id="{32C84309-1028-41F9-BF1F-66848DDB1094}"/>
                </a:ext>
              </a:extLst>
            </p:cNvPr>
            <p:cNvSpPr/>
            <p:nvPr userDrawn="1"/>
          </p:nvSpPr>
          <p:spPr>
            <a:xfrm>
              <a:off x="-3629589" y="55707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12" name="Rechthoek 211">
              <a:extLst>
                <a:ext uri="{FF2B5EF4-FFF2-40B4-BE49-F238E27FC236}">
                  <a16:creationId xmlns:a16="http://schemas.microsoft.com/office/drawing/2014/main" id="{6751367E-B4E9-4F46-BA23-A999456F93A5}"/>
                </a:ext>
              </a:extLst>
            </p:cNvPr>
            <p:cNvSpPr/>
            <p:nvPr userDrawn="1"/>
          </p:nvSpPr>
          <p:spPr>
            <a:xfrm>
              <a:off x="-3345417" y="5570724"/>
              <a:ext cx="2944682" cy="18237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licht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1”.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Kies bij gebruik van een donkere foto </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e indeling “Intro slide #3”.</a:t>
              </a:r>
            </a:p>
          </p:txBody>
        </p:sp>
      </p:grpSp>
      <p:grpSp>
        <p:nvGrpSpPr>
          <p:cNvPr id="130" name="INSTRUCTIES">
            <a:extLst>
              <a:ext uri="{FF2B5EF4-FFF2-40B4-BE49-F238E27FC236}">
                <a16:creationId xmlns:a16="http://schemas.microsoft.com/office/drawing/2014/main" id="{7DFBC95D-30ED-4043-9189-C1472BD7FA37}"/>
              </a:ext>
            </a:extLst>
          </p:cNvPr>
          <p:cNvGrpSpPr/>
          <p:nvPr userDrawn="1"/>
        </p:nvGrpSpPr>
        <p:grpSpPr>
          <a:xfrm>
            <a:off x="-3786437" y="0"/>
            <a:ext cx="3593091" cy="5936662"/>
            <a:chOff x="-3786437" y="0"/>
            <a:chExt cx="3593091" cy="5936662"/>
          </a:xfrm>
        </p:grpSpPr>
        <p:sp>
          <p:nvSpPr>
            <p:cNvPr id="131" name="Rechthoek 130">
              <a:extLst>
                <a:ext uri="{FF2B5EF4-FFF2-40B4-BE49-F238E27FC236}">
                  <a16:creationId xmlns:a16="http://schemas.microsoft.com/office/drawing/2014/main" id="{6492616E-2171-4169-86B2-AB49E6BAE27B}"/>
                </a:ext>
              </a:extLst>
            </p:cNvPr>
            <p:cNvSpPr/>
            <p:nvPr userDrawn="1"/>
          </p:nvSpPr>
          <p:spPr>
            <a:xfrm>
              <a:off x="-3786437" y="0"/>
              <a:ext cx="3593091" cy="5936662"/>
            </a:xfrm>
            <a:prstGeom prst="rect">
              <a:avLst/>
            </a:prstGeom>
            <a:no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lvl="0">
                <a:lnSpc>
                  <a:spcPct val="90000"/>
                </a:lnSpc>
                <a:spcBef>
                  <a:spcPts val="600"/>
                </a:spcBef>
                <a:spcAft>
                  <a:spcPts val="600"/>
                </a:spcAft>
              </a:pPr>
              <a:r>
                <a:rPr lang="nl-NL" sz="1400" b="1" cap="all" baseline="0" noProof="0">
                  <a:solidFill>
                    <a:schemeClr val="accent1"/>
                  </a:solidFill>
                  <a:latin typeface="Calibri" panose="020F0502020204030204" pitchFamily="34" charset="0"/>
                  <a:cs typeface="Calibri" panose="020F0502020204030204" pitchFamily="34" charset="0"/>
                </a:rPr>
                <a:t>Logo invoegen/opmaken</a:t>
              </a:r>
            </a:p>
          </p:txBody>
        </p:sp>
        <p:sp>
          <p:nvSpPr>
            <p:cNvPr id="132" name="Ovaal 131">
              <a:extLst>
                <a:ext uri="{FF2B5EF4-FFF2-40B4-BE49-F238E27FC236}">
                  <a16:creationId xmlns:a16="http://schemas.microsoft.com/office/drawing/2014/main" id="{BAB18270-7EF6-4DC5-96C2-16510C52D69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34" name="Rechthoek 133">
              <a:extLst>
                <a:ext uri="{FF2B5EF4-FFF2-40B4-BE49-F238E27FC236}">
                  <a16:creationId xmlns:a16="http://schemas.microsoft.com/office/drawing/2014/main" id="{B249E174-E5C8-426E-BE49-2635BB1AD2A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Wanneer nodig, verwijder het bestaande logo d.m.v. de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lik op het pictogram om een nieuw logo in te voegen</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5" name="Groep 134">
              <a:extLst>
                <a:ext uri="{FF2B5EF4-FFF2-40B4-BE49-F238E27FC236}">
                  <a16:creationId xmlns:a16="http://schemas.microsoft.com/office/drawing/2014/main" id="{9D76FE58-2201-4B67-B4EA-8674799D105D}"/>
                </a:ext>
              </a:extLst>
            </p:cNvPr>
            <p:cNvGrpSpPr/>
            <p:nvPr userDrawn="1"/>
          </p:nvGrpSpPr>
          <p:grpSpPr>
            <a:xfrm>
              <a:off x="-3316179" y="1231351"/>
              <a:ext cx="294789" cy="318834"/>
              <a:chOff x="14466489" y="1001522"/>
              <a:chExt cx="290627" cy="314333"/>
            </a:xfrm>
          </p:grpSpPr>
          <p:sp>
            <p:nvSpPr>
              <p:cNvPr id="182" name="Rechthoek 181">
                <a:extLst>
                  <a:ext uri="{FF2B5EF4-FFF2-40B4-BE49-F238E27FC236}">
                    <a16:creationId xmlns:a16="http://schemas.microsoft.com/office/drawing/2014/main" id="{F8472ED0-81A8-4FB9-81E4-346E02156E32}"/>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83" name="Ovaal 182">
                <a:extLst>
                  <a:ext uri="{FF2B5EF4-FFF2-40B4-BE49-F238E27FC236}">
                    <a16:creationId xmlns:a16="http://schemas.microsoft.com/office/drawing/2014/main" id="{5404847C-C8DD-4B73-AD41-2FDC6378170E}"/>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4" name="Vrije vorm: vorm 183">
                <a:extLst>
                  <a:ext uri="{FF2B5EF4-FFF2-40B4-BE49-F238E27FC236}">
                    <a16:creationId xmlns:a16="http://schemas.microsoft.com/office/drawing/2014/main" id="{9C53E5E5-33D7-42D3-9CB2-12CB8B7C158B}"/>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rgbClr val="211F26"/>
                  </a:solidFill>
                  <a:latin typeface="Calibri" panose="020F0502020204030204" pitchFamily="34" charset="0"/>
                  <a:cs typeface="Calibri" panose="020F0502020204030204" pitchFamily="34" charset="0"/>
                </a:endParaRPr>
              </a:p>
            </p:txBody>
          </p:sp>
          <p:sp>
            <p:nvSpPr>
              <p:cNvPr id="185" name="Rechthoek: afgeronde hoeken 184">
                <a:extLst>
                  <a:ext uri="{FF2B5EF4-FFF2-40B4-BE49-F238E27FC236}">
                    <a16:creationId xmlns:a16="http://schemas.microsoft.com/office/drawing/2014/main" id="{BBA4FD1E-F0F7-47C0-B581-BE08359E7B56}"/>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cxnSp>
            <p:nvCxnSpPr>
              <p:cNvPr id="205" name="Rechte verbindingslijn 204">
                <a:extLst>
                  <a:ext uri="{FF2B5EF4-FFF2-40B4-BE49-F238E27FC236}">
                    <a16:creationId xmlns:a16="http://schemas.microsoft.com/office/drawing/2014/main" id="{439C8ED8-6851-4411-8BAB-00CD936B0530}"/>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3" name="Rechte verbindingslijn 212">
                <a:extLst>
                  <a:ext uri="{FF2B5EF4-FFF2-40B4-BE49-F238E27FC236}">
                    <a16:creationId xmlns:a16="http://schemas.microsoft.com/office/drawing/2014/main" id="{498694BE-4616-4A06-B84A-9A504BC8EA14}"/>
                  </a:ext>
                </a:extLst>
              </p:cNvPr>
              <p:cNvCxnSpPr>
                <a:cxnSpLocks/>
                <a:stCxn id="18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36" name="Ovaal 135">
              <a:extLst>
                <a:ext uri="{FF2B5EF4-FFF2-40B4-BE49-F238E27FC236}">
                  <a16:creationId xmlns:a16="http://schemas.microsoft.com/office/drawing/2014/main" id="{9B77C942-C54B-413A-BCE6-C5B0733589C9}"/>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7" name="Rechthoek 136">
              <a:extLst>
                <a:ext uri="{FF2B5EF4-FFF2-40B4-BE49-F238E27FC236}">
                  <a16:creationId xmlns:a16="http://schemas.microsoft.com/office/drawing/2014/main" id="{2E15BB79-CFA6-4655-87B1-E0AC76394DB7}"/>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Selecteer het gewenste logo</a:t>
              </a:r>
              <a:b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38" name="Groep 137">
              <a:extLst>
                <a:ext uri="{FF2B5EF4-FFF2-40B4-BE49-F238E27FC236}">
                  <a16:creationId xmlns:a16="http://schemas.microsoft.com/office/drawing/2014/main" id="{94D1E749-E580-4930-A00A-63BFB090E66E}"/>
                </a:ext>
              </a:extLst>
            </p:cNvPr>
            <p:cNvGrpSpPr/>
            <p:nvPr userDrawn="1"/>
          </p:nvGrpSpPr>
          <p:grpSpPr>
            <a:xfrm>
              <a:off x="-3311319" y="2164285"/>
              <a:ext cx="825500" cy="209550"/>
              <a:chOff x="13504624" y="2482850"/>
              <a:chExt cx="825500" cy="209550"/>
            </a:xfrm>
          </p:grpSpPr>
          <p:sp>
            <p:nvSpPr>
              <p:cNvPr id="179" name="Rechthoek 178">
                <a:extLst>
                  <a:ext uri="{FF2B5EF4-FFF2-40B4-BE49-F238E27FC236}">
                    <a16:creationId xmlns:a16="http://schemas.microsoft.com/office/drawing/2014/main" id="{B2EFEE35-AE29-4701-B137-A856B98926E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Invoegen</a:t>
                </a:r>
              </a:p>
            </p:txBody>
          </p:sp>
          <p:cxnSp>
            <p:nvCxnSpPr>
              <p:cNvPr id="180" name="Rechte verbindingslijn 179">
                <a:extLst>
                  <a:ext uri="{FF2B5EF4-FFF2-40B4-BE49-F238E27FC236}">
                    <a16:creationId xmlns:a16="http://schemas.microsoft.com/office/drawing/2014/main" id="{749DC65F-E64C-4B42-89A6-BE8AB1DFBA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81" name="Gelijkbenige driehoek 180">
                <a:extLst>
                  <a:ext uri="{FF2B5EF4-FFF2-40B4-BE49-F238E27FC236}">
                    <a16:creationId xmlns:a16="http://schemas.microsoft.com/office/drawing/2014/main" id="{4255F441-D15E-4E1D-AE45-A63F211B6358}"/>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a:solidFill>
                    <a:srgbClr val="211F26"/>
                  </a:solidFill>
                  <a:latin typeface="Calibri" panose="020F0502020204030204" pitchFamily="34" charset="0"/>
                  <a:cs typeface="Calibri" panose="020F0502020204030204" pitchFamily="34" charset="0"/>
                </a:endParaRPr>
              </a:p>
            </p:txBody>
          </p:sp>
        </p:grpSp>
        <p:sp>
          <p:nvSpPr>
            <p:cNvPr id="139" name="Ovaal 138">
              <a:extLst>
                <a:ext uri="{FF2B5EF4-FFF2-40B4-BE49-F238E27FC236}">
                  <a16:creationId xmlns:a16="http://schemas.microsoft.com/office/drawing/2014/main" id="{54CD15D7-7CC8-4C6D-8A0D-391FE2CEFCBD}"/>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0" name="Rechthoek 139">
              <a:extLst>
                <a:ext uri="{FF2B5EF4-FFF2-40B4-BE49-F238E27FC236}">
                  <a16:creationId xmlns:a16="http://schemas.microsoft.com/office/drawing/2014/main" id="{1E77056D-92DA-4BEF-BEE5-D226A16FBDFC}"/>
                </a:ext>
              </a:extLst>
            </p:cNvPr>
            <p:cNvSpPr/>
            <p:nvPr userDrawn="1"/>
          </p:nvSpPr>
          <p:spPr>
            <a:xfrm>
              <a:off x="-3319415" y="2553360"/>
              <a:ext cx="2944682" cy="8089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het logo te schalen of bij te snijden,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Schaal met de bolletjes het logo en met de hoekjes het logokader.</a:t>
              </a:r>
            </a:p>
          </p:txBody>
        </p:sp>
        <p:grpSp>
          <p:nvGrpSpPr>
            <p:cNvPr id="141" name="Groep 140">
              <a:extLst>
                <a:ext uri="{FF2B5EF4-FFF2-40B4-BE49-F238E27FC236}">
                  <a16:creationId xmlns:a16="http://schemas.microsoft.com/office/drawing/2014/main" id="{810AB701-F758-4CD5-B317-61A544EBBC50}"/>
                </a:ext>
              </a:extLst>
            </p:cNvPr>
            <p:cNvGrpSpPr/>
            <p:nvPr userDrawn="1"/>
          </p:nvGrpSpPr>
          <p:grpSpPr>
            <a:xfrm>
              <a:off x="-3408294" y="3470504"/>
              <a:ext cx="622283" cy="612920"/>
              <a:chOff x="12617641" y="3403239"/>
              <a:chExt cx="752963" cy="741634"/>
            </a:xfrm>
          </p:grpSpPr>
          <p:grpSp>
            <p:nvGrpSpPr>
              <p:cNvPr id="163" name="Groep 162">
                <a:extLst>
                  <a:ext uri="{FF2B5EF4-FFF2-40B4-BE49-F238E27FC236}">
                    <a16:creationId xmlns:a16="http://schemas.microsoft.com/office/drawing/2014/main" id="{E7C6351F-5C03-4EE4-A255-7CA379B85952}"/>
                  </a:ext>
                </a:extLst>
              </p:cNvPr>
              <p:cNvGrpSpPr/>
              <p:nvPr userDrawn="1"/>
            </p:nvGrpSpPr>
            <p:grpSpPr>
              <a:xfrm>
                <a:off x="12771530" y="3403239"/>
                <a:ext cx="467176" cy="448491"/>
                <a:chOff x="12782157" y="3403239"/>
                <a:chExt cx="467176" cy="448491"/>
              </a:xfrm>
            </p:grpSpPr>
            <p:grpSp>
              <p:nvGrpSpPr>
                <p:cNvPr id="166" name="Groep 165">
                  <a:extLst>
                    <a:ext uri="{FF2B5EF4-FFF2-40B4-BE49-F238E27FC236}">
                      <a16:creationId xmlns:a16="http://schemas.microsoft.com/office/drawing/2014/main" id="{197D61CF-E9B6-4249-A3BA-F3BD06BDC9BD}"/>
                    </a:ext>
                  </a:extLst>
                </p:cNvPr>
                <p:cNvGrpSpPr/>
                <p:nvPr userDrawn="1"/>
              </p:nvGrpSpPr>
              <p:grpSpPr>
                <a:xfrm>
                  <a:off x="12782157" y="3403239"/>
                  <a:ext cx="412976" cy="396132"/>
                  <a:chOff x="13554906" y="3320109"/>
                  <a:chExt cx="443917" cy="425811"/>
                </a:xfrm>
              </p:grpSpPr>
              <p:grpSp>
                <p:nvGrpSpPr>
                  <p:cNvPr id="173" name="Groep 172">
                    <a:extLst>
                      <a:ext uri="{FF2B5EF4-FFF2-40B4-BE49-F238E27FC236}">
                        <a16:creationId xmlns:a16="http://schemas.microsoft.com/office/drawing/2014/main" id="{956B64A8-15A0-4C7F-A3E7-083F778D9617}"/>
                      </a:ext>
                    </a:extLst>
                  </p:cNvPr>
                  <p:cNvGrpSpPr/>
                  <p:nvPr userDrawn="1"/>
                </p:nvGrpSpPr>
                <p:grpSpPr>
                  <a:xfrm>
                    <a:off x="13554906" y="3320109"/>
                    <a:ext cx="443917" cy="425811"/>
                    <a:chOff x="12909684" y="1276143"/>
                    <a:chExt cx="443917" cy="425811"/>
                  </a:xfrm>
                </p:grpSpPr>
                <p:sp>
                  <p:nvSpPr>
                    <p:cNvPr id="176" name="Rechthoek 175">
                      <a:extLst>
                        <a:ext uri="{FF2B5EF4-FFF2-40B4-BE49-F238E27FC236}">
                          <a16:creationId xmlns:a16="http://schemas.microsoft.com/office/drawing/2014/main" id="{881EC470-7E9B-4BA7-89E0-B0332D4CBA8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7" name="Rechthoek 176">
                      <a:extLst>
                        <a:ext uri="{FF2B5EF4-FFF2-40B4-BE49-F238E27FC236}">
                          <a16:creationId xmlns:a16="http://schemas.microsoft.com/office/drawing/2014/main" id="{FC734AB1-87CA-48D3-B057-9021AFCFDFD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78" name="Ovaal 177">
                      <a:extLst>
                        <a:ext uri="{FF2B5EF4-FFF2-40B4-BE49-F238E27FC236}">
                          <a16:creationId xmlns:a16="http://schemas.microsoft.com/office/drawing/2014/main" id="{641ED05B-2B9F-4FC7-9DBB-DBA516AB714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pic>
                <p:nvPicPr>
                  <p:cNvPr id="174" name="Afbeelding 173">
                    <a:extLst>
                      <a:ext uri="{FF2B5EF4-FFF2-40B4-BE49-F238E27FC236}">
                        <a16:creationId xmlns:a16="http://schemas.microsoft.com/office/drawing/2014/main" id="{404D7CFA-2A85-4133-8255-FD776E1FAB2E}"/>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75" name="Afbeelding 174">
                    <a:extLst>
                      <a:ext uri="{FF2B5EF4-FFF2-40B4-BE49-F238E27FC236}">
                        <a16:creationId xmlns:a16="http://schemas.microsoft.com/office/drawing/2014/main" id="{2F50EEE3-80B5-4A9F-8032-81B314FA278A}"/>
                      </a:ext>
                    </a:extLst>
                  </p:cNvPr>
                  <p:cNvPicPr>
                    <a:picLocks noChangeAspect="1"/>
                  </p:cNvPicPr>
                  <p:nvPr userDrawn="1"/>
                </p:nvPicPr>
                <p:blipFill>
                  <a:blip r:embed="rId7">
                    <a:duotone>
                      <a:prstClr val="black"/>
                      <a:srgbClr val="4D82B8">
                        <a:tint val="45000"/>
                        <a:satMod val="400000"/>
                      </a:srgbClr>
                    </a:duotone>
                    <a:extLst>
                      <a:ext uri="{BEBA8EAE-BF5A-486C-A8C5-ECC9F3942E4B}">
                        <a14:imgProps xmlns:a14="http://schemas.microsoft.com/office/drawing/2010/main">
                          <a14:imgLayer r:embed="rId8">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67" name="Groep 166">
                  <a:extLst>
                    <a:ext uri="{FF2B5EF4-FFF2-40B4-BE49-F238E27FC236}">
                      <a16:creationId xmlns:a16="http://schemas.microsoft.com/office/drawing/2014/main" id="{DA3D8926-52E1-4040-BA45-9B025796EFB9}"/>
                    </a:ext>
                  </a:extLst>
                </p:cNvPr>
                <p:cNvGrpSpPr/>
                <p:nvPr userDrawn="1"/>
              </p:nvGrpSpPr>
              <p:grpSpPr>
                <a:xfrm>
                  <a:off x="13103513" y="3705268"/>
                  <a:ext cx="145820" cy="146462"/>
                  <a:chOff x="13096169" y="3602278"/>
                  <a:chExt cx="145820" cy="146462"/>
                </a:xfrm>
              </p:grpSpPr>
              <p:sp>
                <p:nvSpPr>
                  <p:cNvPr id="171" name="Rechthoek 170">
                    <a:extLst>
                      <a:ext uri="{FF2B5EF4-FFF2-40B4-BE49-F238E27FC236}">
                        <a16:creationId xmlns:a16="http://schemas.microsoft.com/office/drawing/2014/main" id="{AD5ABFEE-5E59-4BC1-8228-289D6BC7B2B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2" name="Rechthoek 171">
                    <a:extLst>
                      <a:ext uri="{FF2B5EF4-FFF2-40B4-BE49-F238E27FC236}">
                        <a16:creationId xmlns:a16="http://schemas.microsoft.com/office/drawing/2014/main" id="{BF182378-08D3-4F73-9ECD-FF76CE1B5CC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68" name="Groep 167">
                  <a:extLst>
                    <a:ext uri="{FF2B5EF4-FFF2-40B4-BE49-F238E27FC236}">
                      <a16:creationId xmlns:a16="http://schemas.microsoft.com/office/drawing/2014/main" id="{15805B01-E174-4CA9-8589-5B43E019713A}"/>
                    </a:ext>
                  </a:extLst>
                </p:cNvPr>
                <p:cNvGrpSpPr/>
                <p:nvPr userDrawn="1"/>
              </p:nvGrpSpPr>
              <p:grpSpPr>
                <a:xfrm rot="10800000">
                  <a:off x="13061402" y="3665637"/>
                  <a:ext cx="145820" cy="146462"/>
                  <a:chOff x="13096169" y="3602278"/>
                  <a:chExt cx="145820" cy="146462"/>
                </a:xfrm>
              </p:grpSpPr>
              <p:sp>
                <p:nvSpPr>
                  <p:cNvPr id="169" name="Rechthoek 168">
                    <a:extLst>
                      <a:ext uri="{FF2B5EF4-FFF2-40B4-BE49-F238E27FC236}">
                        <a16:creationId xmlns:a16="http://schemas.microsoft.com/office/drawing/2014/main" id="{8D8A793C-B49B-4BB3-9368-852CAEB7EF8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70" name="Rechthoek 169">
                    <a:extLst>
                      <a:ext uri="{FF2B5EF4-FFF2-40B4-BE49-F238E27FC236}">
                        <a16:creationId xmlns:a16="http://schemas.microsoft.com/office/drawing/2014/main" id="{4BD79D8E-0198-4F0F-9AFB-DDE7F286F57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sp>
            <p:nvSpPr>
              <p:cNvPr id="164" name="Rechthoek 163">
                <a:extLst>
                  <a:ext uri="{FF2B5EF4-FFF2-40B4-BE49-F238E27FC236}">
                    <a16:creationId xmlns:a16="http://schemas.microsoft.com/office/drawing/2014/main" id="{B5E1C03E-2E75-4AAB-837C-89288EA934A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a:solidFill>
                      <a:srgbClr val="211F26"/>
                    </a:solidFill>
                    <a:latin typeface="Calibri" panose="020F0502020204030204" pitchFamily="34" charset="0"/>
                    <a:cs typeface="Calibri" panose="020F0502020204030204" pitchFamily="34" charset="0"/>
                  </a:rPr>
                  <a:t>Bijsnijden</a:t>
                </a:r>
              </a:p>
            </p:txBody>
          </p:sp>
          <p:sp>
            <p:nvSpPr>
              <p:cNvPr id="165" name="Gelijkbenige driehoek 164">
                <a:extLst>
                  <a:ext uri="{FF2B5EF4-FFF2-40B4-BE49-F238E27FC236}">
                    <a16:creationId xmlns:a16="http://schemas.microsoft.com/office/drawing/2014/main" id="{4CEF352F-7777-44EE-824A-C4380144C74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sp>
          <p:nvSpPr>
            <p:cNvPr id="143" name="Ovaal 142">
              <a:extLst>
                <a:ext uri="{FF2B5EF4-FFF2-40B4-BE49-F238E27FC236}">
                  <a16:creationId xmlns:a16="http://schemas.microsoft.com/office/drawing/2014/main" id="{CDFE5063-2738-4FAF-A81C-7C959CA0D013}"/>
                </a:ext>
              </a:extLst>
            </p:cNvPr>
            <p:cNvSpPr/>
            <p:nvPr userDrawn="1"/>
          </p:nvSpPr>
          <p:spPr>
            <a:xfrm>
              <a:off x="-3603587" y="4267791"/>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44" name="Rechthoek 143">
              <a:extLst>
                <a:ext uri="{FF2B5EF4-FFF2-40B4-BE49-F238E27FC236}">
                  <a16:creationId xmlns:a16="http://schemas.microsoft.com/office/drawing/2014/main" id="{5FB46063-EF1D-4FAB-9321-BCFDF34D3D05}"/>
                </a:ext>
              </a:extLst>
            </p:cNvPr>
            <p:cNvSpPr/>
            <p:nvPr userDrawn="1"/>
          </p:nvSpPr>
          <p:spPr>
            <a:xfrm>
              <a:off x="-3319415" y="4267792"/>
              <a:ext cx="2944682" cy="8127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Om er voor te zorgen dat het logo in zijn originele verhouding staat, ga naar de tab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en klik op het pijltje onder de knop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Kies </a:t>
              </a:r>
              <a:r>
                <a:rPr kumimoji="0" lang="nl-NL" sz="1200" b="1"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anpassen’</a:t>
              </a:r>
              <a:r>
                <a:rPr kumimoji="0" lang="nl-NL" sz="1200" b="0" i="0" u="none" strike="noStrike" kern="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5" name="Groep 144">
              <a:extLst>
                <a:ext uri="{FF2B5EF4-FFF2-40B4-BE49-F238E27FC236}">
                  <a16:creationId xmlns:a16="http://schemas.microsoft.com/office/drawing/2014/main" id="{2AE74C18-9D4B-46B5-9042-EF92A6E52533}"/>
                </a:ext>
              </a:extLst>
            </p:cNvPr>
            <p:cNvGrpSpPr/>
            <p:nvPr userDrawn="1"/>
          </p:nvGrpSpPr>
          <p:grpSpPr>
            <a:xfrm>
              <a:off x="-3314821" y="5192208"/>
              <a:ext cx="1108877" cy="563933"/>
              <a:chOff x="-3314821" y="3885197"/>
              <a:chExt cx="1108877" cy="563933"/>
            </a:xfrm>
          </p:grpSpPr>
          <p:sp>
            <p:nvSpPr>
              <p:cNvPr id="146" name="Rechthoek 145">
                <a:extLst>
                  <a:ext uri="{FF2B5EF4-FFF2-40B4-BE49-F238E27FC236}">
                    <a16:creationId xmlns:a16="http://schemas.microsoft.com/office/drawing/2014/main" id="{78F7646B-1CA5-40E1-B094-4DE79EBF2A08}"/>
                  </a:ext>
                </a:extLst>
              </p:cNvPr>
              <p:cNvSpPr/>
              <p:nvPr userDrawn="1"/>
            </p:nvSpPr>
            <p:spPr>
              <a:xfrm>
                <a:off x="-3314821" y="3885197"/>
                <a:ext cx="105560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2DB7306-0A91-4C6D-91D0-4898D35A278C}"/>
                  </a:ext>
                </a:extLst>
              </p:cNvPr>
              <p:cNvSpPr/>
              <p:nvPr userDrawn="1"/>
            </p:nvSpPr>
            <p:spPr>
              <a:xfrm>
                <a:off x="-3304718" y="4138922"/>
                <a:ext cx="1043588"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48" name="Tekstvak 147">
                <a:extLst>
                  <a:ext uri="{FF2B5EF4-FFF2-40B4-BE49-F238E27FC236}">
                    <a16:creationId xmlns:a16="http://schemas.microsoft.com/office/drawing/2014/main" id="{336D641F-F765-4D47-A174-70C9E8D0D404}"/>
                  </a:ext>
                </a:extLst>
              </p:cNvPr>
              <p:cNvSpPr txBox="1"/>
              <p:nvPr userDrawn="1"/>
            </p:nvSpPr>
            <p:spPr>
              <a:xfrm>
                <a:off x="-3069820" y="3949098"/>
                <a:ext cx="794156"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Opvullen</a:t>
                </a:r>
              </a:p>
            </p:txBody>
          </p:sp>
          <p:sp>
            <p:nvSpPr>
              <p:cNvPr id="149" name="Tekstvak 148">
                <a:extLst>
                  <a:ext uri="{FF2B5EF4-FFF2-40B4-BE49-F238E27FC236}">
                    <a16:creationId xmlns:a16="http://schemas.microsoft.com/office/drawing/2014/main" id="{AF81C77F-99F7-4CB0-B58D-09842372DBC3}"/>
                  </a:ext>
                </a:extLst>
              </p:cNvPr>
              <p:cNvSpPr txBox="1"/>
              <p:nvPr userDrawn="1"/>
            </p:nvSpPr>
            <p:spPr>
              <a:xfrm>
                <a:off x="-3069819" y="4199018"/>
                <a:ext cx="800912"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a:solidFill>
                      <a:srgbClr val="211F26"/>
                    </a:solidFill>
                    <a:latin typeface="Calibri" panose="020F0502020204030204" pitchFamily="34" charset="0"/>
                    <a:ea typeface="+mn-ea"/>
                    <a:cs typeface="Calibri" panose="020F0502020204030204" pitchFamily="34" charset="0"/>
                  </a:rPr>
                  <a:t>Aanpassen</a:t>
                </a:r>
              </a:p>
            </p:txBody>
          </p:sp>
          <p:sp>
            <p:nvSpPr>
              <p:cNvPr id="150" name="Vrije vorm: vorm 149">
                <a:extLst>
                  <a:ext uri="{FF2B5EF4-FFF2-40B4-BE49-F238E27FC236}">
                    <a16:creationId xmlns:a16="http://schemas.microsoft.com/office/drawing/2014/main" id="{AA1126A4-701F-4B91-B9FB-8084EDEC32CF}"/>
                  </a:ext>
                </a:extLst>
              </p:cNvPr>
              <p:cNvSpPr/>
              <p:nvPr userDrawn="1"/>
            </p:nvSpPr>
            <p:spPr>
              <a:xfrm>
                <a:off x="-2303506" y="426913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a:latin typeface="Calibri" panose="020F0502020204030204" pitchFamily="34" charset="0"/>
                  <a:cs typeface="Calibri" panose="020F0502020204030204" pitchFamily="34" charset="0"/>
                </a:endParaRPr>
              </a:p>
            </p:txBody>
          </p:sp>
          <p:grpSp>
            <p:nvGrpSpPr>
              <p:cNvPr id="151" name="Groep 150">
                <a:extLst>
                  <a:ext uri="{FF2B5EF4-FFF2-40B4-BE49-F238E27FC236}">
                    <a16:creationId xmlns:a16="http://schemas.microsoft.com/office/drawing/2014/main" id="{483D8FDE-714E-4126-A5C4-4DBBB3EADBCD}"/>
                  </a:ext>
                </a:extLst>
              </p:cNvPr>
              <p:cNvGrpSpPr/>
              <p:nvPr userDrawn="1"/>
            </p:nvGrpSpPr>
            <p:grpSpPr>
              <a:xfrm>
                <a:off x="-3254609" y="3946178"/>
                <a:ext cx="184194" cy="143334"/>
                <a:chOff x="6218544" y="2402421"/>
                <a:chExt cx="144156" cy="112178"/>
              </a:xfrm>
            </p:grpSpPr>
            <p:sp>
              <p:nvSpPr>
                <p:cNvPr id="157" name="Rechthoek 156">
                  <a:extLst>
                    <a:ext uri="{FF2B5EF4-FFF2-40B4-BE49-F238E27FC236}">
                      <a16:creationId xmlns:a16="http://schemas.microsoft.com/office/drawing/2014/main" id="{FED4A7B5-7450-4F69-9F8E-BFBCBC1759AF}"/>
                    </a:ext>
                  </a:extLst>
                </p:cNvPr>
                <p:cNvSpPr/>
                <p:nvPr userDrawn="1"/>
              </p:nvSpPr>
              <p:spPr>
                <a:xfrm>
                  <a:off x="6218544" y="2414588"/>
                  <a:ext cx="144156" cy="100011"/>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8" name="Rechthoek 47">
                  <a:extLst>
                    <a:ext uri="{FF2B5EF4-FFF2-40B4-BE49-F238E27FC236}">
                      <a16:creationId xmlns:a16="http://schemas.microsoft.com/office/drawing/2014/main" id="{0A02F641-6EFC-4E91-A16B-5F9DBE19806E}"/>
                    </a:ext>
                  </a:extLst>
                </p:cNvPr>
                <p:cNvSpPr/>
                <p:nvPr userDrawn="1"/>
              </p:nvSpPr>
              <p:spPr>
                <a:xfrm>
                  <a:off x="6224587" y="2445544"/>
                  <a:ext cx="95251" cy="6480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9" name="Rechthoek 47">
                  <a:extLst>
                    <a:ext uri="{FF2B5EF4-FFF2-40B4-BE49-F238E27FC236}">
                      <a16:creationId xmlns:a16="http://schemas.microsoft.com/office/drawing/2014/main" id="{43686462-68D7-479E-BE26-ADC9A7A3DFF0}"/>
                    </a:ext>
                  </a:extLst>
                </p:cNvPr>
                <p:cNvSpPr/>
                <p:nvPr userDrawn="1"/>
              </p:nvSpPr>
              <p:spPr>
                <a:xfrm>
                  <a:off x="6296025" y="2457450"/>
                  <a:ext cx="64294" cy="52388"/>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60" name="Koorde 159">
                  <a:extLst>
                    <a:ext uri="{FF2B5EF4-FFF2-40B4-BE49-F238E27FC236}">
                      <a16:creationId xmlns:a16="http://schemas.microsoft.com/office/drawing/2014/main" id="{1F887993-4D80-4B1B-9F89-11022EB0A533}"/>
                    </a:ext>
                  </a:extLst>
                </p:cNvPr>
                <p:cNvSpPr/>
                <p:nvPr userDrawn="1"/>
              </p:nvSpPr>
              <p:spPr>
                <a:xfrm>
                  <a:off x="6290536" y="2402421"/>
                  <a:ext cx="37785" cy="37785"/>
                </a:xfrm>
                <a:prstGeom prst="chord">
                  <a:avLst>
                    <a:gd name="adj1" fmla="val 21457318"/>
                    <a:gd name="adj2" fmla="val 11002272"/>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nvGrpSpPr>
              <p:cNvPr id="152" name="Groep 151">
                <a:extLst>
                  <a:ext uri="{FF2B5EF4-FFF2-40B4-BE49-F238E27FC236}">
                    <a16:creationId xmlns:a16="http://schemas.microsoft.com/office/drawing/2014/main" id="{AEB2A720-D8E7-462A-A3D9-5A2B1C458B20}"/>
                  </a:ext>
                </a:extLst>
              </p:cNvPr>
              <p:cNvGrpSpPr/>
              <p:nvPr userDrawn="1"/>
            </p:nvGrpSpPr>
            <p:grpSpPr>
              <a:xfrm>
                <a:off x="-3254609" y="4199853"/>
                <a:ext cx="184194" cy="124747"/>
                <a:chOff x="6218544" y="2636044"/>
                <a:chExt cx="144156" cy="97631"/>
              </a:xfrm>
            </p:grpSpPr>
            <p:sp>
              <p:nvSpPr>
                <p:cNvPr id="153" name="Rechthoek 152">
                  <a:extLst>
                    <a:ext uri="{FF2B5EF4-FFF2-40B4-BE49-F238E27FC236}">
                      <a16:creationId xmlns:a16="http://schemas.microsoft.com/office/drawing/2014/main" id="{4A8BAF38-66EE-49CF-9E08-53870CD41C8A}"/>
                    </a:ext>
                  </a:extLst>
                </p:cNvPr>
                <p:cNvSpPr/>
                <p:nvPr userDrawn="1"/>
              </p:nvSpPr>
              <p:spPr>
                <a:xfrm>
                  <a:off x="6218544" y="2636044"/>
                  <a:ext cx="144156" cy="92869"/>
                </a:xfrm>
                <a:prstGeom prst="rect">
                  <a:avLst/>
                </a:prstGeom>
                <a:solidFill>
                  <a:schemeClr val="bg1"/>
                </a:solidFill>
                <a:ln w="12700" cap="rnd" cmpd="sng" algn="ctr">
                  <a:solidFill>
                    <a:srgbClr val="818181"/>
                  </a:solidFill>
                  <a:prstDash val="sysDash"/>
                </a:ln>
                <a:effectLst/>
              </p:spPr>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4" name="Rechthoek 153">
                  <a:extLst>
                    <a:ext uri="{FF2B5EF4-FFF2-40B4-BE49-F238E27FC236}">
                      <a16:creationId xmlns:a16="http://schemas.microsoft.com/office/drawing/2014/main" id="{5B37CAA4-55E9-4C6C-A407-24DC8B935EE9}"/>
                    </a:ext>
                  </a:extLst>
                </p:cNvPr>
                <p:cNvSpPr/>
                <p:nvPr userDrawn="1"/>
              </p:nvSpPr>
              <p:spPr>
                <a:xfrm>
                  <a:off x="6249409" y="2636045"/>
                  <a:ext cx="85725" cy="97630"/>
                </a:xfrm>
                <a:prstGeom prst="rect">
                  <a:avLst/>
                </a:prstGeom>
                <a:solidFill>
                  <a:srgbClr val="F0F0F0"/>
                </a:solidFill>
                <a:ln w="9525">
                  <a:solidFill>
                    <a:srgbClr val="B7B4B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5" name="Ovaal 154">
                  <a:extLst>
                    <a:ext uri="{FF2B5EF4-FFF2-40B4-BE49-F238E27FC236}">
                      <a16:creationId xmlns:a16="http://schemas.microsoft.com/office/drawing/2014/main" id="{06619973-BFF6-44F8-B734-9D033EFA4A99}"/>
                    </a:ext>
                  </a:extLst>
                </p:cNvPr>
                <p:cNvSpPr/>
                <p:nvPr userDrawn="1"/>
              </p:nvSpPr>
              <p:spPr>
                <a:xfrm>
                  <a:off x="6297938" y="2655636"/>
                  <a:ext cx="21328" cy="21328"/>
                </a:xfrm>
                <a:prstGeom prst="ellipse">
                  <a:avLst/>
                </a:prstGeom>
                <a:solidFill>
                  <a:srgbClr val="E9C07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sp>
              <p:nvSpPr>
                <p:cNvPr id="156" name="Rechthoek 47">
                  <a:extLst>
                    <a:ext uri="{FF2B5EF4-FFF2-40B4-BE49-F238E27FC236}">
                      <a16:creationId xmlns:a16="http://schemas.microsoft.com/office/drawing/2014/main" id="{A8C70D0A-5D59-4D31-B60F-60DE6944507A}"/>
                    </a:ext>
                  </a:extLst>
                </p:cNvPr>
                <p:cNvSpPr/>
                <p:nvPr userDrawn="1"/>
              </p:nvSpPr>
              <p:spPr>
                <a:xfrm>
                  <a:off x="6261434" y="2675670"/>
                  <a:ext cx="45896" cy="37785"/>
                </a:xfrm>
                <a:custGeom>
                  <a:avLst/>
                  <a:gdLst>
                    <a:gd name="connsiteX0" fmla="*/ 0 w 148606"/>
                    <a:gd name="connsiteY0" fmla="*/ 0 h 148606"/>
                    <a:gd name="connsiteX1" fmla="*/ 148606 w 148606"/>
                    <a:gd name="connsiteY1" fmla="*/ 0 h 148606"/>
                    <a:gd name="connsiteX2" fmla="*/ 148606 w 148606"/>
                    <a:gd name="connsiteY2" fmla="*/ 148606 h 148606"/>
                    <a:gd name="connsiteX3" fmla="*/ 0 w 148606"/>
                    <a:gd name="connsiteY3" fmla="*/ 148606 h 148606"/>
                    <a:gd name="connsiteX4" fmla="*/ 0 w 148606"/>
                    <a:gd name="connsiteY4" fmla="*/ 0 h 148606"/>
                    <a:gd name="connsiteX0" fmla="*/ 0 w 148606"/>
                    <a:gd name="connsiteY0" fmla="*/ 0 h 148606"/>
                    <a:gd name="connsiteX1" fmla="*/ 148606 w 148606"/>
                    <a:gd name="connsiteY1" fmla="*/ 148606 h 148606"/>
                    <a:gd name="connsiteX2" fmla="*/ 0 w 148606"/>
                    <a:gd name="connsiteY2" fmla="*/ 148606 h 148606"/>
                    <a:gd name="connsiteX3" fmla="*/ 0 w 148606"/>
                    <a:gd name="connsiteY3" fmla="*/ 0 h 148606"/>
                    <a:gd name="connsiteX0" fmla="*/ 66675 w 148606"/>
                    <a:gd name="connsiteY0" fmla="*/ 0 h 148606"/>
                    <a:gd name="connsiteX1" fmla="*/ 148606 w 148606"/>
                    <a:gd name="connsiteY1" fmla="*/ 148606 h 148606"/>
                    <a:gd name="connsiteX2" fmla="*/ 0 w 148606"/>
                    <a:gd name="connsiteY2" fmla="*/ 148606 h 148606"/>
                    <a:gd name="connsiteX3" fmla="*/ 66675 w 148606"/>
                    <a:gd name="connsiteY3" fmla="*/ 0 h 148606"/>
                    <a:gd name="connsiteX0" fmla="*/ 71437 w 148606"/>
                    <a:gd name="connsiteY0" fmla="*/ 0 h 120031"/>
                    <a:gd name="connsiteX1" fmla="*/ 148606 w 148606"/>
                    <a:gd name="connsiteY1" fmla="*/ 120031 h 120031"/>
                    <a:gd name="connsiteX2" fmla="*/ 0 w 148606"/>
                    <a:gd name="connsiteY2" fmla="*/ 120031 h 120031"/>
                    <a:gd name="connsiteX3" fmla="*/ 71437 w 148606"/>
                    <a:gd name="connsiteY3" fmla="*/ 0 h 120031"/>
                    <a:gd name="connsiteX0" fmla="*/ 73234 w 151858"/>
                    <a:gd name="connsiteY0" fmla="*/ 0 h 120031"/>
                    <a:gd name="connsiteX1" fmla="*/ 150403 w 151858"/>
                    <a:gd name="connsiteY1" fmla="*/ 120031 h 120031"/>
                    <a:gd name="connsiteX2" fmla="*/ 1797 w 151858"/>
                    <a:gd name="connsiteY2" fmla="*/ 120031 h 120031"/>
                    <a:gd name="connsiteX3" fmla="*/ 73234 w 151858"/>
                    <a:gd name="connsiteY3" fmla="*/ 0 h 120031"/>
                    <a:gd name="connsiteX0" fmla="*/ 73583 w 152474"/>
                    <a:gd name="connsiteY0" fmla="*/ 40 h 120071"/>
                    <a:gd name="connsiteX1" fmla="*/ 150752 w 152474"/>
                    <a:gd name="connsiteY1" fmla="*/ 120071 h 120071"/>
                    <a:gd name="connsiteX2" fmla="*/ 2146 w 152474"/>
                    <a:gd name="connsiteY2" fmla="*/ 120071 h 120071"/>
                    <a:gd name="connsiteX3" fmla="*/ 73583 w 152474"/>
                    <a:gd name="connsiteY3" fmla="*/ 40 h 120071"/>
                    <a:gd name="connsiteX0" fmla="*/ 73583 w 152474"/>
                    <a:gd name="connsiteY0" fmla="*/ 35 h 136734"/>
                    <a:gd name="connsiteX1" fmla="*/ 150752 w 152474"/>
                    <a:gd name="connsiteY1" fmla="*/ 136734 h 136734"/>
                    <a:gd name="connsiteX2" fmla="*/ 2146 w 152474"/>
                    <a:gd name="connsiteY2" fmla="*/ 136734 h 136734"/>
                    <a:gd name="connsiteX3" fmla="*/ 73583 w 152474"/>
                    <a:gd name="connsiteY3" fmla="*/ 35 h 136734"/>
                  </a:gdLst>
                  <a:ahLst/>
                  <a:cxnLst>
                    <a:cxn ang="0">
                      <a:pos x="connsiteX0" y="connsiteY0"/>
                    </a:cxn>
                    <a:cxn ang="0">
                      <a:pos x="connsiteX1" y="connsiteY1"/>
                    </a:cxn>
                    <a:cxn ang="0">
                      <a:pos x="connsiteX2" y="connsiteY2"/>
                    </a:cxn>
                    <a:cxn ang="0">
                      <a:pos x="connsiteX3" y="connsiteY3"/>
                    </a:cxn>
                  </a:cxnLst>
                  <a:rect l="l" t="t" r="r" b="b"/>
                  <a:pathLst>
                    <a:path w="152474" h="136734">
                      <a:moveTo>
                        <a:pt x="73583" y="35"/>
                      </a:moveTo>
                      <a:cubicBezTo>
                        <a:pt x="110257" y="-2347"/>
                        <a:pt x="162658" y="116729"/>
                        <a:pt x="150752" y="136734"/>
                      </a:cubicBezTo>
                      <a:lnTo>
                        <a:pt x="2146" y="136734"/>
                      </a:lnTo>
                      <a:cubicBezTo>
                        <a:pt x="-10716" y="116729"/>
                        <a:pt x="36909" y="2417"/>
                        <a:pt x="73583" y="35"/>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23919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43">
          <p15:clr>
            <a:srgbClr val="FBAE40"/>
          </p15:clr>
        </p15:guide>
        <p15:guide id="2" pos="7537">
          <p15:clr>
            <a:srgbClr val="FBAE40"/>
          </p15:clr>
        </p15:guide>
        <p15:guide id="3" orient="horz" pos="142">
          <p15:clr>
            <a:srgbClr val="FBAE40"/>
          </p15:clr>
        </p15:guide>
        <p15:guide id="5" orient="horz" pos="417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logo slide">
    <p:bg>
      <p:bgPr>
        <a:solidFill>
          <a:schemeClr val="bg1"/>
        </a:solidFill>
        <a:effectLst/>
      </p:bgPr>
    </p:bg>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C55560A7-617C-42BB-A2DA-99C56283E2B4}"/>
              </a:ext>
            </a:extLst>
          </p:cNvPr>
          <p:cNvGrpSpPr>
            <a:grpSpLocks noChangeAspect="1"/>
          </p:cNvGrpSpPr>
          <p:nvPr userDrawn="1"/>
        </p:nvGrpSpPr>
        <p:grpSpPr bwMode="auto">
          <a:xfrm>
            <a:off x="3741738" y="2684463"/>
            <a:ext cx="4708525" cy="1489075"/>
            <a:chOff x="2355" y="1691"/>
            <a:chExt cx="2966" cy="938"/>
          </a:xfrm>
          <a:solidFill>
            <a:schemeClr val="accent1"/>
          </a:solidFill>
        </p:grpSpPr>
        <p:sp>
          <p:nvSpPr>
            <p:cNvPr id="9" name="Freeform 5">
              <a:extLst>
                <a:ext uri="{FF2B5EF4-FFF2-40B4-BE49-F238E27FC236}">
                  <a16:creationId xmlns:a16="http://schemas.microsoft.com/office/drawing/2014/main" id="{730E024F-7881-4E68-93FE-2EDBD495757B}"/>
                </a:ext>
              </a:extLst>
            </p:cNvPr>
            <p:cNvSpPr>
              <a:spLocks/>
            </p:cNvSpPr>
            <p:nvPr userDrawn="1"/>
          </p:nvSpPr>
          <p:spPr bwMode="auto">
            <a:xfrm>
              <a:off x="3467" y="1704"/>
              <a:ext cx="258" cy="392"/>
            </a:xfrm>
            <a:custGeom>
              <a:avLst/>
              <a:gdLst>
                <a:gd name="T0" fmla="*/ 0 w 258"/>
                <a:gd name="T1" fmla="*/ 55 h 392"/>
                <a:gd name="T2" fmla="*/ 0 w 258"/>
                <a:gd name="T3" fmla="*/ 0 h 392"/>
                <a:gd name="T4" fmla="*/ 258 w 258"/>
                <a:gd name="T5" fmla="*/ 0 h 392"/>
                <a:gd name="T6" fmla="*/ 258 w 258"/>
                <a:gd name="T7" fmla="*/ 61 h 392"/>
                <a:gd name="T8" fmla="*/ 76 w 258"/>
                <a:gd name="T9" fmla="*/ 324 h 392"/>
                <a:gd name="T10" fmla="*/ 76 w 258"/>
                <a:gd name="T11" fmla="*/ 337 h 392"/>
                <a:gd name="T12" fmla="*/ 258 w 258"/>
                <a:gd name="T13" fmla="*/ 337 h 392"/>
                <a:gd name="T14" fmla="*/ 258 w 258"/>
                <a:gd name="T15" fmla="*/ 392 h 392"/>
                <a:gd name="T16" fmla="*/ 0 w 258"/>
                <a:gd name="T17" fmla="*/ 392 h 392"/>
                <a:gd name="T18" fmla="*/ 0 w 258"/>
                <a:gd name="T19" fmla="*/ 331 h 392"/>
                <a:gd name="T20" fmla="*/ 180 w 258"/>
                <a:gd name="T21" fmla="*/ 67 h 392"/>
                <a:gd name="T22" fmla="*/ 180 w 258"/>
                <a:gd name="T23" fmla="*/ 55 h 392"/>
                <a:gd name="T24" fmla="*/ 0 w 258"/>
                <a:gd name="T25" fmla="*/ 5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 h="392">
                  <a:moveTo>
                    <a:pt x="0" y="55"/>
                  </a:moveTo>
                  <a:lnTo>
                    <a:pt x="0" y="0"/>
                  </a:lnTo>
                  <a:lnTo>
                    <a:pt x="258" y="0"/>
                  </a:lnTo>
                  <a:lnTo>
                    <a:pt x="258" y="61"/>
                  </a:lnTo>
                  <a:lnTo>
                    <a:pt x="76" y="324"/>
                  </a:lnTo>
                  <a:lnTo>
                    <a:pt x="76" y="337"/>
                  </a:lnTo>
                  <a:lnTo>
                    <a:pt x="258" y="337"/>
                  </a:lnTo>
                  <a:lnTo>
                    <a:pt x="258" y="392"/>
                  </a:lnTo>
                  <a:lnTo>
                    <a:pt x="0" y="392"/>
                  </a:lnTo>
                  <a:lnTo>
                    <a:pt x="0" y="331"/>
                  </a:lnTo>
                  <a:lnTo>
                    <a:pt x="180" y="67"/>
                  </a:lnTo>
                  <a:lnTo>
                    <a:pt x="180" y="55"/>
                  </a:lnTo>
                  <a:lnTo>
                    <a:pt x="0"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2" name="Freeform 6">
              <a:extLst>
                <a:ext uri="{FF2B5EF4-FFF2-40B4-BE49-F238E27FC236}">
                  <a16:creationId xmlns:a16="http://schemas.microsoft.com/office/drawing/2014/main" id="{CAE8FDAF-F9F0-4C67-AF37-20B3A9523639}"/>
                </a:ext>
              </a:extLst>
            </p:cNvPr>
            <p:cNvSpPr>
              <a:spLocks noEditPoints="1"/>
            </p:cNvSpPr>
            <p:nvPr userDrawn="1"/>
          </p:nvSpPr>
          <p:spPr bwMode="auto">
            <a:xfrm>
              <a:off x="3779" y="1695"/>
              <a:ext cx="63" cy="401"/>
            </a:xfrm>
            <a:custGeom>
              <a:avLst/>
              <a:gdLst>
                <a:gd name="T0" fmla="*/ 0 w 63"/>
                <a:gd name="T1" fmla="*/ 0 h 401"/>
                <a:gd name="T2" fmla="*/ 63 w 63"/>
                <a:gd name="T3" fmla="*/ 0 h 401"/>
                <a:gd name="T4" fmla="*/ 63 w 63"/>
                <a:gd name="T5" fmla="*/ 66 h 401"/>
                <a:gd name="T6" fmla="*/ 0 w 63"/>
                <a:gd name="T7" fmla="*/ 66 h 401"/>
                <a:gd name="T8" fmla="*/ 0 w 63"/>
                <a:gd name="T9" fmla="*/ 0 h 401"/>
                <a:gd name="T10" fmla="*/ 0 w 63"/>
                <a:gd name="T11" fmla="*/ 114 h 401"/>
                <a:gd name="T12" fmla="*/ 63 w 63"/>
                <a:gd name="T13" fmla="*/ 114 h 401"/>
                <a:gd name="T14" fmla="*/ 63 w 63"/>
                <a:gd name="T15" fmla="*/ 401 h 401"/>
                <a:gd name="T16" fmla="*/ 0 w 63"/>
                <a:gd name="T17" fmla="*/ 401 h 401"/>
                <a:gd name="T18" fmla="*/ 0 w 63"/>
                <a:gd name="T19" fmla="*/ 11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6"/>
                  </a:lnTo>
                  <a:lnTo>
                    <a:pt x="0" y="66"/>
                  </a:lnTo>
                  <a:lnTo>
                    <a:pt x="0" y="0"/>
                  </a:lnTo>
                  <a:close/>
                  <a:moveTo>
                    <a:pt x="0" y="114"/>
                  </a:moveTo>
                  <a:lnTo>
                    <a:pt x="63" y="114"/>
                  </a:lnTo>
                  <a:lnTo>
                    <a:pt x="63" y="401"/>
                  </a:lnTo>
                  <a:lnTo>
                    <a:pt x="0" y="401"/>
                  </a:lnTo>
                  <a:lnTo>
                    <a:pt x="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3" name="Rectangle 7">
              <a:extLst>
                <a:ext uri="{FF2B5EF4-FFF2-40B4-BE49-F238E27FC236}">
                  <a16:creationId xmlns:a16="http://schemas.microsoft.com/office/drawing/2014/main" id="{4B2C3E07-93FC-4083-BC1C-572440AD51A4}"/>
                </a:ext>
              </a:extLst>
            </p:cNvPr>
            <p:cNvSpPr>
              <a:spLocks noChangeArrowheads="1"/>
            </p:cNvSpPr>
            <p:nvPr userDrawn="1"/>
          </p:nvSpPr>
          <p:spPr bwMode="auto">
            <a:xfrm>
              <a:off x="3913" y="1691"/>
              <a:ext cx="63" cy="40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4" name="Freeform 8">
              <a:extLst>
                <a:ext uri="{FF2B5EF4-FFF2-40B4-BE49-F238E27FC236}">
                  <a16:creationId xmlns:a16="http://schemas.microsoft.com/office/drawing/2014/main" id="{706BC848-822C-4520-8110-EF2E152A8599}"/>
                </a:ext>
              </a:extLst>
            </p:cNvPr>
            <p:cNvSpPr>
              <a:spLocks/>
            </p:cNvSpPr>
            <p:nvPr userDrawn="1"/>
          </p:nvSpPr>
          <p:spPr bwMode="auto">
            <a:xfrm>
              <a:off x="4022" y="1809"/>
              <a:ext cx="258" cy="287"/>
            </a:xfrm>
            <a:custGeom>
              <a:avLst/>
              <a:gdLst>
                <a:gd name="T0" fmla="*/ 0 w 258"/>
                <a:gd name="T1" fmla="*/ 0 h 287"/>
                <a:gd name="T2" fmla="*/ 65 w 258"/>
                <a:gd name="T3" fmla="*/ 0 h 287"/>
                <a:gd name="T4" fmla="*/ 120 w 258"/>
                <a:gd name="T5" fmla="*/ 234 h 287"/>
                <a:gd name="T6" fmla="*/ 139 w 258"/>
                <a:gd name="T7" fmla="*/ 234 h 287"/>
                <a:gd name="T8" fmla="*/ 195 w 258"/>
                <a:gd name="T9" fmla="*/ 0 h 287"/>
                <a:gd name="T10" fmla="*/ 258 w 258"/>
                <a:gd name="T11" fmla="*/ 0 h 287"/>
                <a:gd name="T12" fmla="*/ 185 w 258"/>
                <a:gd name="T13" fmla="*/ 287 h 287"/>
                <a:gd name="T14" fmla="*/ 74 w 258"/>
                <a:gd name="T15" fmla="*/ 287 h 287"/>
                <a:gd name="T16" fmla="*/ 0 w 258"/>
                <a:gd name="T1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8" h="287">
                  <a:moveTo>
                    <a:pt x="0" y="0"/>
                  </a:moveTo>
                  <a:lnTo>
                    <a:pt x="65" y="0"/>
                  </a:lnTo>
                  <a:lnTo>
                    <a:pt x="120" y="234"/>
                  </a:lnTo>
                  <a:lnTo>
                    <a:pt x="139" y="234"/>
                  </a:lnTo>
                  <a:lnTo>
                    <a:pt x="195" y="0"/>
                  </a:lnTo>
                  <a:lnTo>
                    <a:pt x="258" y="0"/>
                  </a:lnTo>
                  <a:lnTo>
                    <a:pt x="185" y="287"/>
                  </a:lnTo>
                  <a:lnTo>
                    <a:pt x="74" y="28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5" name="Freeform 9">
              <a:extLst>
                <a:ext uri="{FF2B5EF4-FFF2-40B4-BE49-F238E27FC236}">
                  <a16:creationId xmlns:a16="http://schemas.microsoft.com/office/drawing/2014/main" id="{B21F6CD9-AF7A-46B8-80D5-E25DA9669C61}"/>
                </a:ext>
              </a:extLst>
            </p:cNvPr>
            <p:cNvSpPr>
              <a:spLocks noEditPoints="1"/>
            </p:cNvSpPr>
            <p:nvPr userDrawn="1"/>
          </p:nvSpPr>
          <p:spPr bwMode="auto">
            <a:xfrm>
              <a:off x="4305" y="1803"/>
              <a:ext cx="243" cy="299"/>
            </a:xfrm>
            <a:custGeom>
              <a:avLst/>
              <a:gdLst>
                <a:gd name="T0" fmla="*/ 103 w 116"/>
                <a:gd name="T1" fmla="*/ 115 h 142"/>
                <a:gd name="T2" fmla="*/ 110 w 116"/>
                <a:gd name="T3" fmla="*/ 114 h 142"/>
                <a:gd name="T4" fmla="*/ 111 w 116"/>
                <a:gd name="T5" fmla="*/ 136 h 142"/>
                <a:gd name="T6" fmla="*/ 56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3 w 116"/>
                <a:gd name="T23" fmla="*/ 116 h 142"/>
                <a:gd name="T24" fmla="*/ 103 w 116"/>
                <a:gd name="T25" fmla="*/ 115 h 142"/>
                <a:gd name="T26" fmla="*/ 87 w 116"/>
                <a:gd name="T27" fmla="*/ 61 h 142"/>
                <a:gd name="T28" fmla="*/ 80 w 116"/>
                <a:gd name="T29" fmla="*/ 33 h 142"/>
                <a:gd name="T30" fmla="*/ 59 w 116"/>
                <a:gd name="T31" fmla="*/ 25 h 142"/>
                <a:gd name="T32" fmla="*/ 37 w 116"/>
                <a:gd name="T33" fmla="*/ 33 h 142"/>
                <a:gd name="T34" fmla="*/ 29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0" y="114"/>
                    <a:pt x="110" y="114"/>
                    <a:pt x="110" y="114"/>
                  </a:cubicBezTo>
                  <a:cubicBezTo>
                    <a:pt x="111" y="136"/>
                    <a:pt x="111" y="136"/>
                    <a:pt x="111" y="136"/>
                  </a:cubicBezTo>
                  <a:cubicBezTo>
                    <a:pt x="90" y="140"/>
                    <a:pt x="72" y="142"/>
                    <a:pt x="56" y="142"/>
                  </a:cubicBezTo>
                  <a:cubicBezTo>
                    <a:pt x="36" y="142"/>
                    <a:pt x="22" y="136"/>
                    <a:pt x="13" y="125"/>
                  </a:cubicBezTo>
                  <a:cubicBezTo>
                    <a:pt x="4" y="114"/>
                    <a:pt x="0" y="97"/>
                    <a:pt x="0" y="72"/>
                  </a:cubicBezTo>
                  <a:cubicBezTo>
                    <a:pt x="0" y="24"/>
                    <a:pt x="19" y="0"/>
                    <a:pt x="59" y="0"/>
                  </a:cubicBezTo>
                  <a:cubicBezTo>
                    <a:pt x="97" y="0"/>
                    <a:pt x="116" y="21"/>
                    <a:pt x="116" y="62"/>
                  </a:cubicBezTo>
                  <a:cubicBezTo>
                    <a:pt x="114" y="84"/>
                    <a:pt x="114" y="84"/>
                    <a:pt x="114" y="84"/>
                  </a:cubicBezTo>
                  <a:cubicBezTo>
                    <a:pt x="30" y="84"/>
                    <a:pt x="30" y="84"/>
                    <a:pt x="30" y="84"/>
                  </a:cubicBezTo>
                  <a:cubicBezTo>
                    <a:pt x="30" y="95"/>
                    <a:pt x="32" y="103"/>
                    <a:pt x="37" y="108"/>
                  </a:cubicBezTo>
                  <a:cubicBezTo>
                    <a:pt x="42" y="114"/>
                    <a:pt x="50" y="116"/>
                    <a:pt x="63" y="116"/>
                  </a:cubicBezTo>
                  <a:cubicBezTo>
                    <a:pt x="76" y="116"/>
                    <a:pt x="89" y="116"/>
                    <a:pt x="103" y="115"/>
                  </a:cubicBezTo>
                  <a:moveTo>
                    <a:pt x="87" y="61"/>
                  </a:moveTo>
                  <a:cubicBezTo>
                    <a:pt x="87" y="47"/>
                    <a:pt x="84" y="38"/>
                    <a:pt x="80" y="33"/>
                  </a:cubicBezTo>
                  <a:cubicBezTo>
                    <a:pt x="76" y="27"/>
                    <a:pt x="69" y="25"/>
                    <a:pt x="59" y="25"/>
                  </a:cubicBezTo>
                  <a:cubicBezTo>
                    <a:pt x="48" y="25"/>
                    <a:pt x="41" y="27"/>
                    <a:pt x="37" y="33"/>
                  </a:cubicBezTo>
                  <a:cubicBezTo>
                    <a:pt x="32" y="39"/>
                    <a:pt x="29" y="48"/>
                    <a:pt x="29" y="61"/>
                  </a:cubicBezTo>
                  <a:lnTo>
                    <a:pt x="8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6" name="Freeform 10">
              <a:extLst>
                <a:ext uri="{FF2B5EF4-FFF2-40B4-BE49-F238E27FC236}">
                  <a16:creationId xmlns:a16="http://schemas.microsoft.com/office/drawing/2014/main" id="{23BF059E-0C06-44BF-8D8D-8391FB9BAE79}"/>
                </a:ext>
              </a:extLst>
            </p:cNvPr>
            <p:cNvSpPr>
              <a:spLocks/>
            </p:cNvSpPr>
            <p:nvPr userDrawn="1"/>
          </p:nvSpPr>
          <p:spPr bwMode="auto">
            <a:xfrm>
              <a:off x="4600" y="1803"/>
              <a:ext cx="160" cy="293"/>
            </a:xfrm>
            <a:custGeom>
              <a:avLst/>
              <a:gdLst>
                <a:gd name="T0" fmla="*/ 0 w 76"/>
                <a:gd name="T1" fmla="*/ 139 h 139"/>
                <a:gd name="T2" fmla="*/ 0 w 76"/>
                <a:gd name="T3" fmla="*/ 3 h 139"/>
                <a:gd name="T4" fmla="*/ 30 w 76"/>
                <a:gd name="T5" fmla="*/ 3 h 139"/>
                <a:gd name="T6" fmla="*/ 30 w 76"/>
                <a:gd name="T7" fmla="*/ 20 h 139"/>
                <a:gd name="T8" fmla="*/ 76 w 76"/>
                <a:gd name="T9" fmla="*/ 0 h 139"/>
                <a:gd name="T10" fmla="*/ 76 w 76"/>
                <a:gd name="T11" fmla="*/ 30 h 139"/>
                <a:gd name="T12" fmla="*/ 36 w 76"/>
                <a:gd name="T13" fmla="*/ 42 h 139"/>
                <a:gd name="T14" fmla="*/ 30 w 76"/>
                <a:gd name="T15" fmla="*/ 44 h 139"/>
                <a:gd name="T16" fmla="*/ 30 w 76"/>
                <a:gd name="T17" fmla="*/ 139 h 139"/>
                <a:gd name="T18" fmla="*/ 0 w 76"/>
                <a:gd name="T19"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9">
                  <a:moveTo>
                    <a:pt x="0" y="139"/>
                  </a:moveTo>
                  <a:cubicBezTo>
                    <a:pt x="0" y="3"/>
                    <a:pt x="0" y="3"/>
                    <a:pt x="0" y="3"/>
                  </a:cubicBezTo>
                  <a:cubicBezTo>
                    <a:pt x="30" y="3"/>
                    <a:pt x="30" y="3"/>
                    <a:pt x="30" y="3"/>
                  </a:cubicBezTo>
                  <a:cubicBezTo>
                    <a:pt x="30" y="20"/>
                    <a:pt x="30" y="20"/>
                    <a:pt x="30" y="20"/>
                  </a:cubicBezTo>
                  <a:cubicBezTo>
                    <a:pt x="45" y="10"/>
                    <a:pt x="60" y="3"/>
                    <a:pt x="76" y="0"/>
                  </a:cubicBezTo>
                  <a:cubicBezTo>
                    <a:pt x="76" y="30"/>
                    <a:pt x="76" y="30"/>
                    <a:pt x="76" y="30"/>
                  </a:cubicBezTo>
                  <a:cubicBezTo>
                    <a:pt x="60" y="33"/>
                    <a:pt x="47" y="37"/>
                    <a:pt x="36" y="42"/>
                  </a:cubicBezTo>
                  <a:cubicBezTo>
                    <a:pt x="30" y="44"/>
                    <a:pt x="30" y="44"/>
                    <a:pt x="30" y="44"/>
                  </a:cubicBezTo>
                  <a:cubicBezTo>
                    <a:pt x="30" y="139"/>
                    <a:pt x="30" y="139"/>
                    <a:pt x="30" y="139"/>
                  </a:cubicBezTo>
                  <a:lnTo>
                    <a:pt x="0"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7" name="Freeform 11">
              <a:extLst>
                <a:ext uri="{FF2B5EF4-FFF2-40B4-BE49-F238E27FC236}">
                  <a16:creationId xmlns:a16="http://schemas.microsoft.com/office/drawing/2014/main" id="{2C1EEFF2-94D3-4313-A4A9-04AC06C7D753}"/>
                </a:ext>
              </a:extLst>
            </p:cNvPr>
            <p:cNvSpPr>
              <a:spLocks noEditPoints="1"/>
            </p:cNvSpPr>
            <p:nvPr userDrawn="1"/>
          </p:nvSpPr>
          <p:spPr bwMode="auto">
            <a:xfrm>
              <a:off x="4785" y="1803"/>
              <a:ext cx="243" cy="299"/>
            </a:xfrm>
            <a:custGeom>
              <a:avLst/>
              <a:gdLst>
                <a:gd name="T0" fmla="*/ 103 w 116"/>
                <a:gd name="T1" fmla="*/ 115 h 142"/>
                <a:gd name="T2" fmla="*/ 111 w 116"/>
                <a:gd name="T3" fmla="*/ 114 h 142"/>
                <a:gd name="T4" fmla="*/ 111 w 116"/>
                <a:gd name="T5" fmla="*/ 136 h 142"/>
                <a:gd name="T6" fmla="*/ 57 w 116"/>
                <a:gd name="T7" fmla="*/ 142 h 142"/>
                <a:gd name="T8" fmla="*/ 13 w 116"/>
                <a:gd name="T9" fmla="*/ 125 h 142"/>
                <a:gd name="T10" fmla="*/ 0 w 116"/>
                <a:gd name="T11" fmla="*/ 72 h 142"/>
                <a:gd name="T12" fmla="*/ 59 w 116"/>
                <a:gd name="T13" fmla="*/ 0 h 142"/>
                <a:gd name="T14" fmla="*/ 116 w 116"/>
                <a:gd name="T15" fmla="*/ 62 h 142"/>
                <a:gd name="T16" fmla="*/ 114 w 116"/>
                <a:gd name="T17" fmla="*/ 84 h 142"/>
                <a:gd name="T18" fmla="*/ 30 w 116"/>
                <a:gd name="T19" fmla="*/ 84 h 142"/>
                <a:gd name="T20" fmla="*/ 37 w 116"/>
                <a:gd name="T21" fmla="*/ 108 h 142"/>
                <a:gd name="T22" fmla="*/ 64 w 116"/>
                <a:gd name="T23" fmla="*/ 116 h 142"/>
                <a:gd name="T24" fmla="*/ 103 w 116"/>
                <a:gd name="T25" fmla="*/ 115 h 142"/>
                <a:gd name="T26" fmla="*/ 87 w 116"/>
                <a:gd name="T27" fmla="*/ 61 h 142"/>
                <a:gd name="T28" fmla="*/ 81 w 116"/>
                <a:gd name="T29" fmla="*/ 33 h 142"/>
                <a:gd name="T30" fmla="*/ 59 w 116"/>
                <a:gd name="T31" fmla="*/ 25 h 142"/>
                <a:gd name="T32" fmla="*/ 37 w 116"/>
                <a:gd name="T33" fmla="*/ 33 h 142"/>
                <a:gd name="T34" fmla="*/ 30 w 116"/>
                <a:gd name="T35" fmla="*/ 61 h 142"/>
                <a:gd name="T36" fmla="*/ 87 w 116"/>
                <a:gd name="T37" fmla="*/ 6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42">
                  <a:moveTo>
                    <a:pt x="103" y="115"/>
                  </a:moveTo>
                  <a:cubicBezTo>
                    <a:pt x="111" y="114"/>
                    <a:pt x="111" y="114"/>
                    <a:pt x="111" y="114"/>
                  </a:cubicBezTo>
                  <a:cubicBezTo>
                    <a:pt x="111" y="136"/>
                    <a:pt x="111" y="136"/>
                    <a:pt x="111" y="136"/>
                  </a:cubicBezTo>
                  <a:cubicBezTo>
                    <a:pt x="91" y="140"/>
                    <a:pt x="72" y="142"/>
                    <a:pt x="57" y="142"/>
                  </a:cubicBezTo>
                  <a:cubicBezTo>
                    <a:pt x="36" y="142"/>
                    <a:pt x="22" y="136"/>
                    <a:pt x="13" y="125"/>
                  </a:cubicBezTo>
                  <a:cubicBezTo>
                    <a:pt x="4" y="114"/>
                    <a:pt x="0" y="97"/>
                    <a:pt x="0" y="72"/>
                  </a:cubicBezTo>
                  <a:cubicBezTo>
                    <a:pt x="0" y="24"/>
                    <a:pt x="20" y="0"/>
                    <a:pt x="59" y="0"/>
                  </a:cubicBezTo>
                  <a:cubicBezTo>
                    <a:pt x="97" y="0"/>
                    <a:pt x="116" y="21"/>
                    <a:pt x="116" y="62"/>
                  </a:cubicBezTo>
                  <a:cubicBezTo>
                    <a:pt x="114" y="84"/>
                    <a:pt x="114" y="84"/>
                    <a:pt x="114" y="84"/>
                  </a:cubicBezTo>
                  <a:cubicBezTo>
                    <a:pt x="30" y="84"/>
                    <a:pt x="30" y="84"/>
                    <a:pt x="30" y="84"/>
                  </a:cubicBezTo>
                  <a:cubicBezTo>
                    <a:pt x="30" y="95"/>
                    <a:pt x="33" y="103"/>
                    <a:pt x="37" y="108"/>
                  </a:cubicBezTo>
                  <a:cubicBezTo>
                    <a:pt x="42" y="114"/>
                    <a:pt x="51" y="116"/>
                    <a:pt x="64" y="116"/>
                  </a:cubicBezTo>
                  <a:cubicBezTo>
                    <a:pt x="76" y="116"/>
                    <a:pt x="90" y="116"/>
                    <a:pt x="103" y="115"/>
                  </a:cubicBezTo>
                  <a:moveTo>
                    <a:pt x="87" y="61"/>
                  </a:moveTo>
                  <a:cubicBezTo>
                    <a:pt x="87" y="47"/>
                    <a:pt x="85" y="38"/>
                    <a:pt x="81" y="33"/>
                  </a:cubicBezTo>
                  <a:cubicBezTo>
                    <a:pt x="76" y="27"/>
                    <a:pt x="69" y="25"/>
                    <a:pt x="59" y="25"/>
                  </a:cubicBezTo>
                  <a:cubicBezTo>
                    <a:pt x="49" y="25"/>
                    <a:pt x="41" y="27"/>
                    <a:pt x="37" y="33"/>
                  </a:cubicBezTo>
                  <a:cubicBezTo>
                    <a:pt x="32" y="39"/>
                    <a:pt x="30" y="48"/>
                    <a:pt x="30" y="61"/>
                  </a:cubicBezTo>
                  <a:lnTo>
                    <a:pt x="8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8" name="Freeform 12">
              <a:extLst>
                <a:ext uri="{FF2B5EF4-FFF2-40B4-BE49-F238E27FC236}">
                  <a16:creationId xmlns:a16="http://schemas.microsoft.com/office/drawing/2014/main" id="{4AE128BA-B69F-44AB-875A-5AA57064FED4}"/>
                </a:ext>
              </a:extLst>
            </p:cNvPr>
            <p:cNvSpPr>
              <a:spLocks/>
            </p:cNvSpPr>
            <p:nvPr userDrawn="1"/>
          </p:nvSpPr>
          <p:spPr bwMode="auto">
            <a:xfrm>
              <a:off x="5082" y="1803"/>
              <a:ext cx="239" cy="293"/>
            </a:xfrm>
            <a:custGeom>
              <a:avLst/>
              <a:gdLst>
                <a:gd name="T0" fmla="*/ 29 w 114"/>
                <a:gd name="T1" fmla="*/ 139 h 139"/>
                <a:gd name="T2" fmla="*/ 0 w 114"/>
                <a:gd name="T3" fmla="*/ 139 h 139"/>
                <a:gd name="T4" fmla="*/ 0 w 114"/>
                <a:gd name="T5" fmla="*/ 3 h 139"/>
                <a:gd name="T6" fmla="*/ 29 w 114"/>
                <a:gd name="T7" fmla="*/ 3 h 139"/>
                <a:gd name="T8" fmla="*/ 29 w 114"/>
                <a:gd name="T9" fmla="*/ 12 h 139"/>
                <a:gd name="T10" fmla="*/ 67 w 114"/>
                <a:gd name="T11" fmla="*/ 0 h 139"/>
                <a:gd name="T12" fmla="*/ 104 w 114"/>
                <a:gd name="T13" fmla="*/ 16 h 139"/>
                <a:gd name="T14" fmla="*/ 114 w 114"/>
                <a:gd name="T15" fmla="*/ 66 h 139"/>
                <a:gd name="T16" fmla="*/ 114 w 114"/>
                <a:gd name="T17" fmla="*/ 139 h 139"/>
                <a:gd name="T18" fmla="*/ 84 w 114"/>
                <a:gd name="T19" fmla="*/ 139 h 139"/>
                <a:gd name="T20" fmla="*/ 84 w 114"/>
                <a:gd name="T21" fmla="*/ 67 h 139"/>
                <a:gd name="T22" fmla="*/ 79 w 114"/>
                <a:gd name="T23" fmla="*/ 36 h 139"/>
                <a:gd name="T24" fmla="*/ 60 w 114"/>
                <a:gd name="T25" fmla="*/ 27 h 139"/>
                <a:gd name="T26" fmla="*/ 33 w 114"/>
                <a:gd name="T27" fmla="*/ 32 h 139"/>
                <a:gd name="T28" fmla="*/ 29 w 114"/>
                <a:gd name="T29" fmla="*/ 34 h 139"/>
                <a:gd name="T30" fmla="*/ 29 w 114"/>
                <a:gd name="T3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39">
                  <a:moveTo>
                    <a:pt x="29" y="139"/>
                  </a:moveTo>
                  <a:cubicBezTo>
                    <a:pt x="0" y="139"/>
                    <a:pt x="0" y="139"/>
                    <a:pt x="0" y="139"/>
                  </a:cubicBezTo>
                  <a:cubicBezTo>
                    <a:pt x="0" y="3"/>
                    <a:pt x="0" y="3"/>
                    <a:pt x="0" y="3"/>
                  </a:cubicBezTo>
                  <a:cubicBezTo>
                    <a:pt x="29" y="3"/>
                    <a:pt x="29" y="3"/>
                    <a:pt x="29" y="3"/>
                  </a:cubicBezTo>
                  <a:cubicBezTo>
                    <a:pt x="29" y="12"/>
                    <a:pt x="29" y="12"/>
                    <a:pt x="29" y="12"/>
                  </a:cubicBezTo>
                  <a:cubicBezTo>
                    <a:pt x="42" y="4"/>
                    <a:pt x="55" y="0"/>
                    <a:pt x="67" y="0"/>
                  </a:cubicBezTo>
                  <a:cubicBezTo>
                    <a:pt x="85" y="0"/>
                    <a:pt x="97" y="5"/>
                    <a:pt x="104" y="16"/>
                  </a:cubicBezTo>
                  <a:cubicBezTo>
                    <a:pt x="110" y="26"/>
                    <a:pt x="114" y="43"/>
                    <a:pt x="114" y="66"/>
                  </a:cubicBezTo>
                  <a:cubicBezTo>
                    <a:pt x="114" y="139"/>
                    <a:pt x="114" y="139"/>
                    <a:pt x="114" y="139"/>
                  </a:cubicBezTo>
                  <a:cubicBezTo>
                    <a:pt x="84" y="139"/>
                    <a:pt x="84" y="139"/>
                    <a:pt x="84" y="139"/>
                  </a:cubicBezTo>
                  <a:cubicBezTo>
                    <a:pt x="84" y="67"/>
                    <a:pt x="84" y="67"/>
                    <a:pt x="84" y="67"/>
                  </a:cubicBezTo>
                  <a:cubicBezTo>
                    <a:pt x="84" y="52"/>
                    <a:pt x="83" y="42"/>
                    <a:pt x="79" y="36"/>
                  </a:cubicBezTo>
                  <a:cubicBezTo>
                    <a:pt x="76" y="30"/>
                    <a:pt x="70" y="27"/>
                    <a:pt x="60" y="27"/>
                  </a:cubicBezTo>
                  <a:cubicBezTo>
                    <a:pt x="51" y="27"/>
                    <a:pt x="42" y="28"/>
                    <a:pt x="33" y="32"/>
                  </a:cubicBezTo>
                  <a:cubicBezTo>
                    <a:pt x="29" y="34"/>
                    <a:pt x="29" y="34"/>
                    <a:pt x="29" y="34"/>
                  </a:cubicBezTo>
                  <a:lnTo>
                    <a:pt x="29"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19" name="Freeform 13">
              <a:extLst>
                <a:ext uri="{FF2B5EF4-FFF2-40B4-BE49-F238E27FC236}">
                  <a16:creationId xmlns:a16="http://schemas.microsoft.com/office/drawing/2014/main" id="{9DD683FC-C7CB-4024-8208-A38FE8261A87}"/>
                </a:ext>
              </a:extLst>
            </p:cNvPr>
            <p:cNvSpPr>
              <a:spLocks/>
            </p:cNvSpPr>
            <p:nvPr userDrawn="1"/>
          </p:nvSpPr>
          <p:spPr bwMode="auto">
            <a:xfrm>
              <a:off x="3467" y="2231"/>
              <a:ext cx="277" cy="392"/>
            </a:xfrm>
            <a:custGeom>
              <a:avLst/>
              <a:gdLst>
                <a:gd name="T0" fmla="*/ 63 w 277"/>
                <a:gd name="T1" fmla="*/ 392 h 392"/>
                <a:gd name="T2" fmla="*/ 0 w 277"/>
                <a:gd name="T3" fmla="*/ 392 h 392"/>
                <a:gd name="T4" fmla="*/ 0 w 277"/>
                <a:gd name="T5" fmla="*/ 0 h 392"/>
                <a:gd name="T6" fmla="*/ 63 w 277"/>
                <a:gd name="T7" fmla="*/ 0 h 392"/>
                <a:gd name="T8" fmla="*/ 63 w 277"/>
                <a:gd name="T9" fmla="*/ 177 h 392"/>
                <a:gd name="T10" fmla="*/ 120 w 277"/>
                <a:gd name="T11" fmla="*/ 172 h 392"/>
                <a:gd name="T12" fmla="*/ 199 w 277"/>
                <a:gd name="T13" fmla="*/ 0 h 392"/>
                <a:gd name="T14" fmla="*/ 273 w 277"/>
                <a:gd name="T15" fmla="*/ 0 h 392"/>
                <a:gd name="T16" fmla="*/ 176 w 277"/>
                <a:gd name="T17" fmla="*/ 198 h 392"/>
                <a:gd name="T18" fmla="*/ 277 w 277"/>
                <a:gd name="T19" fmla="*/ 392 h 392"/>
                <a:gd name="T20" fmla="*/ 203 w 277"/>
                <a:gd name="T21" fmla="*/ 392 h 392"/>
                <a:gd name="T22" fmla="*/ 120 w 277"/>
                <a:gd name="T23" fmla="*/ 229 h 392"/>
                <a:gd name="T24" fmla="*/ 63 w 277"/>
                <a:gd name="T25" fmla="*/ 234 h 392"/>
                <a:gd name="T26" fmla="*/ 63 w 277"/>
                <a:gd name="T27"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2">
                  <a:moveTo>
                    <a:pt x="63" y="392"/>
                  </a:moveTo>
                  <a:lnTo>
                    <a:pt x="0" y="392"/>
                  </a:lnTo>
                  <a:lnTo>
                    <a:pt x="0" y="0"/>
                  </a:lnTo>
                  <a:lnTo>
                    <a:pt x="63" y="0"/>
                  </a:lnTo>
                  <a:lnTo>
                    <a:pt x="63" y="177"/>
                  </a:lnTo>
                  <a:lnTo>
                    <a:pt x="120" y="172"/>
                  </a:lnTo>
                  <a:lnTo>
                    <a:pt x="199" y="0"/>
                  </a:lnTo>
                  <a:lnTo>
                    <a:pt x="273" y="0"/>
                  </a:lnTo>
                  <a:lnTo>
                    <a:pt x="176" y="198"/>
                  </a:lnTo>
                  <a:lnTo>
                    <a:pt x="277" y="392"/>
                  </a:lnTo>
                  <a:lnTo>
                    <a:pt x="203" y="392"/>
                  </a:lnTo>
                  <a:lnTo>
                    <a:pt x="120" y="229"/>
                  </a:lnTo>
                  <a:lnTo>
                    <a:pt x="63" y="234"/>
                  </a:lnTo>
                  <a:lnTo>
                    <a:pt x="63"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0" name="Freeform 14">
              <a:extLst>
                <a:ext uri="{FF2B5EF4-FFF2-40B4-BE49-F238E27FC236}">
                  <a16:creationId xmlns:a16="http://schemas.microsoft.com/office/drawing/2014/main" id="{880B0D20-5523-4C7C-8079-F7E29DAEAD9A}"/>
                </a:ext>
              </a:extLst>
            </p:cNvPr>
            <p:cNvSpPr>
              <a:spLocks/>
            </p:cNvSpPr>
            <p:nvPr userDrawn="1"/>
          </p:nvSpPr>
          <p:spPr bwMode="auto">
            <a:xfrm>
              <a:off x="3781" y="2332"/>
              <a:ext cx="160" cy="291"/>
            </a:xfrm>
            <a:custGeom>
              <a:avLst/>
              <a:gdLst>
                <a:gd name="T0" fmla="*/ 0 w 76"/>
                <a:gd name="T1" fmla="*/ 138 h 138"/>
                <a:gd name="T2" fmla="*/ 0 w 76"/>
                <a:gd name="T3" fmla="*/ 3 h 138"/>
                <a:gd name="T4" fmla="*/ 30 w 76"/>
                <a:gd name="T5" fmla="*/ 3 h 138"/>
                <a:gd name="T6" fmla="*/ 30 w 76"/>
                <a:gd name="T7" fmla="*/ 19 h 138"/>
                <a:gd name="T8" fmla="*/ 76 w 76"/>
                <a:gd name="T9" fmla="*/ 0 h 138"/>
                <a:gd name="T10" fmla="*/ 76 w 76"/>
                <a:gd name="T11" fmla="*/ 29 h 138"/>
                <a:gd name="T12" fmla="*/ 36 w 76"/>
                <a:gd name="T13" fmla="*/ 41 h 138"/>
                <a:gd name="T14" fmla="*/ 30 w 76"/>
                <a:gd name="T15" fmla="*/ 44 h 138"/>
                <a:gd name="T16" fmla="*/ 30 w 76"/>
                <a:gd name="T17" fmla="*/ 138 h 138"/>
                <a:gd name="T18" fmla="*/ 0 w 76"/>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8">
                  <a:moveTo>
                    <a:pt x="0" y="138"/>
                  </a:moveTo>
                  <a:cubicBezTo>
                    <a:pt x="0" y="3"/>
                    <a:pt x="0" y="3"/>
                    <a:pt x="0" y="3"/>
                  </a:cubicBezTo>
                  <a:cubicBezTo>
                    <a:pt x="30" y="3"/>
                    <a:pt x="30" y="3"/>
                    <a:pt x="30" y="3"/>
                  </a:cubicBezTo>
                  <a:cubicBezTo>
                    <a:pt x="30" y="19"/>
                    <a:pt x="30" y="19"/>
                    <a:pt x="30" y="19"/>
                  </a:cubicBezTo>
                  <a:cubicBezTo>
                    <a:pt x="45" y="9"/>
                    <a:pt x="60" y="3"/>
                    <a:pt x="76" y="0"/>
                  </a:cubicBezTo>
                  <a:cubicBezTo>
                    <a:pt x="76" y="29"/>
                    <a:pt x="76" y="29"/>
                    <a:pt x="76" y="29"/>
                  </a:cubicBezTo>
                  <a:cubicBezTo>
                    <a:pt x="60" y="32"/>
                    <a:pt x="47" y="36"/>
                    <a:pt x="36" y="41"/>
                  </a:cubicBezTo>
                  <a:cubicBezTo>
                    <a:pt x="30" y="44"/>
                    <a:pt x="30" y="44"/>
                    <a:pt x="30" y="44"/>
                  </a:cubicBezTo>
                  <a:cubicBezTo>
                    <a:pt x="30" y="138"/>
                    <a:pt x="30" y="138"/>
                    <a:pt x="30" y="138"/>
                  </a:cubicBezTo>
                  <a:lnTo>
                    <a:pt x="0"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1" name="Freeform 15">
              <a:extLst>
                <a:ext uri="{FF2B5EF4-FFF2-40B4-BE49-F238E27FC236}">
                  <a16:creationId xmlns:a16="http://schemas.microsoft.com/office/drawing/2014/main" id="{8C598D77-3D19-476A-BBA9-BA701BBD7220}"/>
                </a:ext>
              </a:extLst>
            </p:cNvPr>
            <p:cNvSpPr>
              <a:spLocks/>
            </p:cNvSpPr>
            <p:nvPr userDrawn="1"/>
          </p:nvSpPr>
          <p:spPr bwMode="auto">
            <a:xfrm>
              <a:off x="3978" y="2338"/>
              <a:ext cx="237" cy="291"/>
            </a:xfrm>
            <a:custGeom>
              <a:avLst/>
              <a:gdLst>
                <a:gd name="T0" fmla="*/ 84 w 113"/>
                <a:gd name="T1" fmla="*/ 0 h 138"/>
                <a:gd name="T2" fmla="*/ 113 w 113"/>
                <a:gd name="T3" fmla="*/ 0 h 138"/>
                <a:gd name="T4" fmla="*/ 113 w 113"/>
                <a:gd name="T5" fmla="*/ 135 h 138"/>
                <a:gd name="T6" fmla="*/ 84 w 113"/>
                <a:gd name="T7" fmla="*/ 135 h 138"/>
                <a:gd name="T8" fmla="*/ 84 w 113"/>
                <a:gd name="T9" fmla="*/ 127 h 138"/>
                <a:gd name="T10" fmla="*/ 47 w 113"/>
                <a:gd name="T11" fmla="*/ 138 h 138"/>
                <a:gd name="T12" fmla="*/ 10 w 113"/>
                <a:gd name="T13" fmla="*/ 123 h 138"/>
                <a:gd name="T14" fmla="*/ 0 w 113"/>
                <a:gd name="T15" fmla="*/ 71 h 138"/>
                <a:gd name="T16" fmla="*/ 0 w 113"/>
                <a:gd name="T17" fmla="*/ 0 h 138"/>
                <a:gd name="T18" fmla="*/ 30 w 113"/>
                <a:gd name="T19" fmla="*/ 0 h 138"/>
                <a:gd name="T20" fmla="*/ 30 w 113"/>
                <a:gd name="T21" fmla="*/ 71 h 138"/>
                <a:gd name="T22" fmla="*/ 34 w 113"/>
                <a:gd name="T23" fmla="*/ 104 h 138"/>
                <a:gd name="T24" fmla="*/ 53 w 113"/>
                <a:gd name="T25" fmla="*/ 112 h 138"/>
                <a:gd name="T26" fmla="*/ 80 w 113"/>
                <a:gd name="T27" fmla="*/ 107 h 138"/>
                <a:gd name="T28" fmla="*/ 84 w 113"/>
                <a:gd name="T29" fmla="*/ 105 h 138"/>
                <a:gd name="T30" fmla="*/ 84 w 113"/>
                <a:gd name="T3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38">
                  <a:moveTo>
                    <a:pt x="84" y="0"/>
                  </a:moveTo>
                  <a:cubicBezTo>
                    <a:pt x="113" y="0"/>
                    <a:pt x="113" y="0"/>
                    <a:pt x="113" y="0"/>
                  </a:cubicBezTo>
                  <a:cubicBezTo>
                    <a:pt x="113" y="135"/>
                    <a:pt x="113" y="135"/>
                    <a:pt x="113" y="135"/>
                  </a:cubicBezTo>
                  <a:cubicBezTo>
                    <a:pt x="84" y="135"/>
                    <a:pt x="84" y="135"/>
                    <a:pt x="84" y="135"/>
                  </a:cubicBezTo>
                  <a:cubicBezTo>
                    <a:pt x="84" y="127"/>
                    <a:pt x="84" y="127"/>
                    <a:pt x="84" y="127"/>
                  </a:cubicBezTo>
                  <a:cubicBezTo>
                    <a:pt x="71" y="135"/>
                    <a:pt x="58" y="138"/>
                    <a:pt x="47" y="138"/>
                  </a:cubicBezTo>
                  <a:cubicBezTo>
                    <a:pt x="28" y="138"/>
                    <a:pt x="16" y="133"/>
                    <a:pt x="10" y="123"/>
                  </a:cubicBezTo>
                  <a:cubicBezTo>
                    <a:pt x="3" y="113"/>
                    <a:pt x="0" y="96"/>
                    <a:pt x="0" y="71"/>
                  </a:cubicBezTo>
                  <a:cubicBezTo>
                    <a:pt x="0" y="0"/>
                    <a:pt x="0" y="0"/>
                    <a:pt x="0" y="0"/>
                  </a:cubicBezTo>
                  <a:cubicBezTo>
                    <a:pt x="30" y="0"/>
                    <a:pt x="30" y="0"/>
                    <a:pt x="30" y="0"/>
                  </a:cubicBezTo>
                  <a:cubicBezTo>
                    <a:pt x="30" y="71"/>
                    <a:pt x="30" y="71"/>
                    <a:pt x="30" y="71"/>
                  </a:cubicBezTo>
                  <a:cubicBezTo>
                    <a:pt x="30" y="87"/>
                    <a:pt x="31" y="98"/>
                    <a:pt x="34" y="104"/>
                  </a:cubicBezTo>
                  <a:cubicBezTo>
                    <a:pt x="37" y="109"/>
                    <a:pt x="43" y="112"/>
                    <a:pt x="53" y="112"/>
                  </a:cubicBezTo>
                  <a:cubicBezTo>
                    <a:pt x="63" y="112"/>
                    <a:pt x="72" y="110"/>
                    <a:pt x="80" y="107"/>
                  </a:cubicBezTo>
                  <a:cubicBezTo>
                    <a:pt x="84" y="105"/>
                    <a:pt x="84" y="105"/>
                    <a:pt x="84" y="105"/>
                  </a:cubicBezTo>
                  <a:lnTo>
                    <a:pt x="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2" name="Freeform 16">
              <a:extLst>
                <a:ext uri="{FF2B5EF4-FFF2-40B4-BE49-F238E27FC236}">
                  <a16:creationId xmlns:a16="http://schemas.microsoft.com/office/drawing/2014/main" id="{99B0AA94-CD20-454F-9688-BC3727935EAB}"/>
                </a:ext>
              </a:extLst>
            </p:cNvPr>
            <p:cNvSpPr>
              <a:spLocks noEditPoints="1"/>
            </p:cNvSpPr>
            <p:nvPr userDrawn="1"/>
          </p:nvSpPr>
          <p:spPr bwMode="auto">
            <a:xfrm>
              <a:off x="4284" y="2222"/>
              <a:ext cx="63" cy="401"/>
            </a:xfrm>
            <a:custGeom>
              <a:avLst/>
              <a:gdLst>
                <a:gd name="T0" fmla="*/ 0 w 63"/>
                <a:gd name="T1" fmla="*/ 0 h 401"/>
                <a:gd name="T2" fmla="*/ 63 w 63"/>
                <a:gd name="T3" fmla="*/ 0 h 401"/>
                <a:gd name="T4" fmla="*/ 63 w 63"/>
                <a:gd name="T5" fmla="*/ 68 h 401"/>
                <a:gd name="T6" fmla="*/ 0 w 63"/>
                <a:gd name="T7" fmla="*/ 68 h 401"/>
                <a:gd name="T8" fmla="*/ 0 w 63"/>
                <a:gd name="T9" fmla="*/ 0 h 401"/>
                <a:gd name="T10" fmla="*/ 0 w 63"/>
                <a:gd name="T11" fmla="*/ 116 h 401"/>
                <a:gd name="T12" fmla="*/ 63 w 63"/>
                <a:gd name="T13" fmla="*/ 116 h 401"/>
                <a:gd name="T14" fmla="*/ 63 w 63"/>
                <a:gd name="T15" fmla="*/ 401 h 401"/>
                <a:gd name="T16" fmla="*/ 0 w 63"/>
                <a:gd name="T17" fmla="*/ 401 h 401"/>
                <a:gd name="T18" fmla="*/ 0 w 63"/>
                <a:gd name="T19" fmla="*/ 116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01">
                  <a:moveTo>
                    <a:pt x="0" y="0"/>
                  </a:moveTo>
                  <a:lnTo>
                    <a:pt x="63" y="0"/>
                  </a:lnTo>
                  <a:lnTo>
                    <a:pt x="63" y="68"/>
                  </a:lnTo>
                  <a:lnTo>
                    <a:pt x="0" y="68"/>
                  </a:lnTo>
                  <a:lnTo>
                    <a:pt x="0" y="0"/>
                  </a:lnTo>
                  <a:close/>
                  <a:moveTo>
                    <a:pt x="0" y="116"/>
                  </a:moveTo>
                  <a:lnTo>
                    <a:pt x="63" y="116"/>
                  </a:lnTo>
                  <a:lnTo>
                    <a:pt x="63" y="401"/>
                  </a:lnTo>
                  <a:lnTo>
                    <a:pt x="0" y="401"/>
                  </a:lnTo>
                  <a:lnTo>
                    <a:pt x="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3" name="Freeform 17">
              <a:extLst>
                <a:ext uri="{FF2B5EF4-FFF2-40B4-BE49-F238E27FC236}">
                  <a16:creationId xmlns:a16="http://schemas.microsoft.com/office/drawing/2014/main" id="{41E34058-80CB-46DE-8EF7-1C3C57F77172}"/>
                </a:ext>
              </a:extLst>
            </p:cNvPr>
            <p:cNvSpPr>
              <a:spLocks/>
            </p:cNvSpPr>
            <p:nvPr userDrawn="1"/>
          </p:nvSpPr>
          <p:spPr bwMode="auto">
            <a:xfrm>
              <a:off x="4401" y="2332"/>
              <a:ext cx="222" cy="297"/>
            </a:xfrm>
            <a:custGeom>
              <a:avLst/>
              <a:gdLst>
                <a:gd name="T0" fmla="*/ 101 w 106"/>
                <a:gd name="T1" fmla="*/ 31 h 141"/>
                <a:gd name="T2" fmla="*/ 55 w 106"/>
                <a:gd name="T3" fmla="*/ 26 h 141"/>
                <a:gd name="T4" fmla="*/ 35 w 106"/>
                <a:gd name="T5" fmla="*/ 30 h 141"/>
                <a:gd name="T6" fmla="*/ 29 w 106"/>
                <a:gd name="T7" fmla="*/ 40 h 141"/>
                <a:gd name="T8" fmla="*/ 35 w 106"/>
                <a:gd name="T9" fmla="*/ 51 h 141"/>
                <a:gd name="T10" fmla="*/ 64 w 106"/>
                <a:gd name="T11" fmla="*/ 58 h 141"/>
                <a:gd name="T12" fmla="*/ 96 w 106"/>
                <a:gd name="T13" fmla="*/ 70 h 141"/>
                <a:gd name="T14" fmla="*/ 106 w 106"/>
                <a:gd name="T15" fmla="*/ 100 h 141"/>
                <a:gd name="T16" fmla="*/ 92 w 106"/>
                <a:gd name="T17" fmla="*/ 131 h 141"/>
                <a:gd name="T18" fmla="*/ 52 w 106"/>
                <a:gd name="T19" fmla="*/ 141 h 141"/>
                <a:gd name="T20" fmla="*/ 10 w 106"/>
                <a:gd name="T21" fmla="*/ 137 h 141"/>
                <a:gd name="T22" fmla="*/ 2 w 106"/>
                <a:gd name="T23" fmla="*/ 135 h 141"/>
                <a:gd name="T24" fmla="*/ 3 w 106"/>
                <a:gd name="T25" fmla="*/ 111 h 141"/>
                <a:gd name="T26" fmla="*/ 50 w 106"/>
                <a:gd name="T27" fmla="*/ 115 h 141"/>
                <a:gd name="T28" fmla="*/ 70 w 106"/>
                <a:gd name="T29" fmla="*/ 112 h 141"/>
                <a:gd name="T30" fmla="*/ 76 w 106"/>
                <a:gd name="T31" fmla="*/ 100 h 141"/>
                <a:gd name="T32" fmla="*/ 71 w 106"/>
                <a:gd name="T33" fmla="*/ 89 h 141"/>
                <a:gd name="T34" fmla="*/ 43 w 106"/>
                <a:gd name="T35" fmla="*/ 82 h 141"/>
                <a:gd name="T36" fmla="*/ 10 w 106"/>
                <a:gd name="T37" fmla="*/ 70 h 141"/>
                <a:gd name="T38" fmla="*/ 0 w 106"/>
                <a:gd name="T39" fmla="*/ 41 h 141"/>
                <a:gd name="T40" fmla="*/ 14 w 106"/>
                <a:gd name="T41" fmla="*/ 10 h 141"/>
                <a:gd name="T42" fmla="*/ 51 w 106"/>
                <a:gd name="T43" fmla="*/ 0 h 141"/>
                <a:gd name="T44" fmla="*/ 93 w 106"/>
                <a:gd name="T45" fmla="*/ 4 h 141"/>
                <a:gd name="T46" fmla="*/ 102 w 106"/>
                <a:gd name="T47" fmla="*/ 6 h 141"/>
                <a:gd name="T48" fmla="*/ 101 w 106"/>
                <a:gd name="T49" fmla="*/ 3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141">
                  <a:moveTo>
                    <a:pt x="101" y="31"/>
                  </a:moveTo>
                  <a:cubicBezTo>
                    <a:pt x="80" y="28"/>
                    <a:pt x="64" y="26"/>
                    <a:pt x="55" y="26"/>
                  </a:cubicBezTo>
                  <a:cubicBezTo>
                    <a:pt x="45" y="26"/>
                    <a:pt x="38" y="27"/>
                    <a:pt x="35" y="30"/>
                  </a:cubicBezTo>
                  <a:cubicBezTo>
                    <a:pt x="31" y="32"/>
                    <a:pt x="29" y="36"/>
                    <a:pt x="29" y="40"/>
                  </a:cubicBezTo>
                  <a:cubicBezTo>
                    <a:pt x="29" y="45"/>
                    <a:pt x="31" y="49"/>
                    <a:pt x="35" y="51"/>
                  </a:cubicBezTo>
                  <a:cubicBezTo>
                    <a:pt x="39" y="53"/>
                    <a:pt x="49" y="55"/>
                    <a:pt x="64" y="58"/>
                  </a:cubicBezTo>
                  <a:cubicBezTo>
                    <a:pt x="79" y="60"/>
                    <a:pt x="90" y="64"/>
                    <a:pt x="96" y="70"/>
                  </a:cubicBezTo>
                  <a:cubicBezTo>
                    <a:pt x="103" y="76"/>
                    <a:pt x="106" y="86"/>
                    <a:pt x="106" y="100"/>
                  </a:cubicBezTo>
                  <a:cubicBezTo>
                    <a:pt x="106" y="114"/>
                    <a:pt x="101" y="125"/>
                    <a:pt x="92" y="131"/>
                  </a:cubicBezTo>
                  <a:cubicBezTo>
                    <a:pt x="83" y="138"/>
                    <a:pt x="70" y="141"/>
                    <a:pt x="52" y="141"/>
                  </a:cubicBezTo>
                  <a:cubicBezTo>
                    <a:pt x="41" y="141"/>
                    <a:pt x="27" y="140"/>
                    <a:pt x="10" y="137"/>
                  </a:cubicBezTo>
                  <a:cubicBezTo>
                    <a:pt x="2" y="135"/>
                    <a:pt x="2" y="135"/>
                    <a:pt x="2" y="135"/>
                  </a:cubicBezTo>
                  <a:cubicBezTo>
                    <a:pt x="3" y="111"/>
                    <a:pt x="3" y="111"/>
                    <a:pt x="3" y="111"/>
                  </a:cubicBezTo>
                  <a:cubicBezTo>
                    <a:pt x="25" y="114"/>
                    <a:pt x="40" y="115"/>
                    <a:pt x="50" y="115"/>
                  </a:cubicBezTo>
                  <a:cubicBezTo>
                    <a:pt x="59" y="115"/>
                    <a:pt x="66" y="114"/>
                    <a:pt x="70" y="112"/>
                  </a:cubicBezTo>
                  <a:cubicBezTo>
                    <a:pt x="74" y="109"/>
                    <a:pt x="76" y="105"/>
                    <a:pt x="76" y="100"/>
                  </a:cubicBezTo>
                  <a:cubicBezTo>
                    <a:pt x="76" y="94"/>
                    <a:pt x="74" y="91"/>
                    <a:pt x="71" y="89"/>
                  </a:cubicBezTo>
                  <a:cubicBezTo>
                    <a:pt x="67" y="87"/>
                    <a:pt x="57" y="84"/>
                    <a:pt x="43" y="82"/>
                  </a:cubicBezTo>
                  <a:cubicBezTo>
                    <a:pt x="28" y="79"/>
                    <a:pt x="17" y="76"/>
                    <a:pt x="10" y="70"/>
                  </a:cubicBezTo>
                  <a:cubicBezTo>
                    <a:pt x="3" y="65"/>
                    <a:pt x="0" y="55"/>
                    <a:pt x="0" y="41"/>
                  </a:cubicBezTo>
                  <a:cubicBezTo>
                    <a:pt x="0" y="28"/>
                    <a:pt x="5" y="17"/>
                    <a:pt x="14" y="10"/>
                  </a:cubicBezTo>
                  <a:cubicBezTo>
                    <a:pt x="24" y="3"/>
                    <a:pt x="36" y="0"/>
                    <a:pt x="51" y="0"/>
                  </a:cubicBezTo>
                  <a:cubicBezTo>
                    <a:pt x="62" y="0"/>
                    <a:pt x="76" y="1"/>
                    <a:pt x="93" y="4"/>
                  </a:cubicBezTo>
                  <a:cubicBezTo>
                    <a:pt x="102" y="6"/>
                    <a:pt x="102" y="6"/>
                    <a:pt x="102" y="6"/>
                  </a:cubicBezTo>
                  <a:lnTo>
                    <a:pt x="10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4" name="Freeform 18">
              <a:extLst>
                <a:ext uri="{FF2B5EF4-FFF2-40B4-BE49-F238E27FC236}">
                  <a16:creationId xmlns:a16="http://schemas.microsoft.com/office/drawing/2014/main" id="{108F29F8-F753-476C-B26B-DE8CC77897E0}"/>
                </a:ext>
              </a:extLst>
            </p:cNvPr>
            <p:cNvSpPr>
              <a:spLocks/>
            </p:cNvSpPr>
            <p:nvPr userDrawn="1"/>
          </p:nvSpPr>
          <p:spPr bwMode="auto">
            <a:xfrm>
              <a:off x="2640" y="1887"/>
              <a:ext cx="356" cy="91"/>
            </a:xfrm>
            <a:custGeom>
              <a:avLst/>
              <a:gdLst>
                <a:gd name="T0" fmla="*/ 111 w 170"/>
                <a:gd name="T1" fmla="*/ 40 h 43"/>
                <a:gd name="T2" fmla="*/ 170 w 170"/>
                <a:gd name="T3" fmla="*/ 43 h 43"/>
                <a:gd name="T4" fmla="*/ 170 w 170"/>
                <a:gd name="T5" fmla="*/ 28 h 43"/>
                <a:gd name="T6" fmla="*/ 114 w 170"/>
                <a:gd name="T7" fmla="*/ 23 h 43"/>
                <a:gd name="T8" fmla="*/ 0 w 170"/>
                <a:gd name="T9" fmla="*/ 0 h 43"/>
                <a:gd name="T10" fmla="*/ 0 w 170"/>
                <a:gd name="T11" fmla="*/ 21 h 43"/>
                <a:gd name="T12" fmla="*/ 111 w 170"/>
                <a:gd name="T13" fmla="*/ 40 h 43"/>
              </a:gdLst>
              <a:ahLst/>
              <a:cxnLst>
                <a:cxn ang="0">
                  <a:pos x="T0" y="T1"/>
                </a:cxn>
                <a:cxn ang="0">
                  <a:pos x="T2" y="T3"/>
                </a:cxn>
                <a:cxn ang="0">
                  <a:pos x="T4" y="T5"/>
                </a:cxn>
                <a:cxn ang="0">
                  <a:pos x="T6" y="T7"/>
                </a:cxn>
                <a:cxn ang="0">
                  <a:pos x="T8" y="T9"/>
                </a:cxn>
                <a:cxn ang="0">
                  <a:pos x="T10" y="T11"/>
                </a:cxn>
                <a:cxn ang="0">
                  <a:pos x="T12" y="T13"/>
                </a:cxn>
              </a:cxnLst>
              <a:rect l="0" t="0" r="r" b="b"/>
              <a:pathLst>
                <a:path w="170" h="43">
                  <a:moveTo>
                    <a:pt x="111" y="40"/>
                  </a:moveTo>
                  <a:cubicBezTo>
                    <a:pt x="132" y="42"/>
                    <a:pt x="151" y="43"/>
                    <a:pt x="170" y="43"/>
                  </a:cubicBezTo>
                  <a:cubicBezTo>
                    <a:pt x="170" y="28"/>
                    <a:pt x="170" y="28"/>
                    <a:pt x="170" y="28"/>
                  </a:cubicBezTo>
                  <a:cubicBezTo>
                    <a:pt x="151" y="27"/>
                    <a:pt x="133" y="26"/>
                    <a:pt x="114" y="23"/>
                  </a:cubicBezTo>
                  <a:cubicBezTo>
                    <a:pt x="77" y="19"/>
                    <a:pt x="38" y="11"/>
                    <a:pt x="0" y="0"/>
                  </a:cubicBezTo>
                  <a:cubicBezTo>
                    <a:pt x="0" y="21"/>
                    <a:pt x="0" y="21"/>
                    <a:pt x="0" y="21"/>
                  </a:cubicBezTo>
                  <a:cubicBezTo>
                    <a:pt x="40" y="31"/>
                    <a:pt x="77" y="37"/>
                    <a:pt x="111"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5" name="Freeform 19">
              <a:extLst>
                <a:ext uri="{FF2B5EF4-FFF2-40B4-BE49-F238E27FC236}">
                  <a16:creationId xmlns:a16="http://schemas.microsoft.com/office/drawing/2014/main" id="{439F0E8C-968E-4CEB-BBE6-A090F9AA4AB1}"/>
                </a:ext>
              </a:extLst>
            </p:cNvPr>
            <p:cNvSpPr>
              <a:spLocks/>
            </p:cNvSpPr>
            <p:nvPr userDrawn="1"/>
          </p:nvSpPr>
          <p:spPr bwMode="auto">
            <a:xfrm>
              <a:off x="2640" y="1811"/>
              <a:ext cx="356" cy="104"/>
            </a:xfrm>
            <a:custGeom>
              <a:avLst/>
              <a:gdLst>
                <a:gd name="T0" fmla="*/ 128 w 170"/>
                <a:gd name="T1" fmla="*/ 46 h 49"/>
                <a:gd name="T2" fmla="*/ 170 w 170"/>
                <a:gd name="T3" fmla="*/ 49 h 49"/>
                <a:gd name="T4" fmla="*/ 170 w 170"/>
                <a:gd name="T5" fmla="*/ 34 h 49"/>
                <a:gd name="T6" fmla="*/ 114 w 170"/>
                <a:gd name="T7" fmla="*/ 27 h 49"/>
                <a:gd name="T8" fmla="*/ 0 w 170"/>
                <a:gd name="T9" fmla="*/ 0 h 49"/>
                <a:gd name="T10" fmla="*/ 0 w 170"/>
                <a:gd name="T11" fmla="*/ 21 h 49"/>
                <a:gd name="T12" fmla="*/ 128 w 170"/>
                <a:gd name="T13" fmla="*/ 46 h 49"/>
              </a:gdLst>
              <a:ahLst/>
              <a:cxnLst>
                <a:cxn ang="0">
                  <a:pos x="T0" y="T1"/>
                </a:cxn>
                <a:cxn ang="0">
                  <a:pos x="T2" y="T3"/>
                </a:cxn>
                <a:cxn ang="0">
                  <a:pos x="T4" y="T5"/>
                </a:cxn>
                <a:cxn ang="0">
                  <a:pos x="T6" y="T7"/>
                </a:cxn>
                <a:cxn ang="0">
                  <a:pos x="T8" y="T9"/>
                </a:cxn>
                <a:cxn ang="0">
                  <a:pos x="T10" y="T11"/>
                </a:cxn>
                <a:cxn ang="0">
                  <a:pos x="T12" y="T13"/>
                </a:cxn>
              </a:cxnLst>
              <a:rect l="0" t="0" r="r" b="b"/>
              <a:pathLst>
                <a:path w="170" h="49">
                  <a:moveTo>
                    <a:pt x="128" y="46"/>
                  </a:moveTo>
                  <a:cubicBezTo>
                    <a:pt x="142" y="47"/>
                    <a:pt x="156" y="48"/>
                    <a:pt x="170" y="49"/>
                  </a:cubicBezTo>
                  <a:cubicBezTo>
                    <a:pt x="170" y="34"/>
                    <a:pt x="170" y="34"/>
                    <a:pt x="170" y="34"/>
                  </a:cubicBezTo>
                  <a:cubicBezTo>
                    <a:pt x="151" y="32"/>
                    <a:pt x="133" y="30"/>
                    <a:pt x="114" y="27"/>
                  </a:cubicBezTo>
                  <a:cubicBezTo>
                    <a:pt x="77" y="21"/>
                    <a:pt x="38" y="12"/>
                    <a:pt x="0" y="0"/>
                  </a:cubicBezTo>
                  <a:cubicBezTo>
                    <a:pt x="0" y="21"/>
                    <a:pt x="0" y="21"/>
                    <a:pt x="0" y="21"/>
                  </a:cubicBezTo>
                  <a:cubicBezTo>
                    <a:pt x="46" y="34"/>
                    <a:pt x="89" y="42"/>
                    <a:pt x="128" y="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6" name="Freeform 20">
              <a:extLst>
                <a:ext uri="{FF2B5EF4-FFF2-40B4-BE49-F238E27FC236}">
                  <a16:creationId xmlns:a16="http://schemas.microsoft.com/office/drawing/2014/main" id="{50287170-DF6C-4612-8E0C-1CA865A58A75}"/>
                </a:ext>
              </a:extLst>
            </p:cNvPr>
            <p:cNvSpPr>
              <a:spLocks/>
            </p:cNvSpPr>
            <p:nvPr userDrawn="1"/>
          </p:nvSpPr>
          <p:spPr bwMode="auto">
            <a:xfrm>
              <a:off x="2640" y="1735"/>
              <a:ext cx="356" cy="114"/>
            </a:xfrm>
            <a:custGeom>
              <a:avLst/>
              <a:gdLst>
                <a:gd name="T0" fmla="*/ 0 w 170"/>
                <a:gd name="T1" fmla="*/ 21 h 54"/>
                <a:gd name="T2" fmla="*/ 144 w 170"/>
                <a:gd name="T3" fmla="*/ 52 h 54"/>
                <a:gd name="T4" fmla="*/ 170 w 170"/>
                <a:gd name="T5" fmla="*/ 54 h 54"/>
                <a:gd name="T6" fmla="*/ 170 w 170"/>
                <a:gd name="T7" fmla="*/ 39 h 54"/>
                <a:gd name="T8" fmla="*/ 114 w 170"/>
                <a:gd name="T9" fmla="*/ 31 h 54"/>
                <a:gd name="T10" fmla="*/ 0 w 170"/>
                <a:gd name="T11" fmla="*/ 0 h 54"/>
                <a:gd name="T12" fmla="*/ 0 w 170"/>
                <a:gd name="T13" fmla="*/ 21 h 54"/>
              </a:gdLst>
              <a:ahLst/>
              <a:cxnLst>
                <a:cxn ang="0">
                  <a:pos x="T0" y="T1"/>
                </a:cxn>
                <a:cxn ang="0">
                  <a:pos x="T2" y="T3"/>
                </a:cxn>
                <a:cxn ang="0">
                  <a:pos x="T4" y="T5"/>
                </a:cxn>
                <a:cxn ang="0">
                  <a:pos x="T6" y="T7"/>
                </a:cxn>
                <a:cxn ang="0">
                  <a:pos x="T8" y="T9"/>
                </a:cxn>
                <a:cxn ang="0">
                  <a:pos x="T10" y="T11"/>
                </a:cxn>
                <a:cxn ang="0">
                  <a:pos x="T12" y="T13"/>
                </a:cxn>
              </a:cxnLst>
              <a:rect l="0" t="0" r="r" b="b"/>
              <a:pathLst>
                <a:path w="170" h="54">
                  <a:moveTo>
                    <a:pt x="0" y="21"/>
                  </a:moveTo>
                  <a:cubicBezTo>
                    <a:pt x="53" y="37"/>
                    <a:pt x="101" y="47"/>
                    <a:pt x="144" y="52"/>
                  </a:cubicBezTo>
                  <a:cubicBezTo>
                    <a:pt x="153" y="53"/>
                    <a:pt x="161" y="54"/>
                    <a:pt x="170" y="54"/>
                  </a:cubicBezTo>
                  <a:cubicBezTo>
                    <a:pt x="170" y="39"/>
                    <a:pt x="170" y="39"/>
                    <a:pt x="170" y="39"/>
                  </a:cubicBezTo>
                  <a:cubicBezTo>
                    <a:pt x="151" y="37"/>
                    <a:pt x="133" y="34"/>
                    <a:pt x="114" y="31"/>
                  </a:cubicBezTo>
                  <a:cubicBezTo>
                    <a:pt x="77" y="24"/>
                    <a:pt x="38" y="13"/>
                    <a:pt x="0" y="0"/>
                  </a:cubicBez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7" name="Freeform 21">
              <a:extLst>
                <a:ext uri="{FF2B5EF4-FFF2-40B4-BE49-F238E27FC236}">
                  <a16:creationId xmlns:a16="http://schemas.microsoft.com/office/drawing/2014/main" id="{D6ECA75F-E520-4953-9E3D-F802B34777DB}"/>
                </a:ext>
              </a:extLst>
            </p:cNvPr>
            <p:cNvSpPr>
              <a:spLocks/>
            </p:cNvSpPr>
            <p:nvPr userDrawn="1"/>
          </p:nvSpPr>
          <p:spPr bwMode="auto">
            <a:xfrm>
              <a:off x="2535" y="1963"/>
              <a:ext cx="746" cy="112"/>
            </a:xfrm>
            <a:custGeom>
              <a:avLst/>
              <a:gdLst>
                <a:gd name="T0" fmla="*/ 356 w 356"/>
                <a:gd name="T1" fmla="*/ 16 h 53"/>
                <a:gd name="T2" fmla="*/ 356 w 356"/>
                <a:gd name="T3" fmla="*/ 14 h 53"/>
                <a:gd name="T4" fmla="*/ 351 w 356"/>
                <a:gd name="T5" fmla="*/ 10 h 53"/>
                <a:gd name="T6" fmla="*/ 350 w 356"/>
                <a:gd name="T7" fmla="*/ 10 h 53"/>
                <a:gd name="T8" fmla="*/ 342 w 356"/>
                <a:gd name="T9" fmla="*/ 10 h 53"/>
                <a:gd name="T10" fmla="*/ 50 w 356"/>
                <a:gd name="T11" fmla="*/ 0 h 53"/>
                <a:gd name="T12" fmla="*/ 50 w 356"/>
                <a:gd name="T13" fmla="*/ 10 h 53"/>
                <a:gd name="T14" fmla="*/ 50 w 356"/>
                <a:gd name="T15" fmla="*/ 10 h 53"/>
                <a:gd name="T16" fmla="*/ 0 w 356"/>
                <a:gd name="T17" fmla="*/ 10 h 53"/>
                <a:gd name="T18" fmla="*/ 356 w 356"/>
                <a:gd name="T19"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53">
                  <a:moveTo>
                    <a:pt x="356" y="16"/>
                  </a:moveTo>
                  <a:cubicBezTo>
                    <a:pt x="356" y="14"/>
                    <a:pt x="356" y="14"/>
                    <a:pt x="356" y="14"/>
                  </a:cubicBezTo>
                  <a:cubicBezTo>
                    <a:pt x="355" y="12"/>
                    <a:pt x="353" y="11"/>
                    <a:pt x="351" y="10"/>
                  </a:cubicBezTo>
                  <a:cubicBezTo>
                    <a:pt x="351" y="10"/>
                    <a:pt x="350" y="10"/>
                    <a:pt x="350" y="10"/>
                  </a:cubicBezTo>
                  <a:cubicBezTo>
                    <a:pt x="342" y="10"/>
                    <a:pt x="342" y="10"/>
                    <a:pt x="342" y="10"/>
                  </a:cubicBezTo>
                  <a:cubicBezTo>
                    <a:pt x="251" y="31"/>
                    <a:pt x="151" y="25"/>
                    <a:pt x="50" y="0"/>
                  </a:cubicBezTo>
                  <a:cubicBezTo>
                    <a:pt x="50" y="10"/>
                    <a:pt x="50" y="10"/>
                    <a:pt x="50" y="10"/>
                  </a:cubicBezTo>
                  <a:cubicBezTo>
                    <a:pt x="50" y="10"/>
                    <a:pt x="50" y="10"/>
                    <a:pt x="50" y="10"/>
                  </a:cubicBezTo>
                  <a:cubicBezTo>
                    <a:pt x="0" y="10"/>
                    <a:pt x="0" y="10"/>
                    <a:pt x="0" y="10"/>
                  </a:cubicBezTo>
                  <a:cubicBezTo>
                    <a:pt x="157" y="53"/>
                    <a:pt x="279" y="39"/>
                    <a:pt x="356"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8" name="Freeform 22">
              <a:extLst>
                <a:ext uri="{FF2B5EF4-FFF2-40B4-BE49-F238E27FC236}">
                  <a16:creationId xmlns:a16="http://schemas.microsoft.com/office/drawing/2014/main" id="{F67C081B-928D-4716-932A-D0BFBA8752BC}"/>
                </a:ext>
              </a:extLst>
            </p:cNvPr>
            <p:cNvSpPr>
              <a:spLocks/>
            </p:cNvSpPr>
            <p:nvPr userDrawn="1"/>
          </p:nvSpPr>
          <p:spPr bwMode="auto">
            <a:xfrm>
              <a:off x="2355" y="2125"/>
              <a:ext cx="926" cy="173"/>
            </a:xfrm>
            <a:custGeom>
              <a:avLst/>
              <a:gdLst>
                <a:gd name="T0" fmla="*/ 442 w 442"/>
                <a:gd name="T1" fmla="*/ 17 h 82"/>
                <a:gd name="T2" fmla="*/ 442 w 442"/>
                <a:gd name="T3" fmla="*/ 8 h 82"/>
                <a:gd name="T4" fmla="*/ 229 w 442"/>
                <a:gd name="T5" fmla="*/ 40 h 82"/>
                <a:gd name="T6" fmla="*/ 0 w 442"/>
                <a:gd name="T7" fmla="*/ 0 h 82"/>
                <a:gd name="T8" fmla="*/ 0 w 442"/>
                <a:gd name="T9" fmla="*/ 24 h 82"/>
                <a:gd name="T10" fmla="*/ 442 w 442"/>
                <a:gd name="T11" fmla="*/ 17 h 82"/>
              </a:gdLst>
              <a:ahLst/>
              <a:cxnLst>
                <a:cxn ang="0">
                  <a:pos x="T0" y="T1"/>
                </a:cxn>
                <a:cxn ang="0">
                  <a:pos x="T2" y="T3"/>
                </a:cxn>
                <a:cxn ang="0">
                  <a:pos x="T4" y="T5"/>
                </a:cxn>
                <a:cxn ang="0">
                  <a:pos x="T6" y="T7"/>
                </a:cxn>
                <a:cxn ang="0">
                  <a:pos x="T8" y="T9"/>
                </a:cxn>
                <a:cxn ang="0">
                  <a:pos x="T10" y="T11"/>
                </a:cxn>
              </a:cxnLst>
              <a:rect l="0" t="0" r="r" b="b"/>
              <a:pathLst>
                <a:path w="442" h="82">
                  <a:moveTo>
                    <a:pt x="442" y="17"/>
                  </a:moveTo>
                  <a:cubicBezTo>
                    <a:pt x="442" y="8"/>
                    <a:pt x="442" y="8"/>
                    <a:pt x="442" y="8"/>
                  </a:cubicBezTo>
                  <a:cubicBezTo>
                    <a:pt x="374" y="32"/>
                    <a:pt x="303" y="42"/>
                    <a:pt x="229" y="40"/>
                  </a:cubicBezTo>
                  <a:cubicBezTo>
                    <a:pt x="154" y="38"/>
                    <a:pt x="77" y="24"/>
                    <a:pt x="0" y="0"/>
                  </a:cubicBezTo>
                  <a:cubicBezTo>
                    <a:pt x="0" y="24"/>
                    <a:pt x="0" y="24"/>
                    <a:pt x="0" y="24"/>
                  </a:cubicBezTo>
                  <a:cubicBezTo>
                    <a:pt x="204" y="82"/>
                    <a:pt x="351" y="54"/>
                    <a:pt x="442"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29" name="Freeform 23">
              <a:extLst>
                <a:ext uri="{FF2B5EF4-FFF2-40B4-BE49-F238E27FC236}">
                  <a16:creationId xmlns:a16="http://schemas.microsoft.com/office/drawing/2014/main" id="{027829CF-3388-44A0-A16C-CD5EA77B6D25}"/>
                </a:ext>
              </a:extLst>
            </p:cNvPr>
            <p:cNvSpPr>
              <a:spLocks/>
            </p:cNvSpPr>
            <p:nvPr userDrawn="1"/>
          </p:nvSpPr>
          <p:spPr bwMode="auto">
            <a:xfrm>
              <a:off x="2355" y="2041"/>
              <a:ext cx="926" cy="139"/>
            </a:xfrm>
            <a:custGeom>
              <a:avLst/>
              <a:gdLst>
                <a:gd name="T0" fmla="*/ 442 w 442"/>
                <a:gd name="T1" fmla="*/ 31 h 66"/>
                <a:gd name="T2" fmla="*/ 442 w 442"/>
                <a:gd name="T3" fmla="*/ 22 h 66"/>
                <a:gd name="T4" fmla="*/ 255 w 442"/>
                <a:gd name="T5" fmla="*/ 48 h 66"/>
                <a:gd name="T6" fmla="*/ 0 w 442"/>
                <a:gd name="T7" fmla="*/ 0 h 66"/>
                <a:gd name="T8" fmla="*/ 0 w 442"/>
                <a:gd name="T9" fmla="*/ 23 h 66"/>
                <a:gd name="T10" fmla="*/ 235 w 442"/>
                <a:gd name="T11" fmla="*/ 64 h 66"/>
                <a:gd name="T12" fmla="*/ 442 w 442"/>
                <a:gd name="T13" fmla="*/ 31 h 66"/>
              </a:gdLst>
              <a:ahLst/>
              <a:cxnLst>
                <a:cxn ang="0">
                  <a:pos x="T0" y="T1"/>
                </a:cxn>
                <a:cxn ang="0">
                  <a:pos x="T2" y="T3"/>
                </a:cxn>
                <a:cxn ang="0">
                  <a:pos x="T4" y="T5"/>
                </a:cxn>
                <a:cxn ang="0">
                  <a:pos x="T6" y="T7"/>
                </a:cxn>
                <a:cxn ang="0">
                  <a:pos x="T8" y="T9"/>
                </a:cxn>
                <a:cxn ang="0">
                  <a:pos x="T10" y="T11"/>
                </a:cxn>
                <a:cxn ang="0">
                  <a:pos x="T12" y="T13"/>
                </a:cxn>
              </a:cxnLst>
              <a:rect l="0" t="0" r="r" b="b"/>
              <a:pathLst>
                <a:path w="442" h="66">
                  <a:moveTo>
                    <a:pt x="442" y="31"/>
                  </a:moveTo>
                  <a:cubicBezTo>
                    <a:pt x="442" y="22"/>
                    <a:pt x="442" y="22"/>
                    <a:pt x="442" y="22"/>
                  </a:cubicBezTo>
                  <a:cubicBezTo>
                    <a:pt x="382" y="41"/>
                    <a:pt x="320" y="49"/>
                    <a:pt x="255" y="48"/>
                  </a:cubicBezTo>
                  <a:cubicBezTo>
                    <a:pt x="172" y="46"/>
                    <a:pt x="86" y="29"/>
                    <a:pt x="0" y="0"/>
                  </a:cubicBezTo>
                  <a:cubicBezTo>
                    <a:pt x="0" y="23"/>
                    <a:pt x="0" y="23"/>
                    <a:pt x="0" y="23"/>
                  </a:cubicBezTo>
                  <a:cubicBezTo>
                    <a:pt x="89" y="52"/>
                    <a:pt x="168" y="63"/>
                    <a:pt x="235" y="64"/>
                  </a:cubicBezTo>
                  <a:cubicBezTo>
                    <a:pt x="322" y="66"/>
                    <a:pt x="391" y="50"/>
                    <a:pt x="442"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0" name="Freeform 24">
              <a:extLst>
                <a:ext uri="{FF2B5EF4-FFF2-40B4-BE49-F238E27FC236}">
                  <a16:creationId xmlns:a16="http://schemas.microsoft.com/office/drawing/2014/main" id="{CDCF9890-E587-4F5C-A83B-1F7C58FA3D53}"/>
                </a:ext>
              </a:extLst>
            </p:cNvPr>
            <p:cNvSpPr>
              <a:spLocks/>
            </p:cNvSpPr>
            <p:nvPr userDrawn="1"/>
          </p:nvSpPr>
          <p:spPr bwMode="auto">
            <a:xfrm>
              <a:off x="2355" y="2294"/>
              <a:ext cx="188" cy="36"/>
            </a:xfrm>
            <a:custGeom>
              <a:avLst/>
              <a:gdLst>
                <a:gd name="T0" fmla="*/ 6 w 90"/>
                <a:gd name="T1" fmla="*/ 17 h 17"/>
                <a:gd name="T2" fmla="*/ 90 w 90"/>
                <a:gd name="T3" fmla="*/ 17 h 17"/>
                <a:gd name="T4" fmla="*/ 14 w 90"/>
                <a:gd name="T5" fmla="*/ 3 h 17"/>
                <a:gd name="T6" fmla="*/ 0 w 90"/>
                <a:gd name="T7" fmla="*/ 0 h 17"/>
                <a:gd name="T8" fmla="*/ 0 w 90"/>
                <a:gd name="T9" fmla="*/ 11 h 17"/>
                <a:gd name="T10" fmla="*/ 0 w 90"/>
                <a:gd name="T11" fmla="*/ 13 h 17"/>
                <a:gd name="T12" fmla="*/ 6 w 9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90" h="17">
                  <a:moveTo>
                    <a:pt x="6" y="17"/>
                  </a:moveTo>
                  <a:cubicBezTo>
                    <a:pt x="90" y="17"/>
                    <a:pt x="90" y="17"/>
                    <a:pt x="90" y="17"/>
                  </a:cubicBezTo>
                  <a:cubicBezTo>
                    <a:pt x="67" y="14"/>
                    <a:pt x="39" y="9"/>
                    <a:pt x="14" y="3"/>
                  </a:cubicBezTo>
                  <a:cubicBezTo>
                    <a:pt x="9" y="2"/>
                    <a:pt x="4" y="1"/>
                    <a:pt x="0" y="0"/>
                  </a:cubicBezTo>
                  <a:cubicBezTo>
                    <a:pt x="0" y="11"/>
                    <a:pt x="0" y="11"/>
                    <a:pt x="0" y="11"/>
                  </a:cubicBezTo>
                  <a:cubicBezTo>
                    <a:pt x="0" y="12"/>
                    <a:pt x="0" y="13"/>
                    <a:pt x="0" y="13"/>
                  </a:cubicBezTo>
                  <a:cubicBezTo>
                    <a:pt x="1" y="16"/>
                    <a:pt x="3" y="17"/>
                    <a:pt x="6"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1" name="Freeform 25">
              <a:extLst>
                <a:ext uri="{FF2B5EF4-FFF2-40B4-BE49-F238E27FC236}">
                  <a16:creationId xmlns:a16="http://schemas.microsoft.com/office/drawing/2014/main" id="{6100225C-4DAE-4446-9AB2-705B57A820E7}"/>
                </a:ext>
              </a:extLst>
            </p:cNvPr>
            <p:cNvSpPr>
              <a:spLocks/>
            </p:cNvSpPr>
            <p:nvPr userDrawn="1"/>
          </p:nvSpPr>
          <p:spPr bwMode="auto">
            <a:xfrm>
              <a:off x="2355" y="2197"/>
              <a:ext cx="926" cy="141"/>
            </a:xfrm>
            <a:custGeom>
              <a:avLst/>
              <a:gdLst>
                <a:gd name="T0" fmla="*/ 442 w 442"/>
                <a:gd name="T1" fmla="*/ 9 h 67"/>
                <a:gd name="T2" fmla="*/ 442 w 442"/>
                <a:gd name="T3" fmla="*/ 0 h 67"/>
                <a:gd name="T4" fmla="*/ 228 w 442"/>
                <a:gd name="T5" fmla="*/ 39 h 67"/>
                <a:gd name="T6" fmla="*/ 0 w 442"/>
                <a:gd name="T7" fmla="*/ 7 h 67"/>
                <a:gd name="T8" fmla="*/ 0 w 442"/>
                <a:gd name="T9" fmla="*/ 30 h 67"/>
                <a:gd name="T10" fmla="*/ 126 w 442"/>
                <a:gd name="T11" fmla="*/ 53 h 67"/>
                <a:gd name="T12" fmla="*/ 442 w 442"/>
                <a:gd name="T13" fmla="*/ 9 h 67"/>
              </a:gdLst>
              <a:ahLst/>
              <a:cxnLst>
                <a:cxn ang="0">
                  <a:pos x="T0" y="T1"/>
                </a:cxn>
                <a:cxn ang="0">
                  <a:pos x="T2" y="T3"/>
                </a:cxn>
                <a:cxn ang="0">
                  <a:pos x="T4" y="T5"/>
                </a:cxn>
                <a:cxn ang="0">
                  <a:pos x="T6" y="T7"/>
                </a:cxn>
                <a:cxn ang="0">
                  <a:pos x="T8" y="T9"/>
                </a:cxn>
                <a:cxn ang="0">
                  <a:pos x="T10" y="T11"/>
                </a:cxn>
                <a:cxn ang="0">
                  <a:pos x="T12" y="T13"/>
                </a:cxn>
              </a:cxnLst>
              <a:rect l="0" t="0" r="r" b="b"/>
              <a:pathLst>
                <a:path w="442" h="67">
                  <a:moveTo>
                    <a:pt x="442" y="9"/>
                  </a:moveTo>
                  <a:cubicBezTo>
                    <a:pt x="442" y="0"/>
                    <a:pt x="442" y="0"/>
                    <a:pt x="442" y="0"/>
                  </a:cubicBezTo>
                  <a:cubicBezTo>
                    <a:pt x="374" y="26"/>
                    <a:pt x="302" y="38"/>
                    <a:pt x="228" y="39"/>
                  </a:cubicBezTo>
                  <a:cubicBezTo>
                    <a:pt x="153" y="39"/>
                    <a:pt x="76" y="27"/>
                    <a:pt x="0" y="7"/>
                  </a:cubicBezTo>
                  <a:cubicBezTo>
                    <a:pt x="0" y="30"/>
                    <a:pt x="0" y="30"/>
                    <a:pt x="0" y="30"/>
                  </a:cubicBezTo>
                  <a:cubicBezTo>
                    <a:pt x="45" y="42"/>
                    <a:pt x="87" y="49"/>
                    <a:pt x="126" y="53"/>
                  </a:cubicBezTo>
                  <a:cubicBezTo>
                    <a:pt x="266" y="67"/>
                    <a:pt x="371" y="40"/>
                    <a:pt x="442"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2" name="Freeform 26">
              <a:extLst>
                <a:ext uri="{FF2B5EF4-FFF2-40B4-BE49-F238E27FC236}">
                  <a16:creationId xmlns:a16="http://schemas.microsoft.com/office/drawing/2014/main" id="{6FDF4628-D975-455E-A94D-7C0F5FF64998}"/>
                </a:ext>
              </a:extLst>
            </p:cNvPr>
            <p:cNvSpPr>
              <a:spLocks/>
            </p:cNvSpPr>
            <p:nvPr userDrawn="1"/>
          </p:nvSpPr>
          <p:spPr bwMode="auto">
            <a:xfrm>
              <a:off x="2355" y="1984"/>
              <a:ext cx="926" cy="127"/>
            </a:xfrm>
            <a:custGeom>
              <a:avLst/>
              <a:gdLst>
                <a:gd name="T0" fmla="*/ 260 w 442"/>
                <a:gd name="T1" fmla="*/ 59 h 60"/>
                <a:gd name="T2" fmla="*/ 263 w 442"/>
                <a:gd name="T3" fmla="*/ 59 h 60"/>
                <a:gd name="T4" fmla="*/ 265 w 442"/>
                <a:gd name="T5" fmla="*/ 59 h 60"/>
                <a:gd name="T6" fmla="*/ 442 w 442"/>
                <a:gd name="T7" fmla="*/ 32 h 60"/>
                <a:gd name="T8" fmla="*/ 442 w 442"/>
                <a:gd name="T9" fmla="*/ 23 h 60"/>
                <a:gd name="T10" fmla="*/ 297 w 442"/>
                <a:gd name="T11" fmla="*/ 43 h 60"/>
                <a:gd name="T12" fmla="*/ 272 w 442"/>
                <a:gd name="T13" fmla="*/ 43 h 60"/>
                <a:gd name="T14" fmla="*/ 118 w 442"/>
                <a:gd name="T15" fmla="*/ 22 h 60"/>
                <a:gd name="T16" fmla="*/ 39 w 442"/>
                <a:gd name="T17" fmla="*/ 0 h 60"/>
                <a:gd name="T18" fmla="*/ 6 w 442"/>
                <a:gd name="T19" fmla="*/ 0 h 60"/>
                <a:gd name="T20" fmla="*/ 0 w 442"/>
                <a:gd name="T21" fmla="*/ 6 h 60"/>
                <a:gd name="T22" fmla="*/ 0 w 442"/>
                <a:gd name="T23" fmla="*/ 10 h 60"/>
                <a:gd name="T24" fmla="*/ 260 w 442"/>
                <a:gd name="T25"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2" h="60">
                  <a:moveTo>
                    <a:pt x="260" y="59"/>
                  </a:moveTo>
                  <a:cubicBezTo>
                    <a:pt x="261" y="59"/>
                    <a:pt x="262" y="59"/>
                    <a:pt x="263" y="59"/>
                  </a:cubicBezTo>
                  <a:cubicBezTo>
                    <a:pt x="264" y="59"/>
                    <a:pt x="264" y="59"/>
                    <a:pt x="265" y="59"/>
                  </a:cubicBezTo>
                  <a:cubicBezTo>
                    <a:pt x="338" y="60"/>
                    <a:pt x="397" y="47"/>
                    <a:pt x="442" y="32"/>
                  </a:cubicBezTo>
                  <a:cubicBezTo>
                    <a:pt x="442" y="23"/>
                    <a:pt x="442" y="23"/>
                    <a:pt x="442" y="23"/>
                  </a:cubicBezTo>
                  <a:cubicBezTo>
                    <a:pt x="395" y="36"/>
                    <a:pt x="347" y="43"/>
                    <a:pt x="297" y="43"/>
                  </a:cubicBezTo>
                  <a:cubicBezTo>
                    <a:pt x="289" y="43"/>
                    <a:pt x="280" y="43"/>
                    <a:pt x="272" y="43"/>
                  </a:cubicBezTo>
                  <a:cubicBezTo>
                    <a:pt x="222" y="42"/>
                    <a:pt x="170" y="34"/>
                    <a:pt x="118" y="22"/>
                  </a:cubicBezTo>
                  <a:cubicBezTo>
                    <a:pt x="92" y="16"/>
                    <a:pt x="65" y="8"/>
                    <a:pt x="39" y="0"/>
                  </a:cubicBezTo>
                  <a:cubicBezTo>
                    <a:pt x="6" y="0"/>
                    <a:pt x="6" y="0"/>
                    <a:pt x="6" y="0"/>
                  </a:cubicBezTo>
                  <a:cubicBezTo>
                    <a:pt x="2" y="0"/>
                    <a:pt x="0" y="3"/>
                    <a:pt x="0" y="6"/>
                  </a:cubicBezTo>
                  <a:cubicBezTo>
                    <a:pt x="0" y="10"/>
                    <a:pt x="0" y="10"/>
                    <a:pt x="0" y="10"/>
                  </a:cubicBezTo>
                  <a:cubicBezTo>
                    <a:pt x="100" y="45"/>
                    <a:pt x="187" y="58"/>
                    <a:pt x="260"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3" name="Freeform 27">
              <a:extLst>
                <a:ext uri="{FF2B5EF4-FFF2-40B4-BE49-F238E27FC236}">
                  <a16:creationId xmlns:a16="http://schemas.microsoft.com/office/drawing/2014/main" id="{B3F1D1A1-0622-49B7-9D75-542664B7A8BF}"/>
                </a:ext>
              </a:extLst>
            </p:cNvPr>
            <p:cNvSpPr>
              <a:spLocks/>
            </p:cNvSpPr>
            <p:nvPr userDrawn="1"/>
          </p:nvSpPr>
          <p:spPr bwMode="auto">
            <a:xfrm>
              <a:off x="2812" y="1691"/>
              <a:ext cx="184" cy="32"/>
            </a:xfrm>
            <a:custGeom>
              <a:avLst/>
              <a:gdLst>
                <a:gd name="T0" fmla="*/ 88 w 88"/>
                <a:gd name="T1" fmla="*/ 6 h 15"/>
                <a:gd name="T2" fmla="*/ 86 w 88"/>
                <a:gd name="T3" fmla="*/ 2 h 15"/>
                <a:gd name="T4" fmla="*/ 84 w 88"/>
                <a:gd name="T5" fmla="*/ 0 h 15"/>
                <a:gd name="T6" fmla="*/ 81 w 88"/>
                <a:gd name="T7" fmla="*/ 0 h 15"/>
                <a:gd name="T8" fmla="*/ 0 w 88"/>
                <a:gd name="T9" fmla="*/ 0 h 15"/>
                <a:gd name="T10" fmla="*/ 88 w 88"/>
                <a:gd name="T11" fmla="*/ 15 h 15"/>
                <a:gd name="T12" fmla="*/ 88 w 88"/>
                <a:gd name="T13" fmla="*/ 6 h 15"/>
              </a:gdLst>
              <a:ahLst/>
              <a:cxnLst>
                <a:cxn ang="0">
                  <a:pos x="T0" y="T1"/>
                </a:cxn>
                <a:cxn ang="0">
                  <a:pos x="T2" y="T3"/>
                </a:cxn>
                <a:cxn ang="0">
                  <a:pos x="T4" y="T5"/>
                </a:cxn>
                <a:cxn ang="0">
                  <a:pos x="T6" y="T7"/>
                </a:cxn>
                <a:cxn ang="0">
                  <a:pos x="T8" y="T9"/>
                </a:cxn>
                <a:cxn ang="0">
                  <a:pos x="T10" y="T11"/>
                </a:cxn>
                <a:cxn ang="0">
                  <a:pos x="T12" y="T13"/>
                </a:cxn>
              </a:cxnLst>
              <a:rect l="0" t="0" r="r" b="b"/>
              <a:pathLst>
                <a:path w="88" h="15">
                  <a:moveTo>
                    <a:pt x="88" y="6"/>
                  </a:moveTo>
                  <a:cubicBezTo>
                    <a:pt x="88" y="5"/>
                    <a:pt x="87" y="3"/>
                    <a:pt x="86" y="2"/>
                  </a:cubicBezTo>
                  <a:cubicBezTo>
                    <a:pt x="86" y="1"/>
                    <a:pt x="85" y="1"/>
                    <a:pt x="84" y="0"/>
                  </a:cubicBezTo>
                  <a:cubicBezTo>
                    <a:pt x="83" y="0"/>
                    <a:pt x="82" y="0"/>
                    <a:pt x="81" y="0"/>
                  </a:cubicBezTo>
                  <a:cubicBezTo>
                    <a:pt x="0" y="0"/>
                    <a:pt x="0" y="0"/>
                    <a:pt x="0" y="0"/>
                  </a:cubicBezTo>
                  <a:cubicBezTo>
                    <a:pt x="27" y="6"/>
                    <a:pt x="65" y="12"/>
                    <a:pt x="88" y="15"/>
                  </a:cubicBezTo>
                  <a:lnTo>
                    <a:pt x="8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4" name="Freeform 28">
              <a:extLst>
                <a:ext uri="{FF2B5EF4-FFF2-40B4-BE49-F238E27FC236}">
                  <a16:creationId xmlns:a16="http://schemas.microsoft.com/office/drawing/2014/main" id="{96967A2D-D5EF-4340-BE72-0924081A849A}"/>
                </a:ext>
              </a:extLst>
            </p:cNvPr>
            <p:cNvSpPr>
              <a:spLocks/>
            </p:cNvSpPr>
            <p:nvPr userDrawn="1"/>
          </p:nvSpPr>
          <p:spPr bwMode="auto">
            <a:xfrm>
              <a:off x="2640" y="2332"/>
              <a:ext cx="356" cy="57"/>
            </a:xfrm>
            <a:custGeom>
              <a:avLst/>
              <a:gdLst>
                <a:gd name="T0" fmla="*/ 167 w 170"/>
                <a:gd name="T1" fmla="*/ 1 h 27"/>
                <a:gd name="T2" fmla="*/ 15 w 170"/>
                <a:gd name="T3" fmla="*/ 6 h 27"/>
                <a:gd name="T4" fmla="*/ 0 w 170"/>
                <a:gd name="T5" fmla="*/ 5 h 27"/>
                <a:gd name="T6" fmla="*/ 0 w 170"/>
                <a:gd name="T7" fmla="*/ 26 h 27"/>
                <a:gd name="T8" fmla="*/ 47 w 170"/>
                <a:gd name="T9" fmla="*/ 27 h 27"/>
                <a:gd name="T10" fmla="*/ 170 w 170"/>
                <a:gd name="T11" fmla="*/ 15 h 27"/>
                <a:gd name="T12" fmla="*/ 170 w 170"/>
                <a:gd name="T13" fmla="*/ 0 h 27"/>
                <a:gd name="T14" fmla="*/ 167 w 170"/>
                <a:gd name="T15" fmla="*/ 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27">
                  <a:moveTo>
                    <a:pt x="167" y="1"/>
                  </a:moveTo>
                  <a:cubicBezTo>
                    <a:pt x="118" y="8"/>
                    <a:pt x="67" y="10"/>
                    <a:pt x="15" y="6"/>
                  </a:cubicBezTo>
                  <a:cubicBezTo>
                    <a:pt x="10" y="6"/>
                    <a:pt x="5" y="6"/>
                    <a:pt x="0" y="5"/>
                  </a:cubicBezTo>
                  <a:cubicBezTo>
                    <a:pt x="0" y="26"/>
                    <a:pt x="0" y="26"/>
                    <a:pt x="0" y="26"/>
                  </a:cubicBezTo>
                  <a:cubicBezTo>
                    <a:pt x="16" y="27"/>
                    <a:pt x="31" y="27"/>
                    <a:pt x="47" y="27"/>
                  </a:cubicBezTo>
                  <a:cubicBezTo>
                    <a:pt x="92" y="27"/>
                    <a:pt x="133" y="22"/>
                    <a:pt x="170" y="15"/>
                  </a:cubicBezTo>
                  <a:cubicBezTo>
                    <a:pt x="170" y="0"/>
                    <a:pt x="170" y="0"/>
                    <a:pt x="170" y="0"/>
                  </a:cubicBezTo>
                  <a:cubicBezTo>
                    <a:pt x="169" y="0"/>
                    <a:pt x="168" y="0"/>
                    <a:pt x="16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5" name="Freeform 29">
              <a:extLst>
                <a:ext uri="{FF2B5EF4-FFF2-40B4-BE49-F238E27FC236}">
                  <a16:creationId xmlns:a16="http://schemas.microsoft.com/office/drawing/2014/main" id="{F1B89C83-1998-41F5-9619-6437E0847781}"/>
                </a:ext>
              </a:extLst>
            </p:cNvPr>
            <p:cNvSpPr>
              <a:spLocks/>
            </p:cNvSpPr>
            <p:nvPr userDrawn="1"/>
          </p:nvSpPr>
          <p:spPr bwMode="auto">
            <a:xfrm>
              <a:off x="2856" y="2589"/>
              <a:ext cx="140" cy="34"/>
            </a:xfrm>
            <a:custGeom>
              <a:avLst/>
              <a:gdLst>
                <a:gd name="T0" fmla="*/ 67 w 67"/>
                <a:gd name="T1" fmla="*/ 10 h 16"/>
                <a:gd name="T2" fmla="*/ 67 w 67"/>
                <a:gd name="T3" fmla="*/ 0 h 16"/>
                <a:gd name="T4" fmla="*/ 54 w 67"/>
                <a:gd name="T5" fmla="*/ 3 h 16"/>
                <a:gd name="T6" fmla="*/ 14 w 67"/>
                <a:gd name="T7" fmla="*/ 13 h 16"/>
                <a:gd name="T8" fmla="*/ 0 w 67"/>
                <a:gd name="T9" fmla="*/ 16 h 16"/>
                <a:gd name="T10" fmla="*/ 63 w 67"/>
                <a:gd name="T11" fmla="*/ 16 h 16"/>
                <a:gd name="T12" fmla="*/ 67 w 67"/>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67" h="16">
                  <a:moveTo>
                    <a:pt x="67" y="10"/>
                  </a:moveTo>
                  <a:cubicBezTo>
                    <a:pt x="67" y="0"/>
                    <a:pt x="67" y="0"/>
                    <a:pt x="67" y="0"/>
                  </a:cubicBezTo>
                  <a:cubicBezTo>
                    <a:pt x="63" y="1"/>
                    <a:pt x="58" y="2"/>
                    <a:pt x="54" y="3"/>
                  </a:cubicBezTo>
                  <a:cubicBezTo>
                    <a:pt x="41" y="7"/>
                    <a:pt x="27" y="10"/>
                    <a:pt x="14" y="13"/>
                  </a:cubicBezTo>
                  <a:cubicBezTo>
                    <a:pt x="9" y="14"/>
                    <a:pt x="5" y="15"/>
                    <a:pt x="0" y="16"/>
                  </a:cubicBezTo>
                  <a:cubicBezTo>
                    <a:pt x="63" y="16"/>
                    <a:pt x="63" y="16"/>
                    <a:pt x="63" y="16"/>
                  </a:cubicBezTo>
                  <a:cubicBezTo>
                    <a:pt x="65" y="15"/>
                    <a:pt x="67" y="13"/>
                    <a:pt x="67"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6" name="Freeform 30">
              <a:extLst>
                <a:ext uri="{FF2B5EF4-FFF2-40B4-BE49-F238E27FC236}">
                  <a16:creationId xmlns:a16="http://schemas.microsoft.com/office/drawing/2014/main" id="{01525A25-9E72-4EB7-8C68-3E58D1B456B5}"/>
                </a:ext>
              </a:extLst>
            </p:cNvPr>
            <p:cNvSpPr>
              <a:spLocks/>
            </p:cNvSpPr>
            <p:nvPr userDrawn="1"/>
          </p:nvSpPr>
          <p:spPr bwMode="auto">
            <a:xfrm>
              <a:off x="2640" y="1691"/>
              <a:ext cx="356" cy="95"/>
            </a:xfrm>
            <a:custGeom>
              <a:avLst/>
              <a:gdLst>
                <a:gd name="T0" fmla="*/ 4 w 170"/>
                <a:gd name="T1" fmla="*/ 0 h 45"/>
                <a:gd name="T2" fmla="*/ 3 w 170"/>
                <a:gd name="T3" fmla="*/ 1 h 45"/>
                <a:gd name="T4" fmla="*/ 2 w 170"/>
                <a:gd name="T5" fmla="*/ 1 h 45"/>
                <a:gd name="T6" fmla="*/ 1 w 170"/>
                <a:gd name="T7" fmla="*/ 2 h 45"/>
                <a:gd name="T8" fmla="*/ 1 w 170"/>
                <a:gd name="T9" fmla="*/ 3 h 45"/>
                <a:gd name="T10" fmla="*/ 0 w 170"/>
                <a:gd name="T11" fmla="*/ 5 h 45"/>
                <a:gd name="T12" fmla="*/ 111 w 170"/>
                <a:gd name="T13" fmla="*/ 36 h 45"/>
                <a:gd name="T14" fmla="*/ 170 w 170"/>
                <a:gd name="T15" fmla="*/ 45 h 45"/>
                <a:gd name="T16" fmla="*/ 170 w 170"/>
                <a:gd name="T17" fmla="*/ 30 h 45"/>
                <a:gd name="T18" fmla="*/ 124 w 170"/>
                <a:gd name="T19" fmla="*/ 22 h 45"/>
                <a:gd name="T20" fmla="*/ 42 w 170"/>
                <a:gd name="T21" fmla="*/ 0 h 45"/>
                <a:gd name="T22" fmla="*/ 6 w 170"/>
                <a:gd name="T23" fmla="*/ 0 h 45"/>
                <a:gd name="T24" fmla="*/ 4 w 170"/>
                <a:gd name="T25" fmla="*/ 0 h 45"/>
                <a:gd name="T26" fmla="*/ 4 w 170"/>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0" h="45">
                  <a:moveTo>
                    <a:pt x="4" y="0"/>
                  </a:moveTo>
                  <a:cubicBezTo>
                    <a:pt x="4" y="0"/>
                    <a:pt x="3" y="1"/>
                    <a:pt x="3" y="1"/>
                  </a:cubicBezTo>
                  <a:cubicBezTo>
                    <a:pt x="3" y="1"/>
                    <a:pt x="2" y="1"/>
                    <a:pt x="2" y="1"/>
                  </a:cubicBezTo>
                  <a:cubicBezTo>
                    <a:pt x="2" y="2"/>
                    <a:pt x="2" y="2"/>
                    <a:pt x="1" y="2"/>
                  </a:cubicBezTo>
                  <a:cubicBezTo>
                    <a:pt x="1" y="3"/>
                    <a:pt x="1" y="3"/>
                    <a:pt x="1" y="3"/>
                  </a:cubicBezTo>
                  <a:cubicBezTo>
                    <a:pt x="0" y="4"/>
                    <a:pt x="0" y="5"/>
                    <a:pt x="0" y="5"/>
                  </a:cubicBezTo>
                  <a:cubicBezTo>
                    <a:pt x="40" y="19"/>
                    <a:pt x="77" y="29"/>
                    <a:pt x="111" y="36"/>
                  </a:cubicBezTo>
                  <a:cubicBezTo>
                    <a:pt x="132" y="40"/>
                    <a:pt x="151" y="43"/>
                    <a:pt x="170" y="45"/>
                  </a:cubicBezTo>
                  <a:cubicBezTo>
                    <a:pt x="170" y="30"/>
                    <a:pt x="170" y="30"/>
                    <a:pt x="170" y="30"/>
                  </a:cubicBezTo>
                  <a:cubicBezTo>
                    <a:pt x="155" y="28"/>
                    <a:pt x="140" y="25"/>
                    <a:pt x="124" y="22"/>
                  </a:cubicBezTo>
                  <a:cubicBezTo>
                    <a:pt x="97" y="16"/>
                    <a:pt x="70" y="9"/>
                    <a:pt x="42" y="0"/>
                  </a:cubicBezTo>
                  <a:cubicBezTo>
                    <a:pt x="6" y="0"/>
                    <a:pt x="6" y="0"/>
                    <a:pt x="6" y="0"/>
                  </a:cubicBezTo>
                  <a:cubicBezTo>
                    <a:pt x="6" y="0"/>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7" name="Freeform 31">
              <a:extLst>
                <a:ext uri="{FF2B5EF4-FFF2-40B4-BE49-F238E27FC236}">
                  <a16:creationId xmlns:a16="http://schemas.microsoft.com/office/drawing/2014/main" id="{73E7CB31-1DC9-4592-99BE-C9275472EA3A}"/>
                </a:ext>
              </a:extLst>
            </p:cNvPr>
            <p:cNvSpPr>
              <a:spLocks/>
            </p:cNvSpPr>
            <p:nvPr userDrawn="1"/>
          </p:nvSpPr>
          <p:spPr bwMode="auto">
            <a:xfrm>
              <a:off x="3011" y="2252"/>
              <a:ext cx="270" cy="78"/>
            </a:xfrm>
            <a:custGeom>
              <a:avLst/>
              <a:gdLst>
                <a:gd name="T0" fmla="*/ 129 w 129"/>
                <a:gd name="T1" fmla="*/ 0 h 37"/>
                <a:gd name="T2" fmla="*/ 0 w 129"/>
                <a:gd name="T3" fmla="*/ 37 h 37"/>
                <a:gd name="T4" fmla="*/ 57 w 129"/>
                <a:gd name="T5" fmla="*/ 37 h 37"/>
                <a:gd name="T6" fmla="*/ 129 w 129"/>
                <a:gd name="T7" fmla="*/ 10 h 37"/>
                <a:gd name="T8" fmla="*/ 129 w 129"/>
                <a:gd name="T9" fmla="*/ 0 h 37"/>
              </a:gdLst>
              <a:ahLst/>
              <a:cxnLst>
                <a:cxn ang="0">
                  <a:pos x="T0" y="T1"/>
                </a:cxn>
                <a:cxn ang="0">
                  <a:pos x="T2" y="T3"/>
                </a:cxn>
                <a:cxn ang="0">
                  <a:pos x="T4" y="T5"/>
                </a:cxn>
                <a:cxn ang="0">
                  <a:pos x="T6" y="T7"/>
                </a:cxn>
                <a:cxn ang="0">
                  <a:pos x="T8" y="T9"/>
                </a:cxn>
              </a:cxnLst>
              <a:rect l="0" t="0" r="r" b="b"/>
              <a:pathLst>
                <a:path w="129" h="37">
                  <a:moveTo>
                    <a:pt x="129" y="0"/>
                  </a:moveTo>
                  <a:cubicBezTo>
                    <a:pt x="87" y="18"/>
                    <a:pt x="44" y="30"/>
                    <a:pt x="0" y="37"/>
                  </a:cubicBezTo>
                  <a:cubicBezTo>
                    <a:pt x="57" y="37"/>
                    <a:pt x="57" y="37"/>
                    <a:pt x="57" y="37"/>
                  </a:cubicBezTo>
                  <a:cubicBezTo>
                    <a:pt x="84" y="29"/>
                    <a:pt x="108" y="19"/>
                    <a:pt x="129" y="10"/>
                  </a:cubicBezTo>
                  <a:lnTo>
                    <a:pt x="1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8" name="Freeform 32">
              <a:extLst>
                <a:ext uri="{FF2B5EF4-FFF2-40B4-BE49-F238E27FC236}">
                  <a16:creationId xmlns:a16="http://schemas.microsoft.com/office/drawing/2014/main" id="{AFD328DF-43F5-477A-B82F-8AB589EC79F0}"/>
                </a:ext>
              </a:extLst>
            </p:cNvPr>
            <p:cNvSpPr>
              <a:spLocks/>
            </p:cNvSpPr>
            <p:nvPr userDrawn="1"/>
          </p:nvSpPr>
          <p:spPr bwMode="auto">
            <a:xfrm>
              <a:off x="2640" y="2460"/>
              <a:ext cx="356" cy="78"/>
            </a:xfrm>
            <a:custGeom>
              <a:avLst/>
              <a:gdLst>
                <a:gd name="T0" fmla="*/ 114 w 170"/>
                <a:gd name="T1" fmla="*/ 10 h 37"/>
                <a:gd name="T2" fmla="*/ 22 w 170"/>
                <a:gd name="T3" fmla="*/ 17 h 37"/>
                <a:gd name="T4" fmla="*/ 0 w 170"/>
                <a:gd name="T5" fmla="*/ 16 h 37"/>
                <a:gd name="T6" fmla="*/ 0 w 170"/>
                <a:gd name="T7" fmla="*/ 37 h 37"/>
                <a:gd name="T8" fmla="*/ 170 w 170"/>
                <a:gd name="T9" fmla="*/ 15 h 37"/>
                <a:gd name="T10" fmla="*/ 170 w 170"/>
                <a:gd name="T11" fmla="*/ 0 h 37"/>
                <a:gd name="T12" fmla="*/ 114 w 170"/>
                <a:gd name="T13" fmla="*/ 10 h 37"/>
              </a:gdLst>
              <a:ahLst/>
              <a:cxnLst>
                <a:cxn ang="0">
                  <a:pos x="T0" y="T1"/>
                </a:cxn>
                <a:cxn ang="0">
                  <a:pos x="T2" y="T3"/>
                </a:cxn>
                <a:cxn ang="0">
                  <a:pos x="T4" y="T5"/>
                </a:cxn>
                <a:cxn ang="0">
                  <a:pos x="T6" y="T7"/>
                </a:cxn>
                <a:cxn ang="0">
                  <a:pos x="T8" y="T9"/>
                </a:cxn>
                <a:cxn ang="0">
                  <a:pos x="T10" y="T11"/>
                </a:cxn>
                <a:cxn ang="0">
                  <a:pos x="T12" y="T13"/>
                </a:cxn>
              </a:cxnLst>
              <a:rect l="0" t="0" r="r" b="b"/>
              <a:pathLst>
                <a:path w="170" h="37">
                  <a:moveTo>
                    <a:pt x="114" y="10"/>
                  </a:moveTo>
                  <a:cubicBezTo>
                    <a:pt x="84" y="14"/>
                    <a:pt x="53" y="16"/>
                    <a:pt x="22" y="17"/>
                  </a:cubicBezTo>
                  <a:cubicBezTo>
                    <a:pt x="14" y="17"/>
                    <a:pt x="7" y="17"/>
                    <a:pt x="0" y="16"/>
                  </a:cubicBezTo>
                  <a:cubicBezTo>
                    <a:pt x="0" y="37"/>
                    <a:pt x="0" y="37"/>
                    <a:pt x="0" y="37"/>
                  </a:cubicBezTo>
                  <a:cubicBezTo>
                    <a:pt x="64" y="36"/>
                    <a:pt x="121" y="28"/>
                    <a:pt x="170" y="15"/>
                  </a:cubicBezTo>
                  <a:cubicBezTo>
                    <a:pt x="170" y="0"/>
                    <a:pt x="170" y="0"/>
                    <a:pt x="170" y="0"/>
                  </a:cubicBezTo>
                  <a:cubicBezTo>
                    <a:pt x="151" y="4"/>
                    <a:pt x="133" y="7"/>
                    <a:pt x="11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39" name="Freeform 33">
              <a:extLst>
                <a:ext uri="{FF2B5EF4-FFF2-40B4-BE49-F238E27FC236}">
                  <a16:creationId xmlns:a16="http://schemas.microsoft.com/office/drawing/2014/main" id="{69F4783C-22D1-49FE-AD1C-136E0EBD3AEF}"/>
                </a:ext>
              </a:extLst>
            </p:cNvPr>
            <p:cNvSpPr>
              <a:spLocks/>
            </p:cNvSpPr>
            <p:nvPr userDrawn="1"/>
          </p:nvSpPr>
          <p:spPr bwMode="auto">
            <a:xfrm>
              <a:off x="3210" y="2302"/>
              <a:ext cx="71" cy="28"/>
            </a:xfrm>
            <a:custGeom>
              <a:avLst/>
              <a:gdLst>
                <a:gd name="T0" fmla="*/ 28 w 34"/>
                <a:gd name="T1" fmla="*/ 13 h 13"/>
                <a:gd name="T2" fmla="*/ 34 w 34"/>
                <a:gd name="T3" fmla="*/ 9 h 13"/>
                <a:gd name="T4" fmla="*/ 34 w 34"/>
                <a:gd name="T5" fmla="*/ 0 h 13"/>
                <a:gd name="T6" fmla="*/ 33 w 34"/>
                <a:gd name="T7" fmla="*/ 0 h 13"/>
                <a:gd name="T8" fmla="*/ 9 w 34"/>
                <a:gd name="T9" fmla="*/ 10 h 13"/>
                <a:gd name="T10" fmla="*/ 0 w 34"/>
                <a:gd name="T11" fmla="*/ 13 h 13"/>
                <a:gd name="T12" fmla="*/ 28 w 34"/>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34" h="13">
                  <a:moveTo>
                    <a:pt x="28" y="13"/>
                  </a:moveTo>
                  <a:cubicBezTo>
                    <a:pt x="30" y="13"/>
                    <a:pt x="33" y="12"/>
                    <a:pt x="34" y="9"/>
                  </a:cubicBezTo>
                  <a:cubicBezTo>
                    <a:pt x="34" y="0"/>
                    <a:pt x="34" y="0"/>
                    <a:pt x="34" y="0"/>
                  </a:cubicBezTo>
                  <a:cubicBezTo>
                    <a:pt x="33" y="0"/>
                    <a:pt x="33" y="0"/>
                    <a:pt x="33" y="0"/>
                  </a:cubicBezTo>
                  <a:cubicBezTo>
                    <a:pt x="27" y="3"/>
                    <a:pt x="17" y="7"/>
                    <a:pt x="9" y="10"/>
                  </a:cubicBezTo>
                  <a:cubicBezTo>
                    <a:pt x="5" y="11"/>
                    <a:pt x="2" y="12"/>
                    <a:pt x="0" y="13"/>
                  </a:cubicBezTo>
                  <a:lnTo>
                    <a:pt x="2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40" name="Freeform 34">
              <a:extLst>
                <a:ext uri="{FF2B5EF4-FFF2-40B4-BE49-F238E27FC236}">
                  <a16:creationId xmlns:a16="http://schemas.microsoft.com/office/drawing/2014/main" id="{F38A966D-06F1-4BE6-A5CC-0D7D4411D2F8}"/>
                </a:ext>
              </a:extLst>
            </p:cNvPr>
            <p:cNvSpPr>
              <a:spLocks/>
            </p:cNvSpPr>
            <p:nvPr userDrawn="1"/>
          </p:nvSpPr>
          <p:spPr bwMode="auto">
            <a:xfrm>
              <a:off x="2640" y="2526"/>
              <a:ext cx="356" cy="88"/>
            </a:xfrm>
            <a:custGeom>
              <a:avLst/>
              <a:gdLst>
                <a:gd name="T0" fmla="*/ 170 w 170"/>
                <a:gd name="T1" fmla="*/ 0 h 42"/>
                <a:gd name="T2" fmla="*/ 0 w 170"/>
                <a:gd name="T3" fmla="*/ 21 h 42"/>
                <a:gd name="T4" fmla="*/ 0 w 170"/>
                <a:gd name="T5" fmla="*/ 40 h 42"/>
                <a:gd name="T6" fmla="*/ 0 w 170"/>
                <a:gd name="T7" fmla="*/ 41 h 42"/>
                <a:gd name="T8" fmla="*/ 0 w 170"/>
                <a:gd name="T9" fmla="*/ 42 h 42"/>
                <a:gd name="T10" fmla="*/ 66 w 170"/>
                <a:gd name="T11" fmla="*/ 36 h 42"/>
                <a:gd name="T12" fmla="*/ 170 w 170"/>
                <a:gd name="T13" fmla="*/ 15 h 42"/>
                <a:gd name="T14" fmla="*/ 170 w 170"/>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42">
                  <a:moveTo>
                    <a:pt x="170" y="0"/>
                  </a:moveTo>
                  <a:cubicBezTo>
                    <a:pt x="115" y="14"/>
                    <a:pt x="58" y="21"/>
                    <a:pt x="0" y="21"/>
                  </a:cubicBezTo>
                  <a:cubicBezTo>
                    <a:pt x="0" y="40"/>
                    <a:pt x="0" y="40"/>
                    <a:pt x="0" y="40"/>
                  </a:cubicBezTo>
                  <a:cubicBezTo>
                    <a:pt x="0" y="40"/>
                    <a:pt x="0" y="41"/>
                    <a:pt x="0" y="41"/>
                  </a:cubicBezTo>
                  <a:cubicBezTo>
                    <a:pt x="0" y="41"/>
                    <a:pt x="0" y="42"/>
                    <a:pt x="0" y="42"/>
                  </a:cubicBezTo>
                  <a:cubicBezTo>
                    <a:pt x="23" y="41"/>
                    <a:pt x="45" y="39"/>
                    <a:pt x="66" y="36"/>
                  </a:cubicBezTo>
                  <a:cubicBezTo>
                    <a:pt x="104" y="31"/>
                    <a:pt x="138" y="24"/>
                    <a:pt x="170" y="15"/>
                  </a:cubicBezTo>
                  <a:lnTo>
                    <a:pt x="1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sp>
          <p:nvSpPr>
            <p:cNvPr id="41" name="Freeform 35">
              <a:extLst>
                <a:ext uri="{FF2B5EF4-FFF2-40B4-BE49-F238E27FC236}">
                  <a16:creationId xmlns:a16="http://schemas.microsoft.com/office/drawing/2014/main" id="{B7AB077C-A4B2-4260-B6EC-2B990E1C1169}"/>
                </a:ext>
              </a:extLst>
            </p:cNvPr>
            <p:cNvSpPr>
              <a:spLocks/>
            </p:cNvSpPr>
            <p:nvPr userDrawn="1"/>
          </p:nvSpPr>
          <p:spPr bwMode="auto">
            <a:xfrm>
              <a:off x="2640" y="2397"/>
              <a:ext cx="356" cy="68"/>
            </a:xfrm>
            <a:custGeom>
              <a:avLst/>
              <a:gdLst>
                <a:gd name="T0" fmla="*/ 0 w 170"/>
                <a:gd name="T1" fmla="*/ 10 h 32"/>
                <a:gd name="T2" fmla="*/ 0 w 170"/>
                <a:gd name="T3" fmla="*/ 31 h 32"/>
                <a:gd name="T4" fmla="*/ 170 w 170"/>
                <a:gd name="T5" fmla="*/ 15 h 32"/>
                <a:gd name="T6" fmla="*/ 170 w 170"/>
                <a:gd name="T7" fmla="*/ 0 h 32"/>
                <a:gd name="T8" fmla="*/ 129 w 170"/>
                <a:gd name="T9" fmla="*/ 6 h 32"/>
                <a:gd name="T10" fmla="*/ 0 w 170"/>
                <a:gd name="T11" fmla="*/ 10 h 32"/>
              </a:gdLst>
              <a:ahLst/>
              <a:cxnLst>
                <a:cxn ang="0">
                  <a:pos x="T0" y="T1"/>
                </a:cxn>
                <a:cxn ang="0">
                  <a:pos x="T2" y="T3"/>
                </a:cxn>
                <a:cxn ang="0">
                  <a:pos x="T4" y="T5"/>
                </a:cxn>
                <a:cxn ang="0">
                  <a:pos x="T6" y="T7"/>
                </a:cxn>
                <a:cxn ang="0">
                  <a:pos x="T8" y="T9"/>
                </a:cxn>
                <a:cxn ang="0">
                  <a:pos x="T10" y="T11"/>
                </a:cxn>
              </a:cxnLst>
              <a:rect l="0" t="0" r="r" b="b"/>
              <a:pathLst>
                <a:path w="170" h="32">
                  <a:moveTo>
                    <a:pt x="0" y="10"/>
                  </a:moveTo>
                  <a:cubicBezTo>
                    <a:pt x="0" y="31"/>
                    <a:pt x="0" y="31"/>
                    <a:pt x="0" y="31"/>
                  </a:cubicBezTo>
                  <a:cubicBezTo>
                    <a:pt x="64" y="32"/>
                    <a:pt x="121" y="26"/>
                    <a:pt x="170" y="15"/>
                  </a:cubicBezTo>
                  <a:cubicBezTo>
                    <a:pt x="170" y="0"/>
                    <a:pt x="170" y="0"/>
                    <a:pt x="170" y="0"/>
                  </a:cubicBezTo>
                  <a:cubicBezTo>
                    <a:pt x="156" y="2"/>
                    <a:pt x="143" y="4"/>
                    <a:pt x="129" y="6"/>
                  </a:cubicBezTo>
                  <a:cubicBezTo>
                    <a:pt x="87" y="11"/>
                    <a:pt x="44" y="13"/>
                    <a:pt x="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508075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slid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CC26A71-08CE-41A4-AFB9-6427B348BBA2}"/>
              </a:ext>
            </a:extLst>
          </p:cNvPr>
          <p:cNvGraphicFramePr>
            <a:graphicFrameLocks noChangeAspect="1"/>
          </p:cNvGraphicFramePr>
          <p:nvPr userDrawn="1">
            <p:custDataLst>
              <p:tags r:id="rId1"/>
            </p:custDataLst>
            <p:extLst>
              <p:ext uri="{D42A27DB-BD31-4B8C-83A1-F6EECF244321}">
                <p14:modId xmlns:p14="http://schemas.microsoft.com/office/powerpoint/2010/main" val="325606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1CC26A71-08CE-41A4-AFB9-6427B348BB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FCA15D9F-11CE-4FD2-9944-ABB4ABBC23D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6000" b="1" i="0" baseline="0">
              <a:latin typeface="Arial" panose="020B0604020202020204" pitchFamily="34" charset="0"/>
              <a:ea typeface="+mj-ea"/>
              <a:cs typeface="+mj-cs"/>
              <a:sym typeface="Arial" panose="020B0604020202020204" pitchFamily="34" charset="0"/>
            </a:endParaRPr>
          </a:p>
        </p:txBody>
      </p:sp>
      <p:sp>
        <p:nvSpPr>
          <p:cNvPr id="76" name="Vrije vorm: vorm 75">
            <a:extLst>
              <a:ext uri="{FF2B5EF4-FFF2-40B4-BE49-F238E27FC236}">
                <a16:creationId xmlns:a16="http://schemas.microsoft.com/office/drawing/2014/main" id="{BB8D445F-3A97-416B-876D-CF71CD471850}"/>
              </a:ext>
            </a:extLst>
          </p:cNvPr>
          <p:cNvSpPr/>
          <p:nvPr userDrawn="1"/>
        </p:nvSpPr>
        <p:spPr>
          <a:xfrm>
            <a:off x="212304" y="5822950"/>
            <a:ext cx="11760620"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77" name="Tijdelijke aanduiding voor afbeelding 76">
            <a:extLst>
              <a:ext uri="{FF2B5EF4-FFF2-40B4-BE49-F238E27FC236}">
                <a16:creationId xmlns:a16="http://schemas.microsoft.com/office/drawing/2014/main" id="{169AF84B-62CE-43AF-9FFE-CB9F5E5BE1D9}"/>
              </a:ext>
            </a:extLst>
          </p:cNvPr>
          <p:cNvSpPr>
            <a:spLocks noGrp="1"/>
          </p:cNvSpPr>
          <p:nvPr>
            <p:ph type="pic" sz="quarter" idx="14" hasCustomPrompt="1"/>
          </p:nvPr>
        </p:nvSpPr>
        <p:spPr>
          <a:xfrm>
            <a:off x="209098" y="219075"/>
            <a:ext cx="11767213"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5" name="Tijdelijke aanduiding voor verticale tekst 2">
            <a:extLst>
              <a:ext uri="{FF2B5EF4-FFF2-40B4-BE49-F238E27FC236}">
                <a16:creationId xmlns:a16="http://schemas.microsoft.com/office/drawing/2014/main" id="{908E6838-8A88-4560-BCFA-DEE983F6AD98}"/>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78" name="Ondertitel 2">
            <a:extLst>
              <a:ext uri="{FF2B5EF4-FFF2-40B4-BE49-F238E27FC236}">
                <a16:creationId xmlns:a16="http://schemas.microsoft.com/office/drawing/2014/main" id="{CF01E98A-12FC-48ED-A862-E09026D1D7F6}"/>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sp>
        <p:nvSpPr>
          <p:cNvPr id="79" name="Vrije vorm: vorm 78">
            <a:extLst>
              <a:ext uri="{FF2B5EF4-FFF2-40B4-BE49-F238E27FC236}">
                <a16:creationId xmlns:a16="http://schemas.microsoft.com/office/drawing/2014/main" id="{F93A8EDE-4312-4408-899D-E211080C47FE}"/>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Titel 5">
            <a:extLst>
              <a:ext uri="{FF2B5EF4-FFF2-40B4-BE49-F238E27FC236}">
                <a16:creationId xmlns:a16="http://schemas.microsoft.com/office/drawing/2014/main" id="{69BE2E48-3D6D-4802-8CB7-80B986C8419A}"/>
              </a:ext>
            </a:extLst>
          </p:cNvPr>
          <p:cNvSpPr>
            <a:spLocks noGrp="1"/>
          </p:cNvSpPr>
          <p:nvPr>
            <p:ph type="title" hasCustomPrompt="1"/>
          </p:nvPr>
        </p:nvSpPr>
        <p:spPr>
          <a:xfrm>
            <a:off x="671651" y="2056048"/>
            <a:ext cx="9482420" cy="2288285"/>
          </a:xfrm>
        </p:spPr>
        <p:txBody>
          <a:bodyPr anchor="ctr" anchorCtr="0"/>
          <a:lstStyle>
            <a:lvl1pPr algn="l">
              <a:defRPr sz="6000">
                <a:solidFill>
                  <a:schemeClr val="tx2"/>
                </a:solidFill>
              </a:defRPr>
            </a:lvl1pPr>
          </a:lstStyle>
          <a:p>
            <a:r>
              <a:rPr lang="nl-NL"/>
              <a:t>Plaats hier naam presentatie, max. 2 regels</a:t>
            </a:r>
          </a:p>
        </p:txBody>
      </p:sp>
    </p:spTree>
    <p:extLst>
      <p:ext uri="{BB962C8B-B14F-4D97-AF65-F5344CB8AC3E}">
        <p14:creationId xmlns:p14="http://schemas.microsoft.com/office/powerpoint/2010/main" val="340460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7">
          <p15:clr>
            <a:srgbClr val="FBAE40"/>
          </p15:clr>
        </p15:guide>
        <p15:guide id="5" orient="horz" pos="418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tro slide #2">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2B2D46-B4D1-41E0-B644-0328F21CF8D2}"/>
              </a:ext>
            </a:extLst>
          </p:cNvPr>
          <p:cNvGraphicFramePr>
            <a:graphicFrameLocks noChangeAspect="1"/>
          </p:cNvGraphicFramePr>
          <p:nvPr userDrawn="1">
            <p:custDataLst>
              <p:tags r:id="rId1"/>
            </p:custDataLst>
            <p:extLst>
              <p:ext uri="{D42A27DB-BD31-4B8C-83A1-F6EECF244321}">
                <p14:modId xmlns:p14="http://schemas.microsoft.com/office/powerpoint/2010/main" val="35545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FB2B2D46-B4D1-41E0-B644-0328F21CF8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572FD063-CDD8-4DDC-BCA9-A92FAA97642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6000" b="1" i="0" baseline="0">
              <a:latin typeface="Arial" panose="020B0604020202020204" pitchFamily="34" charset="0"/>
              <a:ea typeface="+mj-ea"/>
              <a:cs typeface="+mj-cs"/>
              <a:sym typeface="Arial" panose="020B0604020202020204" pitchFamily="34" charset="0"/>
            </a:endParaRPr>
          </a:p>
        </p:txBody>
      </p:sp>
      <p:sp>
        <p:nvSpPr>
          <p:cNvPr id="56" name="Vrije vorm: vorm 55">
            <a:extLst>
              <a:ext uri="{FF2B5EF4-FFF2-40B4-BE49-F238E27FC236}">
                <a16:creationId xmlns:a16="http://schemas.microsoft.com/office/drawing/2014/main" id="{38A4960D-E7E3-41FD-911E-F45DC9FFE60C}"/>
              </a:ext>
            </a:extLst>
          </p:cNvPr>
          <p:cNvSpPr/>
          <p:nvPr userDrawn="1"/>
        </p:nvSpPr>
        <p:spPr>
          <a:xfrm>
            <a:off x="214313" y="5822950"/>
            <a:ext cx="11758611" cy="819150"/>
          </a:xfrm>
          <a:custGeom>
            <a:avLst/>
            <a:gdLst>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5854884 w 11698084"/>
              <a:gd name="connsiteY4" fmla="*/ 0 h 1459574"/>
              <a:gd name="connsiteX5" fmla="*/ 11698084 w 11698084"/>
              <a:gd name="connsiteY5" fmla="*/ 614133 h 1459574"/>
              <a:gd name="connsiteX6" fmla="*/ 11698084 w 11698084"/>
              <a:gd name="connsiteY6" fmla="*/ 687968 h 1459574"/>
              <a:gd name="connsiteX7" fmla="*/ 11657868 w 11698084"/>
              <a:gd name="connsiteY7" fmla="*/ 687968 h 1459574"/>
              <a:gd name="connsiteX8" fmla="*/ 292618 w 11698084"/>
              <a:gd name="connsiteY8" fmla="*/ 687968 h 1459574"/>
              <a:gd name="connsiteX9" fmla="*/ 0 w 11698084"/>
              <a:gd name="connsiteY9" fmla="*/ 687968 h 1459574"/>
              <a:gd name="connsiteX10" fmla="*/ 0 w 11698084"/>
              <a:gd name="connsiteY10" fmla="*/ 407092 h 1459574"/>
              <a:gd name="connsiteX11" fmla="*/ 3586 w 11698084"/>
              <a:gd name="connsiteY11" fmla="*/ 406802 h 1459574"/>
              <a:gd name="connsiteX12" fmla="*/ 3586 w 11698084"/>
              <a:gd name="connsiteY12" fmla="*/ 614984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0 w 11698084"/>
              <a:gd name="connsiteY11" fmla="*/ 407092 h 1459574"/>
              <a:gd name="connsiteX12" fmla="*/ 3586 w 11698084"/>
              <a:gd name="connsiteY12" fmla="*/ 614984 h 1459574"/>
              <a:gd name="connsiteX13" fmla="*/ 5854884 w 11698084"/>
              <a:gd name="connsiteY13"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292618 w 11698084"/>
              <a:gd name="connsiteY9" fmla="*/ 687968 h 1459574"/>
              <a:gd name="connsiteX10" fmla="*/ 0 w 11698084"/>
              <a:gd name="connsiteY10" fmla="*/ 687968 h 1459574"/>
              <a:gd name="connsiteX11" fmla="*/ 3586 w 11698084"/>
              <a:gd name="connsiteY11" fmla="*/ 614984 h 1459574"/>
              <a:gd name="connsiteX12" fmla="*/ 5854884 w 11698084"/>
              <a:gd name="connsiteY12" fmla="*/ 0 h 1459574"/>
              <a:gd name="connsiteX0" fmla="*/ 0 w 11698084"/>
              <a:gd name="connsiteY0" fmla="*/ 687969 h 1459574"/>
              <a:gd name="connsiteX1" fmla="*/ 11698084 w 11698084"/>
              <a:gd name="connsiteY1" fmla="*/ 687969 h 1459574"/>
              <a:gd name="connsiteX2" fmla="*/ 11698084 w 11698084"/>
              <a:gd name="connsiteY2" fmla="*/ 1459574 h 1459574"/>
              <a:gd name="connsiteX3" fmla="*/ 0 w 11698084"/>
              <a:gd name="connsiteY3" fmla="*/ 1459574 h 1459574"/>
              <a:gd name="connsiteX4" fmla="*/ 0 w 11698084"/>
              <a:gd name="connsiteY4" fmla="*/ 687969 h 1459574"/>
              <a:gd name="connsiteX5" fmla="*/ 5854884 w 11698084"/>
              <a:gd name="connsiteY5" fmla="*/ 0 h 1459574"/>
              <a:gd name="connsiteX6" fmla="*/ 11698084 w 11698084"/>
              <a:gd name="connsiteY6" fmla="*/ 614133 h 1459574"/>
              <a:gd name="connsiteX7" fmla="*/ 11698084 w 11698084"/>
              <a:gd name="connsiteY7" fmla="*/ 687968 h 1459574"/>
              <a:gd name="connsiteX8" fmla="*/ 11657868 w 11698084"/>
              <a:gd name="connsiteY8" fmla="*/ 687968 h 1459574"/>
              <a:gd name="connsiteX9" fmla="*/ 0 w 11698084"/>
              <a:gd name="connsiteY9" fmla="*/ 687968 h 1459574"/>
              <a:gd name="connsiteX10" fmla="*/ 3586 w 11698084"/>
              <a:gd name="connsiteY10" fmla="*/ 614984 h 1459574"/>
              <a:gd name="connsiteX11" fmla="*/ 5854884 w 11698084"/>
              <a:gd name="connsiteY11" fmla="*/ 0 h 145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8084" h="1459574">
                <a:moveTo>
                  <a:pt x="0" y="687969"/>
                </a:moveTo>
                <a:lnTo>
                  <a:pt x="11698084" y="687969"/>
                </a:lnTo>
                <a:lnTo>
                  <a:pt x="11698084" y="1459574"/>
                </a:lnTo>
                <a:lnTo>
                  <a:pt x="0" y="1459574"/>
                </a:lnTo>
                <a:lnTo>
                  <a:pt x="0" y="687969"/>
                </a:lnTo>
                <a:close/>
                <a:moveTo>
                  <a:pt x="5854884" y="0"/>
                </a:moveTo>
                <a:lnTo>
                  <a:pt x="11698084" y="614133"/>
                </a:lnTo>
                <a:lnTo>
                  <a:pt x="11698084" y="687968"/>
                </a:lnTo>
                <a:lnTo>
                  <a:pt x="11657868" y="687968"/>
                </a:lnTo>
                <a:lnTo>
                  <a:pt x="0" y="687968"/>
                </a:lnTo>
                <a:lnTo>
                  <a:pt x="3586" y="614984"/>
                </a:lnTo>
                <a:lnTo>
                  <a:pt x="585488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1" name="Tijdelijke aanduiding voor afbeelding 90">
            <a:extLst>
              <a:ext uri="{FF2B5EF4-FFF2-40B4-BE49-F238E27FC236}">
                <a16:creationId xmlns:a16="http://schemas.microsoft.com/office/drawing/2014/main" id="{83CFC00C-DFE6-4B7F-8B82-DD6396BE3ECC}"/>
              </a:ext>
            </a:extLst>
          </p:cNvPr>
          <p:cNvSpPr>
            <a:spLocks noGrp="1"/>
          </p:cNvSpPr>
          <p:nvPr>
            <p:ph type="pic" sz="quarter" idx="14" hasCustomPrompt="1"/>
          </p:nvPr>
        </p:nvSpPr>
        <p:spPr>
          <a:xfrm>
            <a:off x="214313" y="219075"/>
            <a:ext cx="11758612" cy="5344248"/>
          </a:xfrm>
          <a:custGeom>
            <a:avLst/>
            <a:gdLst>
              <a:gd name="connsiteX0" fmla="*/ 0 w 11770281"/>
              <a:gd name="connsiteY0" fmla="*/ 0 h 5344248"/>
              <a:gd name="connsiteX1" fmla="*/ 11770281 w 11770281"/>
              <a:gd name="connsiteY1" fmla="*/ 0 h 5344248"/>
              <a:gd name="connsiteX2" fmla="*/ 11770281 w 11770281"/>
              <a:gd name="connsiteY2" fmla="*/ 4934270 h 5344248"/>
              <a:gd name="connsiteX3" fmla="*/ 5889972 w 11770281"/>
              <a:gd name="connsiteY3" fmla="*/ 5344248 h 5344248"/>
              <a:gd name="connsiteX4" fmla="*/ 7925 w 11770281"/>
              <a:gd name="connsiteY4" fmla="*/ 4934148 h 5344248"/>
              <a:gd name="connsiteX5" fmla="*/ 3196 w 11770281"/>
              <a:gd name="connsiteY5" fmla="*/ 4933544 h 5344248"/>
              <a:gd name="connsiteX6" fmla="*/ 0 w 11770281"/>
              <a:gd name="connsiteY6" fmla="*/ 812 h 534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0281" h="5344248">
                <a:moveTo>
                  <a:pt x="0" y="0"/>
                </a:moveTo>
                <a:lnTo>
                  <a:pt x="11770281" y="0"/>
                </a:lnTo>
                <a:lnTo>
                  <a:pt x="11770281" y="4934270"/>
                </a:lnTo>
                <a:lnTo>
                  <a:pt x="5889972" y="5344248"/>
                </a:lnTo>
                <a:lnTo>
                  <a:pt x="7925" y="4934148"/>
                </a:lnTo>
                <a:lnTo>
                  <a:pt x="3196" y="4933544"/>
                </a:lnTo>
                <a:lnTo>
                  <a:pt x="0" y="812"/>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6" name="Titel 5"/>
          <p:cNvSpPr>
            <a:spLocks noGrp="1"/>
          </p:cNvSpPr>
          <p:nvPr>
            <p:ph type="title" hasCustomPrompt="1"/>
          </p:nvPr>
        </p:nvSpPr>
        <p:spPr>
          <a:xfrm>
            <a:off x="710506" y="2018745"/>
            <a:ext cx="9482420" cy="2288285"/>
          </a:xfrm>
        </p:spPr>
        <p:txBody>
          <a:bodyPr anchor="ctr" anchorCtr="0"/>
          <a:lstStyle>
            <a:lvl1pPr algn="l">
              <a:defRPr sz="6000">
                <a:solidFill>
                  <a:schemeClr val="bg1"/>
                </a:solidFill>
              </a:defRPr>
            </a:lvl1pPr>
          </a:lstStyle>
          <a:p>
            <a:r>
              <a:rPr lang="nl-NL"/>
              <a:t>Plaats hier naam presentatie, max. 2 regels</a:t>
            </a:r>
          </a:p>
        </p:txBody>
      </p:sp>
      <p:sp>
        <p:nvSpPr>
          <p:cNvPr id="89" name="Ondertitel 2">
            <a:extLst>
              <a:ext uri="{FF2B5EF4-FFF2-40B4-BE49-F238E27FC236}">
                <a16:creationId xmlns:a16="http://schemas.microsoft.com/office/drawing/2014/main" id="{A7C0A800-829B-4A19-894F-F8B162F70D83}"/>
              </a:ext>
            </a:extLst>
          </p:cNvPr>
          <p:cNvSpPr>
            <a:spLocks noGrp="1"/>
          </p:cNvSpPr>
          <p:nvPr>
            <p:ph type="subTitle" idx="15" hasCustomPrompt="1"/>
          </p:nvPr>
        </p:nvSpPr>
        <p:spPr>
          <a:xfrm>
            <a:off x="1831614" y="6158261"/>
            <a:ext cx="8528773" cy="272813"/>
          </a:xfrm>
        </p:spPr>
        <p:txBody>
          <a:bodyPr anchor="ctr"/>
          <a:lstStyle>
            <a:lvl1pPr marL="0" indent="0" algn="ctr">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van de spreker / Datum</a:t>
            </a:r>
          </a:p>
        </p:txBody>
      </p:sp>
      <p:grpSp>
        <p:nvGrpSpPr>
          <p:cNvPr id="30" name="Groep 29" hidden="1">
            <a:extLst>
              <a:ext uri="{FF2B5EF4-FFF2-40B4-BE49-F238E27FC236}">
                <a16:creationId xmlns:a16="http://schemas.microsoft.com/office/drawing/2014/main" id="{8322AB72-1756-43EC-B5B9-EE749FF26AAF}"/>
              </a:ext>
            </a:extLst>
          </p:cNvPr>
          <p:cNvGrpSpPr/>
          <p:nvPr userDrawn="1"/>
        </p:nvGrpSpPr>
        <p:grpSpPr>
          <a:xfrm>
            <a:off x="0" y="-1"/>
            <a:ext cx="12192001" cy="6858001"/>
            <a:chOff x="0" y="-1"/>
            <a:chExt cx="12192001" cy="6858001"/>
          </a:xfrm>
        </p:grpSpPr>
        <p:sp>
          <p:nvSpPr>
            <p:cNvPr id="31" name="Rechthoek 30">
              <a:extLst>
                <a:ext uri="{FF2B5EF4-FFF2-40B4-BE49-F238E27FC236}">
                  <a16:creationId xmlns:a16="http://schemas.microsoft.com/office/drawing/2014/main" id="{28A9E421-FB5F-4C07-83AC-9940B8BE77B5}"/>
                </a:ext>
              </a:extLst>
            </p:cNvPr>
            <p:cNvSpPr/>
            <p:nvPr userDrawn="1"/>
          </p:nvSpPr>
          <p:spPr>
            <a:xfrm>
              <a:off x="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hthoek 31">
              <a:extLst>
                <a:ext uri="{FF2B5EF4-FFF2-40B4-BE49-F238E27FC236}">
                  <a16:creationId xmlns:a16="http://schemas.microsoft.com/office/drawing/2014/main" id="{4364B6C8-A0E4-465D-A2D6-296A344EE54A}"/>
                </a:ext>
              </a:extLst>
            </p:cNvPr>
            <p:cNvSpPr/>
            <p:nvPr userDrawn="1"/>
          </p:nvSpPr>
          <p:spPr>
            <a:xfrm rot="16200000">
              <a:off x="5970001" y="636000"/>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hthoek 32">
              <a:extLst>
                <a:ext uri="{FF2B5EF4-FFF2-40B4-BE49-F238E27FC236}">
                  <a16:creationId xmlns:a16="http://schemas.microsoft.com/office/drawing/2014/main" id="{EF234CB8-F1B7-4B1C-9E6C-F12D8B7CBEA0}"/>
                </a:ext>
              </a:extLst>
            </p:cNvPr>
            <p:cNvSpPr/>
            <p:nvPr userDrawn="1"/>
          </p:nvSpPr>
          <p:spPr>
            <a:xfrm rot="16200000">
              <a:off x="5970001" y="-5969999"/>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hthoek 33">
              <a:extLst>
                <a:ext uri="{FF2B5EF4-FFF2-40B4-BE49-F238E27FC236}">
                  <a16:creationId xmlns:a16="http://schemas.microsoft.com/office/drawing/2014/main" id="{5585C4ED-5605-4E62-8A9D-2632853A7C92}"/>
                </a:ext>
              </a:extLst>
            </p:cNvPr>
            <p:cNvSpPr/>
            <p:nvPr userDrawn="1"/>
          </p:nvSpPr>
          <p:spPr>
            <a:xfrm>
              <a:off x="11940000"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44">
              <a:extLst>
                <a:ext uri="{FF2B5EF4-FFF2-40B4-BE49-F238E27FC236}">
                  <a16:creationId xmlns:a16="http://schemas.microsoft.com/office/drawing/2014/main" id="{0CC0AC55-CB30-4067-99C1-72C2BD9C977F}"/>
                </a:ext>
              </a:extLst>
            </p:cNvPr>
            <p:cNvSpPr/>
            <p:nvPr userDrawn="1"/>
          </p:nvSpPr>
          <p:spPr>
            <a:xfrm rot="16200000">
              <a:off x="5970001" y="-5719175"/>
              <a:ext cx="252000" cy="12192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45">
              <a:extLst>
                <a:ext uri="{FF2B5EF4-FFF2-40B4-BE49-F238E27FC236}">
                  <a16:creationId xmlns:a16="http://schemas.microsoft.com/office/drawing/2014/main" id="{7D98E864-C83A-41F2-958E-E653CD19601C}"/>
                </a:ext>
              </a:extLst>
            </p:cNvPr>
            <p:cNvSpPr/>
            <p:nvPr userDrawn="1"/>
          </p:nvSpPr>
          <p:spPr>
            <a:xfrm>
              <a:off x="253793" y="-1"/>
              <a:ext cx="252000" cy="6857971"/>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5" name="Tijdelijke aanduiding voor verticale tekst 2">
            <a:extLst>
              <a:ext uri="{FF2B5EF4-FFF2-40B4-BE49-F238E27FC236}">
                <a16:creationId xmlns:a16="http://schemas.microsoft.com/office/drawing/2014/main" id="{7E418CF6-FDC7-49EC-88E1-0273D7F67C42}"/>
              </a:ext>
            </a:extLst>
          </p:cNvPr>
          <p:cNvSpPr>
            <a:spLocks noGrp="1"/>
          </p:cNvSpPr>
          <p:nvPr>
            <p:ph type="body" orient="vert" idx="13" hasCustomPrompt="1"/>
          </p:nvPr>
        </p:nvSpPr>
        <p:spPr>
          <a:xfrm>
            <a:off x="710506" y="713151"/>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
        <p:nvSpPr>
          <p:cNvPr id="93" name="Vrije vorm: vorm 92">
            <a:extLst>
              <a:ext uri="{FF2B5EF4-FFF2-40B4-BE49-F238E27FC236}">
                <a16:creationId xmlns:a16="http://schemas.microsoft.com/office/drawing/2014/main" id="{E2545A05-A70A-432F-A89D-3DA2B8DAA1B1}"/>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12238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7">
          <p15:clr>
            <a:srgbClr val="FBAE40"/>
          </p15:clr>
        </p15:guide>
        <p15:guide id="2" pos="7542">
          <p15:clr>
            <a:srgbClr val="FBAE40"/>
          </p15:clr>
        </p15:guide>
        <p15:guide id="3" orient="horz" pos="138">
          <p15:clr>
            <a:srgbClr val="FBAE40"/>
          </p15:clr>
        </p15:guide>
        <p15:guide id="5" orient="horz" pos="4182">
          <p15:clr>
            <a:srgbClr val="FBAE40"/>
          </p15:clr>
        </p15:guide>
        <p15:guide id="6" pos="3840">
          <p15:clr>
            <a:srgbClr val="FBAE40"/>
          </p15:clr>
        </p15:guide>
        <p15:guide id="7"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houdsopgav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139B5-AD98-40D8-9A30-BDAFDBC5183A}"/>
              </a:ext>
            </a:extLst>
          </p:cNvPr>
          <p:cNvGraphicFramePr>
            <a:graphicFrameLocks noChangeAspect="1"/>
          </p:cNvGraphicFramePr>
          <p:nvPr userDrawn="1">
            <p:custDataLst>
              <p:tags r:id="rId1"/>
            </p:custDataLst>
            <p:extLst>
              <p:ext uri="{D42A27DB-BD31-4B8C-83A1-F6EECF244321}">
                <p14:modId xmlns:p14="http://schemas.microsoft.com/office/powerpoint/2010/main" val="87191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AC6139B5-AD98-40D8-9A30-BDAFDBC51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hthoek 23">
            <a:extLst>
              <a:ext uri="{FF2B5EF4-FFF2-40B4-BE49-F238E27FC236}">
                <a16:creationId xmlns:a16="http://schemas.microsoft.com/office/drawing/2014/main" id="{61A31FCC-0FC1-4096-92ED-1692E728521B}"/>
              </a:ext>
            </a:extLst>
          </p:cNvPr>
          <p:cNvSpPr/>
          <p:nvPr userDrawn="1"/>
        </p:nvSpPr>
        <p:spPr>
          <a:xfrm>
            <a:off x="0" y="0"/>
            <a:ext cx="12192000" cy="6858000"/>
          </a:xfrm>
          <a:prstGeom prst="rect">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Vrije vorm: vorm 24">
            <a:extLst>
              <a:ext uri="{FF2B5EF4-FFF2-40B4-BE49-F238E27FC236}">
                <a16:creationId xmlns:a16="http://schemas.microsoft.com/office/drawing/2014/main" id="{B27B40E8-A3BB-409D-A7C6-C9AA7C5B3291}"/>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3" name="Tijdelijke aanduiding voor verticale tekst 2">
            <a:extLst>
              <a:ext uri="{FF2B5EF4-FFF2-40B4-BE49-F238E27FC236}">
                <a16:creationId xmlns:a16="http://schemas.microsoft.com/office/drawing/2014/main" id="{F4C6136B-8AB8-41CE-88F4-44F938EA17A2}"/>
              </a:ext>
            </a:extLst>
          </p:cNvPr>
          <p:cNvSpPr>
            <a:spLocks noGrp="1"/>
          </p:cNvSpPr>
          <p:nvPr>
            <p:ph type="body" orient="vert" idx="13" hasCustomPrompt="1"/>
          </p:nvPr>
        </p:nvSpPr>
        <p:spPr>
          <a:xfrm>
            <a:off x="515937" y="1341439"/>
            <a:ext cx="6724637" cy="4983161"/>
          </a:xfrm>
        </p:spPr>
        <p:txBody>
          <a:bodyPr vert="horz" lIns="0" tIns="0" rIns="0" bIns="0"/>
          <a:lstStyle>
            <a:lvl1pPr marL="252413" marR="0" indent="-252413" algn="l" defTabSz="719138" rtl="0" eaLnBrk="1" fontAlgn="auto" latinLnBrk="0" hangingPunct="1">
              <a:lnSpc>
                <a:spcPct val="90000"/>
              </a:lnSpc>
              <a:spcBef>
                <a:spcPts val="0"/>
              </a:spcBef>
              <a:spcAft>
                <a:spcPts val="1200"/>
              </a:spcAft>
              <a:buClrTx/>
              <a:buSzPct val="100000"/>
              <a:buFont typeface="Arial" panose="020B0604020202020204" pitchFamily="34" charset="0"/>
              <a:buChar char="•"/>
              <a:tabLst/>
              <a:defRPr b="1"/>
            </a:lvl1pPr>
            <a:lvl2pPr marL="0" indent="0">
              <a:buFontTx/>
              <a:buNone/>
              <a:defRPr b="1"/>
            </a:lvl2pPr>
            <a:lvl3pPr>
              <a:defRPr b="1"/>
            </a:lvl3pPr>
            <a:lvl4pPr>
              <a:defRPr sz="1600" b="1"/>
            </a:lvl4pPr>
            <a:lvl5pPr marL="0" indent="0">
              <a:buFontTx/>
              <a:buNone/>
              <a:defRPr b="1"/>
            </a:lvl5pPr>
            <a:lvl6pPr marL="0" indent="0">
              <a:buFontTx/>
              <a:buNone/>
              <a:defRPr b="1"/>
            </a:lvl6pPr>
            <a:lvl7pPr marL="0" indent="0">
              <a:buFontTx/>
              <a:buNone/>
              <a:defRPr b="1"/>
            </a:lvl7pPr>
            <a:lvl8pPr marL="0" indent="0">
              <a:buFontTx/>
              <a:buNone/>
              <a:defRPr b="1"/>
            </a:lvl8pPr>
            <a:lvl9pPr marL="0" indent="0">
              <a:buFontTx/>
              <a:buNone/>
              <a:defRPr b="1"/>
            </a:lvl9pPr>
          </a:lstStyle>
          <a:p>
            <a:pPr lvl="0"/>
            <a:r>
              <a:rPr lang="nl-NL"/>
              <a:t>Hoofdstuktitel</a:t>
            </a:r>
          </a:p>
          <a:p>
            <a:pPr lvl="0"/>
            <a:r>
              <a:rPr lang="nl-NL"/>
              <a:t>Hoofdstuktitel</a:t>
            </a:r>
          </a:p>
          <a:p>
            <a:pPr lvl="0"/>
            <a:r>
              <a:rPr lang="nl-NL"/>
              <a:t>Hoofdstuktitel</a:t>
            </a:r>
          </a:p>
          <a:p>
            <a:pPr lvl="0"/>
            <a:r>
              <a:rPr lang="nl-NL"/>
              <a:t>Hoofdstuktitel</a:t>
            </a:r>
          </a:p>
          <a:p>
            <a:pPr lvl="0"/>
            <a:r>
              <a:rPr lang="nl-NL"/>
              <a:t>Hoofdstuktitel</a:t>
            </a:r>
          </a:p>
          <a:p>
            <a:pPr lvl="0"/>
            <a:endParaRPr lang="nl-NL"/>
          </a:p>
        </p:txBody>
      </p:sp>
      <p:sp>
        <p:nvSpPr>
          <p:cNvPr id="7" name="Titel 6">
            <a:extLst>
              <a:ext uri="{FF2B5EF4-FFF2-40B4-BE49-F238E27FC236}">
                <a16:creationId xmlns:a16="http://schemas.microsoft.com/office/drawing/2014/main" id="{89B48D64-159D-4B53-AB38-BBF4EB3813DA}"/>
              </a:ext>
            </a:extLst>
          </p:cNvPr>
          <p:cNvSpPr>
            <a:spLocks noGrp="1"/>
          </p:cNvSpPr>
          <p:nvPr>
            <p:ph type="title" hasCustomPrompt="1"/>
          </p:nvPr>
        </p:nvSpPr>
        <p:spPr>
          <a:xfrm>
            <a:off x="515941" y="517525"/>
            <a:ext cx="6724638" cy="488950"/>
          </a:xfrm>
        </p:spPr>
        <p:txBody>
          <a:bodyPr/>
          <a:lstStyle>
            <a:lvl1pPr>
              <a:defRPr/>
            </a:lvl1pPr>
          </a:lstStyle>
          <a:p>
            <a:r>
              <a:rPr lang="nl-NL"/>
              <a:t>Inhoudsgave</a:t>
            </a:r>
          </a:p>
        </p:txBody>
      </p:sp>
      <p:sp>
        <p:nvSpPr>
          <p:cNvPr id="34" name="Tijdelijke aanduiding voor afbeelding 8">
            <a:extLst>
              <a:ext uri="{FF2B5EF4-FFF2-40B4-BE49-F238E27FC236}">
                <a16:creationId xmlns:a16="http://schemas.microsoft.com/office/drawing/2014/main" id="{2E1A8C8C-12B7-4157-B2FD-81809D307FF6}"/>
              </a:ext>
            </a:extLst>
          </p:cNvPr>
          <p:cNvSpPr>
            <a:spLocks noGrp="1"/>
          </p:cNvSpPr>
          <p:nvPr>
            <p:ph type="pic" sz="quarter" idx="28"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illustratie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Tree>
    <p:extLst>
      <p:ext uri="{BB962C8B-B14F-4D97-AF65-F5344CB8AC3E}">
        <p14:creationId xmlns:p14="http://schemas.microsoft.com/office/powerpoint/2010/main" val="349801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08E4AF-8E60-414C-8FB9-AFC759E52782}"/>
              </a:ext>
            </a:extLst>
          </p:cNvPr>
          <p:cNvGraphicFramePr>
            <a:graphicFrameLocks noChangeAspect="1"/>
          </p:cNvGraphicFramePr>
          <p:nvPr userDrawn="1">
            <p:custDataLst>
              <p:tags r:id="rId1"/>
            </p:custDataLst>
            <p:extLst>
              <p:ext uri="{D42A27DB-BD31-4B8C-83A1-F6EECF244321}">
                <p14:modId xmlns:p14="http://schemas.microsoft.com/office/powerpoint/2010/main" val="84665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D08E4AF-8E60-414C-8FB9-AFC759E527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CFF883A4-4CB0-4007-BD32-9E8EF16FEEC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lIns="0" tIns="0" rIns="0" bIns="0"/>
          <a:lstStyle>
            <a:lvl1pPr algn="l">
              <a:defRPr/>
            </a:lvl1pPr>
          </a:lstStyle>
          <a:p>
            <a:r>
              <a:rPr lang="nl-NL"/>
              <a:t>Plaats hier je 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76403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kst 4x">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6DEA1D-BE75-4F02-B231-F57F7AA99C4D}"/>
              </a:ext>
            </a:extLst>
          </p:cNvPr>
          <p:cNvGraphicFramePr>
            <a:graphicFrameLocks noChangeAspect="1"/>
          </p:cNvGraphicFramePr>
          <p:nvPr userDrawn="1">
            <p:custDataLst>
              <p:tags r:id="rId1"/>
            </p:custDataLst>
            <p:extLst>
              <p:ext uri="{D42A27DB-BD31-4B8C-83A1-F6EECF244321}">
                <p14:modId xmlns:p14="http://schemas.microsoft.com/office/powerpoint/2010/main" val="15474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486DEA1D-BE75-4F02-B231-F57F7AA99C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E9464894-174F-4646-AFFA-1EC04C0D62F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515940" y="517525"/>
            <a:ext cx="11155359" cy="488950"/>
          </a:xfrm>
        </p:spPr>
        <p:txBody>
          <a:bodyPr lIns="0" tIns="0" rIns="0" bIns="0"/>
          <a:lstStyle>
            <a:lvl1pPr>
              <a:defRPr/>
            </a:lvl1pPr>
          </a:lstStyle>
          <a:p>
            <a:r>
              <a:rPr lang="nl-NL"/>
              <a:t>Plaats hier je titel</a:t>
            </a:r>
          </a:p>
        </p:txBody>
      </p:sp>
      <p:sp>
        <p:nvSpPr>
          <p:cNvPr id="3" name="Tijdelijke aanduiding voor verticale tekst 2"/>
          <p:cNvSpPr>
            <a:spLocks noGrp="1"/>
          </p:cNvSpPr>
          <p:nvPr>
            <p:ph type="body" orient="vert" idx="1" hasCustomPrompt="1"/>
          </p:nvPr>
        </p:nvSpPr>
        <p:spPr>
          <a:xfrm>
            <a:off x="1257300" y="1350710"/>
            <a:ext cx="4579937" cy="224974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9" name="Tijdelijke aanduiding voor verticale tekst 2">
            <a:extLst>
              <a:ext uri="{FF2B5EF4-FFF2-40B4-BE49-F238E27FC236}">
                <a16:creationId xmlns:a16="http://schemas.microsoft.com/office/drawing/2014/main" id="{EF38799E-87DB-43F6-A2B3-D357CD953966}"/>
              </a:ext>
            </a:extLst>
          </p:cNvPr>
          <p:cNvSpPr>
            <a:spLocks noGrp="1"/>
          </p:cNvSpPr>
          <p:nvPr>
            <p:ph type="body" orient="vert" idx="13" hasCustomPrompt="1"/>
          </p:nvPr>
        </p:nvSpPr>
        <p:spPr>
          <a:xfrm>
            <a:off x="7086600" y="1350710"/>
            <a:ext cx="4579937" cy="224974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19" name="Tijdelijke aanduiding voor verticale tekst 2">
            <a:extLst>
              <a:ext uri="{FF2B5EF4-FFF2-40B4-BE49-F238E27FC236}">
                <a16:creationId xmlns:a16="http://schemas.microsoft.com/office/drawing/2014/main" id="{A21DD857-DA2F-40BA-A62F-B9802363A2D2}"/>
              </a:ext>
            </a:extLst>
          </p:cNvPr>
          <p:cNvSpPr>
            <a:spLocks noGrp="1"/>
          </p:cNvSpPr>
          <p:nvPr>
            <p:ph type="body" orient="vert" idx="15" hasCustomPrompt="1"/>
          </p:nvPr>
        </p:nvSpPr>
        <p:spPr>
          <a:xfrm>
            <a:off x="1257300" y="4093910"/>
            <a:ext cx="4579937" cy="224974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20" name="Tijdelijke aanduiding voor verticale tekst 2">
            <a:extLst>
              <a:ext uri="{FF2B5EF4-FFF2-40B4-BE49-F238E27FC236}">
                <a16:creationId xmlns:a16="http://schemas.microsoft.com/office/drawing/2014/main" id="{884C4C6F-2241-4F3F-A5FF-873BA30F7A26}"/>
              </a:ext>
            </a:extLst>
          </p:cNvPr>
          <p:cNvSpPr>
            <a:spLocks noGrp="1"/>
          </p:cNvSpPr>
          <p:nvPr>
            <p:ph type="body" orient="vert" idx="16" hasCustomPrompt="1"/>
          </p:nvPr>
        </p:nvSpPr>
        <p:spPr>
          <a:xfrm>
            <a:off x="7086600" y="4093910"/>
            <a:ext cx="4579937" cy="224974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p:txBody>
      </p:sp>
      <p:sp>
        <p:nvSpPr>
          <p:cNvPr id="7" name="Tijdelijke aanduiding voor tekst 6">
            <a:extLst>
              <a:ext uri="{FF2B5EF4-FFF2-40B4-BE49-F238E27FC236}">
                <a16:creationId xmlns:a16="http://schemas.microsoft.com/office/drawing/2014/main" id="{A7CD8EA3-95B3-4BFC-9851-E3238574BAEF}"/>
              </a:ext>
            </a:extLst>
          </p:cNvPr>
          <p:cNvSpPr>
            <a:spLocks noGrp="1"/>
          </p:cNvSpPr>
          <p:nvPr>
            <p:ph type="body" sz="quarter" idx="17" hasCustomPrompt="1"/>
          </p:nvPr>
        </p:nvSpPr>
        <p:spPr>
          <a:xfrm>
            <a:off x="515938" y="1350710"/>
            <a:ext cx="476250" cy="476250"/>
          </a:xfrm>
          <a:prstGeom prst="ellipse">
            <a:avLst/>
          </a:prstGeom>
          <a:solidFill>
            <a:schemeClr val="accent2"/>
          </a:solidFill>
        </p:spPr>
        <p:txBody>
          <a:bodyPr tIns="36000" anchor="ctr" anchorCtr="0"/>
          <a:lstStyle>
            <a:lvl1pPr marL="0" indent="0" algn="ctr">
              <a:buNone/>
              <a:defRPr sz="1800" b="1"/>
            </a:lvl1pPr>
            <a:lvl4pPr algn="ctr">
              <a:defRPr>
                <a:solidFill>
                  <a:schemeClr val="tx2"/>
                </a:solidFill>
              </a:defRPr>
            </a:lvl4pPr>
          </a:lstStyle>
          <a:p>
            <a:pPr lvl="0"/>
            <a:r>
              <a:rPr lang="nl-NL"/>
              <a:t>1</a:t>
            </a:r>
          </a:p>
        </p:txBody>
      </p:sp>
      <p:sp>
        <p:nvSpPr>
          <p:cNvPr id="21" name="Tijdelijke aanduiding voor tekst 6">
            <a:extLst>
              <a:ext uri="{FF2B5EF4-FFF2-40B4-BE49-F238E27FC236}">
                <a16:creationId xmlns:a16="http://schemas.microsoft.com/office/drawing/2014/main" id="{6982E962-ECD7-428C-B807-962A08772E7B}"/>
              </a:ext>
            </a:extLst>
          </p:cNvPr>
          <p:cNvSpPr>
            <a:spLocks noGrp="1"/>
          </p:cNvSpPr>
          <p:nvPr>
            <p:ph type="body" sz="quarter" idx="18" hasCustomPrompt="1"/>
          </p:nvPr>
        </p:nvSpPr>
        <p:spPr>
          <a:xfrm>
            <a:off x="6345238" y="1350710"/>
            <a:ext cx="476250" cy="476250"/>
          </a:xfrm>
          <a:prstGeom prst="ellipse">
            <a:avLst/>
          </a:prstGeom>
          <a:solidFill>
            <a:schemeClr val="accent2"/>
          </a:solidFill>
        </p:spPr>
        <p:txBody>
          <a:bodyPr tIns="36000" anchor="ctr" anchorCtr="0"/>
          <a:lstStyle>
            <a:lvl1pPr marL="0" indent="0" algn="ctr">
              <a:buNone/>
              <a:defRPr sz="1800" b="1" i="0"/>
            </a:lvl1pPr>
            <a:lvl4pPr algn="ctr">
              <a:defRPr>
                <a:solidFill>
                  <a:schemeClr val="tx2"/>
                </a:solidFill>
              </a:defRPr>
            </a:lvl4pPr>
          </a:lstStyle>
          <a:p>
            <a:pPr lvl="0"/>
            <a:r>
              <a:rPr lang="nl-NL"/>
              <a:t>2</a:t>
            </a:r>
          </a:p>
        </p:txBody>
      </p:sp>
      <p:sp>
        <p:nvSpPr>
          <p:cNvPr id="22" name="Tijdelijke aanduiding voor tekst 6">
            <a:extLst>
              <a:ext uri="{FF2B5EF4-FFF2-40B4-BE49-F238E27FC236}">
                <a16:creationId xmlns:a16="http://schemas.microsoft.com/office/drawing/2014/main" id="{44362C43-81E1-4E01-81A5-7A59F2925863}"/>
              </a:ext>
            </a:extLst>
          </p:cNvPr>
          <p:cNvSpPr>
            <a:spLocks noGrp="1"/>
          </p:cNvSpPr>
          <p:nvPr>
            <p:ph type="body" sz="quarter" idx="19" hasCustomPrompt="1"/>
          </p:nvPr>
        </p:nvSpPr>
        <p:spPr>
          <a:xfrm>
            <a:off x="515938" y="4074860"/>
            <a:ext cx="476250" cy="476250"/>
          </a:xfrm>
          <a:prstGeom prst="ellipse">
            <a:avLst/>
          </a:prstGeom>
          <a:solidFill>
            <a:schemeClr val="accent2"/>
          </a:solidFill>
        </p:spPr>
        <p:txBody>
          <a:bodyPr tIns="36000" anchor="ctr" anchorCtr="0"/>
          <a:lstStyle>
            <a:lvl1pPr marL="0" indent="0" algn="ctr">
              <a:buNone/>
              <a:defRPr sz="1800" b="1"/>
            </a:lvl1pPr>
            <a:lvl4pPr algn="ctr">
              <a:defRPr>
                <a:solidFill>
                  <a:schemeClr val="tx2"/>
                </a:solidFill>
              </a:defRPr>
            </a:lvl4pPr>
          </a:lstStyle>
          <a:p>
            <a:pPr lvl="0"/>
            <a:r>
              <a:rPr lang="nl-NL"/>
              <a:t>3</a:t>
            </a:r>
          </a:p>
        </p:txBody>
      </p:sp>
      <p:sp>
        <p:nvSpPr>
          <p:cNvPr id="23" name="Tijdelijke aanduiding voor tekst 6">
            <a:extLst>
              <a:ext uri="{FF2B5EF4-FFF2-40B4-BE49-F238E27FC236}">
                <a16:creationId xmlns:a16="http://schemas.microsoft.com/office/drawing/2014/main" id="{1B9B5F42-723C-4687-96B6-54AC35F0152D}"/>
              </a:ext>
            </a:extLst>
          </p:cNvPr>
          <p:cNvSpPr>
            <a:spLocks noGrp="1"/>
          </p:cNvSpPr>
          <p:nvPr>
            <p:ph type="body" sz="quarter" idx="20" hasCustomPrompt="1"/>
          </p:nvPr>
        </p:nvSpPr>
        <p:spPr>
          <a:xfrm>
            <a:off x="6345238" y="4074860"/>
            <a:ext cx="476250" cy="476250"/>
          </a:xfrm>
          <a:prstGeom prst="ellipse">
            <a:avLst/>
          </a:prstGeom>
          <a:solidFill>
            <a:schemeClr val="accent2"/>
          </a:solidFill>
        </p:spPr>
        <p:txBody>
          <a:bodyPr tIns="36000" anchor="ctr" anchorCtr="0"/>
          <a:lstStyle>
            <a:lvl1pPr marL="0" indent="0" algn="ctr">
              <a:buNone/>
              <a:defRPr b="1" i="0"/>
            </a:lvl1pPr>
            <a:lvl4pPr algn="ctr">
              <a:defRPr>
                <a:solidFill>
                  <a:schemeClr val="tx2"/>
                </a:solidFill>
              </a:defRPr>
            </a:lvl4pPr>
          </a:lstStyle>
          <a:p>
            <a:pPr lvl="0"/>
            <a:r>
              <a:rPr lang="nl-NL"/>
              <a:t>4</a:t>
            </a:r>
          </a:p>
        </p:txBody>
      </p:sp>
    </p:spTree>
    <p:extLst>
      <p:ext uri="{BB962C8B-B14F-4D97-AF65-F5344CB8AC3E}">
        <p14:creationId xmlns:p14="http://schemas.microsoft.com/office/powerpoint/2010/main" val="274680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pic>
        <p:nvPicPr>
          <p:cNvPr id="2" name="Afbeelding 6">
            <a:extLst>
              <a:ext uri="{FF2B5EF4-FFF2-40B4-BE49-F238E27FC236}">
                <a16:creationId xmlns:a16="http://schemas.microsoft.com/office/drawing/2014/main" id="{210B8BBB-B523-46A4-829F-D9F806D58A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25" y="0"/>
            <a:ext cx="1218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datum 1">
            <a:extLst>
              <a:ext uri="{FF2B5EF4-FFF2-40B4-BE49-F238E27FC236}">
                <a16:creationId xmlns:a16="http://schemas.microsoft.com/office/drawing/2014/main" id="{15B9092E-1E3B-409D-AEBA-CE8082984CA0}"/>
              </a:ext>
            </a:extLst>
          </p:cNvPr>
          <p:cNvSpPr>
            <a:spLocks noGrp="1"/>
          </p:cNvSpPr>
          <p:nvPr>
            <p:ph type="dt" sz="half" idx="10"/>
          </p:nvPr>
        </p:nvSpPr>
        <p:spPr/>
        <p:txBody>
          <a:bodyPr/>
          <a:lstStyle>
            <a:lvl1pPr>
              <a:defRPr/>
            </a:lvl1pPr>
          </a:lstStyle>
          <a:p>
            <a:pPr>
              <a:defRPr/>
            </a:pPr>
            <a:fld id="{49E2F2E3-75B9-47F4-8C91-1130E01A0E56}" type="datetimeFigureOut">
              <a:rPr lang="nl-NL"/>
              <a:pPr>
                <a:defRPr/>
              </a:pPr>
              <a:t>28-9-2022</a:t>
            </a:fld>
            <a:endParaRPr lang="nl-NL"/>
          </a:p>
        </p:txBody>
      </p:sp>
      <p:sp>
        <p:nvSpPr>
          <p:cNvPr id="4" name="Tijdelijke aanduiding voor voettekst 2">
            <a:extLst>
              <a:ext uri="{FF2B5EF4-FFF2-40B4-BE49-F238E27FC236}">
                <a16:creationId xmlns:a16="http://schemas.microsoft.com/office/drawing/2014/main" id="{98FE2792-68F9-4A41-8BAC-74716775A000}"/>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3">
            <a:extLst>
              <a:ext uri="{FF2B5EF4-FFF2-40B4-BE49-F238E27FC236}">
                <a16:creationId xmlns:a16="http://schemas.microsoft.com/office/drawing/2014/main" id="{46BCC3FC-9EA4-4773-96D9-6E9D1C2D920D}"/>
              </a:ext>
            </a:extLst>
          </p:cNvPr>
          <p:cNvSpPr>
            <a:spLocks noGrp="1"/>
          </p:cNvSpPr>
          <p:nvPr>
            <p:ph type="sldNum" sz="quarter" idx="12"/>
          </p:nvPr>
        </p:nvSpPr>
        <p:spPr/>
        <p:txBody>
          <a:bodyPr/>
          <a:lstStyle>
            <a:lvl1pPr>
              <a:defRPr/>
            </a:lvl1pPr>
          </a:lstStyle>
          <a:p>
            <a:pPr>
              <a:defRPr/>
            </a:pPr>
            <a:fld id="{67AF0805-470A-428F-B29A-17989AB84C6B}" type="slidenum">
              <a:rPr lang="nl-NL"/>
              <a:pPr>
                <a:defRPr/>
              </a:pPr>
              <a:t>‹nr.›</a:t>
            </a:fld>
            <a:endParaRPr lang="nl-NL"/>
          </a:p>
        </p:txBody>
      </p:sp>
    </p:spTree>
    <p:extLst>
      <p:ext uri="{BB962C8B-B14F-4D97-AF65-F5344CB8AC3E}">
        <p14:creationId xmlns:p14="http://schemas.microsoft.com/office/powerpoint/2010/main" val="3805530557"/>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74467E-5F44-426E-BA4C-F3FA7D63A658}"/>
              </a:ext>
            </a:extLst>
          </p:cNvPr>
          <p:cNvGraphicFramePr>
            <a:graphicFrameLocks noChangeAspect="1"/>
          </p:cNvGraphicFramePr>
          <p:nvPr userDrawn="1">
            <p:custDataLst>
              <p:tags r:id="rId1"/>
            </p:custDataLst>
            <p:extLst>
              <p:ext uri="{D42A27DB-BD31-4B8C-83A1-F6EECF244321}">
                <p14:modId xmlns:p14="http://schemas.microsoft.com/office/powerpoint/2010/main" val="201912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8774467E-5F44-426E-BA4C-F3FA7D63A6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B5D7F691-06B2-4686-809D-29E8912C553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lIns="0" tIns="0" rIns="0" bIns="0"/>
          <a:lstStyle>
            <a:lvl1pPr>
              <a:defRPr/>
            </a:lvl1pPr>
          </a:lstStyle>
          <a:p>
            <a:r>
              <a:rPr lang="nl-NL"/>
              <a:t>Plaats hier je titel</a:t>
            </a:r>
          </a:p>
        </p:txBody>
      </p:sp>
      <p:sp>
        <p:nvSpPr>
          <p:cNvPr id="3" name="Tijdelijke aanduiding voor verticale tekst 2"/>
          <p:cNvSpPr>
            <a:spLocks noGrp="1"/>
          </p:cNvSpPr>
          <p:nvPr>
            <p:ph type="body" orient="vert" idx="1" hasCustomPrompt="1"/>
          </p:nvPr>
        </p:nvSpPr>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Tree>
    <p:extLst>
      <p:ext uri="{BB962C8B-B14F-4D97-AF65-F5344CB8AC3E}">
        <p14:creationId xmlns:p14="http://schemas.microsoft.com/office/powerpoint/2010/main" val="285870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kst 2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709E5D-CA2A-47C3-B9D2-B1965AEA664C}"/>
              </a:ext>
            </a:extLst>
          </p:cNvPr>
          <p:cNvGraphicFramePr>
            <a:graphicFrameLocks noChangeAspect="1"/>
          </p:cNvGraphicFramePr>
          <p:nvPr userDrawn="1">
            <p:custDataLst>
              <p:tags r:id="rId1"/>
            </p:custDataLst>
            <p:extLst>
              <p:ext uri="{D42A27DB-BD31-4B8C-83A1-F6EECF244321}">
                <p14:modId xmlns:p14="http://schemas.microsoft.com/office/powerpoint/2010/main" val="3459205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83709E5D-CA2A-47C3-B9D2-B1965AEA6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9ED6DB6B-3916-486A-BBD7-E438848730E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515941" y="517525"/>
            <a:ext cx="5321294" cy="488950"/>
          </a:xfrm>
        </p:spPr>
        <p:txBody>
          <a:bodyPr lIns="0" tIns="0" rIns="0" bIns="0"/>
          <a:lstStyle>
            <a:lvl1pPr>
              <a:defRPr/>
            </a:lvl1pPr>
          </a:lstStyle>
          <a:p>
            <a:r>
              <a:rPr lang="nl-NL"/>
              <a:t>Plaats hier je titel</a:t>
            </a:r>
          </a:p>
        </p:txBody>
      </p:sp>
      <p:sp>
        <p:nvSpPr>
          <p:cNvPr id="3" name="Tijdelijke aanduiding voor verticale tekst 2"/>
          <p:cNvSpPr>
            <a:spLocks noGrp="1"/>
          </p:cNvSpPr>
          <p:nvPr>
            <p:ph type="body" orient="vert" idx="1" hasCustomPrompt="1"/>
          </p:nvPr>
        </p:nvSpPr>
        <p:spPr>
          <a:xfrm>
            <a:off x="515940" y="1350710"/>
            <a:ext cx="5321297" cy="4985004"/>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9" name="Tijdelijke aanduiding voor verticale tekst 2">
            <a:extLst>
              <a:ext uri="{FF2B5EF4-FFF2-40B4-BE49-F238E27FC236}">
                <a16:creationId xmlns:a16="http://schemas.microsoft.com/office/drawing/2014/main" id="{EF38799E-87DB-43F6-A2B3-D357CD953966}"/>
              </a:ext>
            </a:extLst>
          </p:cNvPr>
          <p:cNvSpPr>
            <a:spLocks noGrp="1"/>
          </p:cNvSpPr>
          <p:nvPr>
            <p:ph type="body" orient="vert" idx="13" hasCustomPrompt="1"/>
          </p:nvPr>
        </p:nvSpPr>
        <p:spPr>
          <a:xfrm>
            <a:off x="6345240" y="1350710"/>
            <a:ext cx="5321297" cy="4985004"/>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10" name="Tijdelijke aanduiding voor verticale tekst 2">
            <a:extLst>
              <a:ext uri="{FF2B5EF4-FFF2-40B4-BE49-F238E27FC236}">
                <a16:creationId xmlns:a16="http://schemas.microsoft.com/office/drawing/2014/main" id="{8566C55F-F621-4860-BC04-DF1573E4F107}"/>
              </a:ext>
            </a:extLst>
          </p:cNvPr>
          <p:cNvSpPr>
            <a:spLocks noGrp="1"/>
          </p:cNvSpPr>
          <p:nvPr>
            <p:ph type="body" orient="vert" idx="14" hasCustomPrompt="1"/>
          </p:nvPr>
        </p:nvSpPr>
        <p:spPr>
          <a:xfrm>
            <a:off x="6345240" y="517526"/>
            <a:ext cx="5321297" cy="488950"/>
          </a:xfrm>
        </p:spPr>
        <p:txBody>
          <a:bodyPr vert="horz" lIns="0" tIns="0" rIns="0" bIns="0"/>
          <a:lstStyle>
            <a:lvl1pPr marL="0" indent="0">
              <a:buNone/>
              <a:defRPr sz="2800" b="1"/>
            </a:lvl1pPr>
            <a:lvl2pPr>
              <a:defRPr/>
            </a:lvl2pPr>
            <a:lvl3pPr>
              <a:defRPr/>
            </a:lvl3pPr>
            <a:lvl4pPr>
              <a:defRPr>
                <a:solidFill>
                  <a:schemeClr val="accent1"/>
                </a:solidFill>
              </a:defRPr>
            </a:lvl4pPr>
            <a:lvl5pPr>
              <a:defRPr/>
            </a:lvl5pPr>
            <a:lvl6pPr>
              <a:defRPr/>
            </a:lvl6pPr>
            <a:lvl7pPr>
              <a:defRPr/>
            </a:lvl7pPr>
            <a:lvl8pPr>
              <a:defRPr/>
            </a:lvl8pPr>
            <a:lvl9pPr>
              <a:defRPr/>
            </a:lvl9pPr>
          </a:lstStyle>
          <a:p>
            <a:pPr lvl="0"/>
            <a:r>
              <a:rPr lang="nl-NL"/>
              <a:t>Plaats hier je titel</a:t>
            </a:r>
          </a:p>
        </p:txBody>
      </p:sp>
    </p:spTree>
    <p:extLst>
      <p:ext uri="{BB962C8B-B14F-4D97-AF65-F5344CB8AC3E}">
        <p14:creationId xmlns:p14="http://schemas.microsoft.com/office/powerpoint/2010/main" val="54347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kst en Beeld (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592445-825F-4C22-8399-3753F5FC4F3C}"/>
              </a:ext>
            </a:extLst>
          </p:cNvPr>
          <p:cNvGraphicFramePr>
            <a:graphicFrameLocks noChangeAspect="1"/>
          </p:cNvGraphicFramePr>
          <p:nvPr userDrawn="1">
            <p:custDataLst>
              <p:tags r:id="rId1"/>
            </p:custDataLst>
            <p:extLst>
              <p:ext uri="{D42A27DB-BD31-4B8C-83A1-F6EECF244321}">
                <p14:modId xmlns:p14="http://schemas.microsoft.com/office/powerpoint/2010/main" val="313552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9592445-825F-4C22-8399-3753F5FC4F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BBE726B6-7B2A-4E62-84B4-8C2AD390C8B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3" name="Tijdelijke aanduiding voor verticale tekst 2"/>
          <p:cNvSpPr>
            <a:spLocks noGrp="1"/>
          </p:cNvSpPr>
          <p:nvPr>
            <p:ph type="body" orient="vert" idx="1" hasCustomPrompt="1"/>
          </p:nvPr>
        </p:nvSpPr>
        <p:spPr>
          <a:xfrm>
            <a:off x="515938" y="1347275"/>
            <a:ext cx="6895484" cy="4993200"/>
          </a:xfrm>
        </p:spPr>
        <p:txBody>
          <a:bodyPr vert="horz" lIns="0" t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16" name="Tijdelijke aanduiding voor afbeelding 15">
            <a:extLst>
              <a:ext uri="{FF2B5EF4-FFF2-40B4-BE49-F238E27FC236}">
                <a16:creationId xmlns:a16="http://schemas.microsoft.com/office/drawing/2014/main" id="{5F703955-C0AA-4C71-8720-DD3C7E3203A4}"/>
              </a:ext>
            </a:extLst>
          </p:cNvPr>
          <p:cNvSpPr>
            <a:spLocks noGrp="1"/>
          </p:cNvSpPr>
          <p:nvPr>
            <p:ph type="pic" sz="quarter" idx="14" hasCustomPrompt="1"/>
          </p:nvPr>
        </p:nvSpPr>
        <p:spPr>
          <a:xfrm>
            <a:off x="8042876" y="517526"/>
            <a:ext cx="3627571" cy="5822948"/>
          </a:xfrm>
          <a:custGeom>
            <a:avLst/>
            <a:gdLst>
              <a:gd name="connsiteX0" fmla="*/ 305995 w 3627571"/>
              <a:gd name="connsiteY0" fmla="*/ 0 h 5822948"/>
              <a:gd name="connsiteX1" fmla="*/ 1440172 w 3627571"/>
              <a:gd name="connsiteY1" fmla="*/ 0 h 5822948"/>
              <a:gd name="connsiteX2" fmla="*/ 3627571 w 3627571"/>
              <a:gd name="connsiteY2" fmla="*/ 0 h 5822948"/>
              <a:gd name="connsiteX3" fmla="*/ 3627571 w 3627571"/>
              <a:gd name="connsiteY3" fmla="*/ 5822948 h 5822948"/>
              <a:gd name="connsiteX4" fmla="*/ 707110 w 3627571"/>
              <a:gd name="connsiteY4" fmla="*/ 5822948 h 5822948"/>
              <a:gd name="connsiteX5" fmla="*/ 306009 w 3627571"/>
              <a:gd name="connsiteY5" fmla="*/ 5822948 h 5822948"/>
              <a:gd name="connsiteX6" fmla="*/ 0 w 3627571"/>
              <a:gd name="connsiteY6" fmla="*/ 2911410 h 5822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7571" h="5822948">
                <a:moveTo>
                  <a:pt x="305995" y="0"/>
                </a:moveTo>
                <a:lnTo>
                  <a:pt x="1440172" y="0"/>
                </a:lnTo>
                <a:lnTo>
                  <a:pt x="3627571" y="0"/>
                </a:lnTo>
                <a:lnTo>
                  <a:pt x="3627571" y="5822948"/>
                </a:lnTo>
                <a:lnTo>
                  <a:pt x="707110" y="5822948"/>
                </a:lnTo>
                <a:lnTo>
                  <a:pt x="306009" y="5822948"/>
                </a:lnTo>
                <a:lnTo>
                  <a:pt x="0" y="291141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 </a:t>
            </a:r>
            <a:br>
              <a:rPr lang="nl-NL"/>
            </a:br>
            <a:r>
              <a:rPr lang="nl-NL"/>
              <a:t>Bekijk de sectie met instructie slides </a:t>
            </a:r>
            <a:br>
              <a:rPr lang="nl-NL"/>
            </a:br>
            <a:r>
              <a:rPr lang="nl-NL"/>
              <a:t>voor verdere informatie. </a:t>
            </a:r>
          </a:p>
          <a:p>
            <a:endParaRPr lang="nl-NL"/>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12" name="Titel 11">
            <a:extLst>
              <a:ext uri="{FF2B5EF4-FFF2-40B4-BE49-F238E27FC236}">
                <a16:creationId xmlns:a16="http://schemas.microsoft.com/office/drawing/2014/main" id="{558CC783-A5CE-440A-B704-9181273333C0}"/>
              </a:ext>
            </a:extLst>
          </p:cNvPr>
          <p:cNvSpPr>
            <a:spLocks noGrp="1"/>
          </p:cNvSpPr>
          <p:nvPr>
            <p:ph type="title" hasCustomPrompt="1"/>
          </p:nvPr>
        </p:nvSpPr>
        <p:spPr>
          <a:xfrm>
            <a:off x="515941" y="517525"/>
            <a:ext cx="6895481" cy="488950"/>
          </a:xfrm>
        </p:spPr>
        <p:txBody>
          <a:bodyPr/>
          <a:lstStyle>
            <a:lvl1pPr>
              <a:defRPr/>
            </a:lvl1pPr>
          </a:lstStyle>
          <a:p>
            <a:r>
              <a:rPr lang="nl-NL"/>
              <a:t>Plaats hier je titel</a:t>
            </a:r>
          </a:p>
        </p:txBody>
      </p:sp>
    </p:spTree>
    <p:extLst>
      <p:ext uri="{BB962C8B-B14F-4D97-AF65-F5344CB8AC3E}">
        <p14:creationId xmlns:p14="http://schemas.microsoft.com/office/powerpoint/2010/main" val="328784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kst en Beeld (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B85FE69-DA37-4964-A6FE-BCEEE83B31C9}"/>
              </a:ext>
            </a:extLst>
          </p:cNvPr>
          <p:cNvGraphicFramePr>
            <a:graphicFrameLocks noChangeAspect="1"/>
          </p:cNvGraphicFramePr>
          <p:nvPr userDrawn="1">
            <p:custDataLst>
              <p:tags r:id="rId1"/>
            </p:custDataLst>
            <p:extLst>
              <p:ext uri="{D42A27DB-BD31-4B8C-83A1-F6EECF244321}">
                <p14:modId xmlns:p14="http://schemas.microsoft.com/office/powerpoint/2010/main" val="828636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4B85FE69-DA37-4964-A6FE-BCEEE83B31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4058BBB0-88D6-4416-A9E1-8F81E76C35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15" name="Tijdelijke aanduiding voor afbeelding 14">
            <a:extLst>
              <a:ext uri="{FF2B5EF4-FFF2-40B4-BE49-F238E27FC236}">
                <a16:creationId xmlns:a16="http://schemas.microsoft.com/office/drawing/2014/main" id="{022CA9A0-2D40-4CEA-A98C-40B521F5D625}"/>
              </a:ext>
            </a:extLst>
          </p:cNvPr>
          <p:cNvSpPr>
            <a:spLocks noGrp="1"/>
          </p:cNvSpPr>
          <p:nvPr>
            <p:ph type="pic" sz="quarter" idx="14" hasCustomPrompt="1"/>
          </p:nvPr>
        </p:nvSpPr>
        <p:spPr>
          <a:xfrm>
            <a:off x="6341163" y="517525"/>
            <a:ext cx="5330137" cy="5818187"/>
          </a:xfrm>
          <a:custGeom>
            <a:avLst/>
            <a:gdLst>
              <a:gd name="connsiteX0" fmla="*/ 305996 w 5330137"/>
              <a:gd name="connsiteY0" fmla="*/ 0 h 5818187"/>
              <a:gd name="connsiteX1" fmla="*/ 712408 w 5330137"/>
              <a:gd name="connsiteY1" fmla="*/ 0 h 5818187"/>
              <a:gd name="connsiteX2" fmla="*/ 1459197 w 5330137"/>
              <a:gd name="connsiteY2" fmla="*/ 0 h 5818187"/>
              <a:gd name="connsiteX3" fmla="*/ 5330137 w 5330137"/>
              <a:gd name="connsiteY3" fmla="*/ 0 h 5818187"/>
              <a:gd name="connsiteX4" fmla="*/ 5330137 w 5330137"/>
              <a:gd name="connsiteY4" fmla="*/ 5818187 h 5818187"/>
              <a:gd name="connsiteX5" fmla="*/ 712408 w 5330137"/>
              <a:gd name="connsiteY5" fmla="*/ 5818187 h 5818187"/>
              <a:gd name="connsiteX6" fmla="*/ 712408 w 5330137"/>
              <a:gd name="connsiteY6" fmla="*/ 5818186 h 5818187"/>
              <a:gd name="connsiteX7" fmla="*/ 305508 w 5330137"/>
              <a:gd name="connsiteY7" fmla="*/ 5818186 h 5818187"/>
              <a:gd name="connsiteX8" fmla="*/ 0 w 5330137"/>
              <a:gd name="connsiteY8" fmla="*/ 2911411 h 581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30137" h="5818187">
                <a:moveTo>
                  <a:pt x="305996" y="0"/>
                </a:moveTo>
                <a:lnTo>
                  <a:pt x="712408" y="0"/>
                </a:lnTo>
                <a:lnTo>
                  <a:pt x="1459197" y="0"/>
                </a:lnTo>
                <a:lnTo>
                  <a:pt x="5330137" y="0"/>
                </a:lnTo>
                <a:lnTo>
                  <a:pt x="5330137" y="5818187"/>
                </a:lnTo>
                <a:lnTo>
                  <a:pt x="712408" y="5818187"/>
                </a:lnTo>
                <a:lnTo>
                  <a:pt x="712408" y="5818186"/>
                </a:lnTo>
                <a:lnTo>
                  <a:pt x="305508" y="5818186"/>
                </a:lnTo>
                <a:lnTo>
                  <a:pt x="0" y="2911411"/>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3" name="Tijdelijke aanduiding voor verticale tekst 2"/>
          <p:cNvSpPr>
            <a:spLocks noGrp="1"/>
          </p:cNvSpPr>
          <p:nvPr>
            <p:ph type="body" orient="vert" idx="1" hasCustomPrompt="1"/>
          </p:nvPr>
        </p:nvSpPr>
        <p:spPr>
          <a:xfrm>
            <a:off x="515941" y="1347275"/>
            <a:ext cx="5209830" cy="499320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736307D8-D2AE-444C-A09E-0A3B69F7CA75}"/>
              </a:ext>
            </a:extLst>
          </p:cNvPr>
          <p:cNvSpPr>
            <a:spLocks noGrp="1"/>
          </p:cNvSpPr>
          <p:nvPr>
            <p:ph type="title" hasCustomPrompt="1"/>
          </p:nvPr>
        </p:nvSpPr>
        <p:spPr>
          <a:xfrm>
            <a:off x="515941" y="517525"/>
            <a:ext cx="5209830" cy="488950"/>
          </a:xfrm>
        </p:spPr>
        <p:txBody>
          <a:bodyPr/>
          <a:lstStyle>
            <a:lvl1pPr>
              <a:defRPr/>
            </a:lvl1pPr>
          </a:lstStyle>
          <a:p>
            <a:r>
              <a:rPr lang="nl-NL"/>
              <a:t>Plaats hier je titel</a:t>
            </a:r>
          </a:p>
        </p:txBody>
      </p:sp>
    </p:spTree>
    <p:extLst>
      <p:ext uri="{BB962C8B-B14F-4D97-AF65-F5344CB8AC3E}">
        <p14:creationId xmlns:p14="http://schemas.microsoft.com/office/powerpoint/2010/main" val="133130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kst en Beeld (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4261915-35DD-44AD-AB1E-6BD563F7CCD3}"/>
              </a:ext>
            </a:extLst>
          </p:cNvPr>
          <p:cNvGraphicFramePr>
            <a:graphicFrameLocks noChangeAspect="1"/>
          </p:cNvGraphicFramePr>
          <p:nvPr userDrawn="1">
            <p:custDataLst>
              <p:tags r:id="rId1"/>
            </p:custDataLst>
            <p:extLst>
              <p:ext uri="{D42A27DB-BD31-4B8C-83A1-F6EECF244321}">
                <p14:modId xmlns:p14="http://schemas.microsoft.com/office/powerpoint/2010/main" val="405081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94261915-35DD-44AD-AB1E-6BD563F7C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57E061B0-5A77-4EAF-A8E5-9E3168A97E5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17" name="Tijdelijke aanduiding voor afbeelding 16">
            <a:extLst>
              <a:ext uri="{FF2B5EF4-FFF2-40B4-BE49-F238E27FC236}">
                <a16:creationId xmlns:a16="http://schemas.microsoft.com/office/drawing/2014/main" id="{64515711-5DF2-4DF4-9916-2C338B1F300F}"/>
              </a:ext>
            </a:extLst>
          </p:cNvPr>
          <p:cNvSpPr>
            <a:spLocks noGrp="1"/>
          </p:cNvSpPr>
          <p:nvPr>
            <p:ph type="pic" sz="quarter" idx="14" hasCustomPrompt="1"/>
          </p:nvPr>
        </p:nvSpPr>
        <p:spPr>
          <a:xfrm>
            <a:off x="4514229" y="517526"/>
            <a:ext cx="7157071" cy="5827842"/>
          </a:xfrm>
          <a:custGeom>
            <a:avLst/>
            <a:gdLst>
              <a:gd name="connsiteX0" fmla="*/ 305995 w 7157071"/>
              <a:gd name="connsiteY0" fmla="*/ 0 h 5827842"/>
              <a:gd name="connsiteX1" fmla="*/ 7157071 w 7157071"/>
              <a:gd name="connsiteY1" fmla="*/ 0 h 5827842"/>
              <a:gd name="connsiteX2" fmla="*/ 7157071 w 7157071"/>
              <a:gd name="connsiteY2" fmla="*/ 5827842 h 5827842"/>
              <a:gd name="connsiteX3" fmla="*/ 711826 w 7157071"/>
              <a:gd name="connsiteY3" fmla="*/ 5827842 h 5827842"/>
              <a:gd name="connsiteX4" fmla="*/ 711826 w 7157071"/>
              <a:gd name="connsiteY4" fmla="*/ 5827841 h 5827842"/>
              <a:gd name="connsiteX5" fmla="*/ 243328 w 7157071"/>
              <a:gd name="connsiteY5" fmla="*/ 5827841 h 5827842"/>
              <a:gd name="connsiteX6" fmla="*/ 242814 w 7157071"/>
              <a:gd name="connsiteY6" fmla="*/ 5822952 h 5827842"/>
              <a:gd name="connsiteX7" fmla="*/ 306009 w 7157071"/>
              <a:gd name="connsiteY7" fmla="*/ 5822952 h 5827842"/>
              <a:gd name="connsiteX8" fmla="*/ 0 w 7157071"/>
              <a:gd name="connsiteY8" fmla="*/ 2911410 h 5827842"/>
              <a:gd name="connsiteX0" fmla="*/ 305995 w 7157071"/>
              <a:gd name="connsiteY0" fmla="*/ 0 h 5827842"/>
              <a:gd name="connsiteX1" fmla="*/ 7157071 w 7157071"/>
              <a:gd name="connsiteY1" fmla="*/ 0 h 5827842"/>
              <a:gd name="connsiteX2" fmla="*/ 7157071 w 7157071"/>
              <a:gd name="connsiteY2" fmla="*/ 5827842 h 5827842"/>
              <a:gd name="connsiteX3" fmla="*/ 711826 w 7157071"/>
              <a:gd name="connsiteY3" fmla="*/ 5827842 h 5827842"/>
              <a:gd name="connsiteX4" fmla="*/ 711826 w 7157071"/>
              <a:gd name="connsiteY4" fmla="*/ 5827841 h 5827842"/>
              <a:gd name="connsiteX5" fmla="*/ 243328 w 7157071"/>
              <a:gd name="connsiteY5" fmla="*/ 5827841 h 5827842"/>
              <a:gd name="connsiteX6" fmla="*/ 242814 w 7157071"/>
              <a:gd name="connsiteY6" fmla="*/ 5822952 h 5827842"/>
              <a:gd name="connsiteX7" fmla="*/ 0 w 7157071"/>
              <a:gd name="connsiteY7" fmla="*/ 2911410 h 5827842"/>
              <a:gd name="connsiteX8" fmla="*/ 305995 w 7157071"/>
              <a:gd name="connsiteY8" fmla="*/ 0 h 582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7071" h="5827842">
                <a:moveTo>
                  <a:pt x="305995" y="0"/>
                </a:moveTo>
                <a:lnTo>
                  <a:pt x="7157071" y="0"/>
                </a:lnTo>
                <a:lnTo>
                  <a:pt x="7157071" y="5827842"/>
                </a:lnTo>
                <a:lnTo>
                  <a:pt x="711826" y="5827842"/>
                </a:lnTo>
                <a:lnTo>
                  <a:pt x="711826" y="5827841"/>
                </a:lnTo>
                <a:lnTo>
                  <a:pt x="243328" y="5827841"/>
                </a:lnTo>
                <a:cubicBezTo>
                  <a:pt x="243157" y="5826211"/>
                  <a:pt x="242985" y="5824582"/>
                  <a:pt x="242814" y="5822952"/>
                </a:cubicBezTo>
                <a:lnTo>
                  <a:pt x="0" y="2911410"/>
                </a:lnTo>
                <a:lnTo>
                  <a:pt x="305995" y="0"/>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br>
              <a:rPr lang="nl-NL"/>
            </a:br>
            <a:r>
              <a:rPr lang="nl-NL"/>
              <a:t>Bekijk de sectie met instructie slides </a:t>
            </a:r>
            <a:br>
              <a:rPr lang="nl-NL"/>
            </a:br>
            <a:r>
              <a:rPr lang="nl-NL"/>
              <a:t>voor verdere informatie. </a:t>
            </a:r>
          </a:p>
          <a:p>
            <a:endParaRPr lang="nl-NL"/>
          </a:p>
        </p:txBody>
      </p:sp>
      <p:sp>
        <p:nvSpPr>
          <p:cNvPr id="3" name="Tijdelijke aanduiding voor verticale tekst 2"/>
          <p:cNvSpPr>
            <a:spLocks noGrp="1"/>
          </p:cNvSpPr>
          <p:nvPr>
            <p:ph type="body" orient="vert" idx="1" hasCustomPrompt="1"/>
          </p:nvPr>
        </p:nvSpPr>
        <p:spPr>
          <a:xfrm>
            <a:off x="515938" y="1347275"/>
            <a:ext cx="3422562" cy="499320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07411392-B9AE-48CE-911E-F56D1FDA3CBF}"/>
              </a:ext>
            </a:extLst>
          </p:cNvPr>
          <p:cNvSpPr>
            <a:spLocks noGrp="1"/>
          </p:cNvSpPr>
          <p:nvPr>
            <p:ph type="title" hasCustomPrompt="1"/>
          </p:nvPr>
        </p:nvSpPr>
        <p:spPr>
          <a:xfrm>
            <a:off x="515941" y="517525"/>
            <a:ext cx="3422559" cy="488950"/>
          </a:xfrm>
        </p:spPr>
        <p:txBody>
          <a:bodyPr/>
          <a:lstStyle>
            <a:lvl1pPr>
              <a:defRPr/>
            </a:lvl1pPr>
          </a:lstStyle>
          <a:p>
            <a:r>
              <a:rPr lang="nl-NL"/>
              <a:t>Plaats hier je titel</a:t>
            </a:r>
          </a:p>
        </p:txBody>
      </p:sp>
    </p:spTree>
    <p:extLst>
      <p:ext uri="{BB962C8B-B14F-4D97-AF65-F5344CB8AC3E}">
        <p14:creationId xmlns:p14="http://schemas.microsoft.com/office/powerpoint/2010/main" val="4326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kst en Qu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3DB8EF6-06C7-45BF-BDB5-F4D65624D77D}"/>
              </a:ext>
            </a:extLst>
          </p:cNvPr>
          <p:cNvGraphicFramePr>
            <a:graphicFrameLocks noChangeAspect="1"/>
          </p:cNvGraphicFramePr>
          <p:nvPr userDrawn="1">
            <p:custDataLst>
              <p:tags r:id="rId1"/>
            </p:custDataLst>
            <p:extLst>
              <p:ext uri="{D42A27DB-BD31-4B8C-83A1-F6EECF244321}">
                <p14:modId xmlns:p14="http://schemas.microsoft.com/office/powerpoint/2010/main" val="151758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33DB8EF6-06C7-45BF-BDB5-F4D65624D7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hoek 6" hidden="1">
            <a:extLst>
              <a:ext uri="{FF2B5EF4-FFF2-40B4-BE49-F238E27FC236}">
                <a16:creationId xmlns:a16="http://schemas.microsoft.com/office/drawing/2014/main" id="{78E26E09-1E04-4249-9975-5DA557F53E2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2" name="Pijl: vijfhoek 1">
            <a:extLst>
              <a:ext uri="{FF2B5EF4-FFF2-40B4-BE49-F238E27FC236}">
                <a16:creationId xmlns:a16="http://schemas.microsoft.com/office/drawing/2014/main" id="{E8692EF5-0C21-4EC4-8CBC-AB5FB95BD0AF}"/>
              </a:ext>
            </a:extLst>
          </p:cNvPr>
          <p:cNvSpPr/>
          <p:nvPr userDrawn="1"/>
        </p:nvSpPr>
        <p:spPr>
          <a:xfrm flipH="1">
            <a:off x="6338701" y="517525"/>
            <a:ext cx="5332598" cy="5841704"/>
          </a:xfrm>
          <a:prstGeom prst="homePlate">
            <a:avLst>
              <a:gd name="adj" fmla="val 5941"/>
            </a:avLst>
          </a:prstGeom>
          <a:solidFill>
            <a:srgbClr val="E2EE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verticale tekst 2"/>
          <p:cNvSpPr>
            <a:spLocks noGrp="1"/>
          </p:cNvSpPr>
          <p:nvPr>
            <p:ph type="body" orient="vert" idx="1" hasCustomPrompt="1"/>
          </p:nvPr>
        </p:nvSpPr>
        <p:spPr>
          <a:xfrm>
            <a:off x="515941" y="1347275"/>
            <a:ext cx="5209830" cy="499320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11"/>
          </p:nvPr>
        </p:nvSpPr>
        <p:spPr/>
        <p:txBody>
          <a:bodyPr/>
          <a:lstStyle/>
          <a:p>
            <a:r>
              <a:rPr lang="nl-NL"/>
              <a:t>Zilveren Kruis | Interne verhaallijn Inkoopbeleid MSZ 2023</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r.›</a:t>
            </a:fld>
            <a:endParaRPr lang="nl-NL"/>
          </a:p>
        </p:txBody>
      </p:sp>
      <p:sp>
        <p:nvSpPr>
          <p:cNvPr id="4" name="Titel 3">
            <a:extLst>
              <a:ext uri="{FF2B5EF4-FFF2-40B4-BE49-F238E27FC236}">
                <a16:creationId xmlns:a16="http://schemas.microsoft.com/office/drawing/2014/main" id="{736307D8-D2AE-444C-A09E-0A3B69F7CA75}"/>
              </a:ext>
            </a:extLst>
          </p:cNvPr>
          <p:cNvSpPr>
            <a:spLocks noGrp="1"/>
          </p:cNvSpPr>
          <p:nvPr>
            <p:ph type="title" hasCustomPrompt="1"/>
          </p:nvPr>
        </p:nvSpPr>
        <p:spPr>
          <a:xfrm>
            <a:off x="515941" y="517525"/>
            <a:ext cx="5209830" cy="488950"/>
          </a:xfrm>
        </p:spPr>
        <p:txBody>
          <a:bodyPr/>
          <a:lstStyle>
            <a:lvl1pPr>
              <a:defRPr/>
            </a:lvl1pPr>
          </a:lstStyle>
          <a:p>
            <a:r>
              <a:rPr lang="nl-NL"/>
              <a:t>Plaats hier je titel</a:t>
            </a:r>
          </a:p>
        </p:txBody>
      </p:sp>
      <p:sp>
        <p:nvSpPr>
          <p:cNvPr id="8" name="Tijdelijke aanduiding voor tekst 7">
            <a:extLst>
              <a:ext uri="{FF2B5EF4-FFF2-40B4-BE49-F238E27FC236}">
                <a16:creationId xmlns:a16="http://schemas.microsoft.com/office/drawing/2014/main" id="{ECA8D6F7-F80C-472B-84E7-C3DB75A8B4FE}"/>
              </a:ext>
            </a:extLst>
          </p:cNvPr>
          <p:cNvSpPr>
            <a:spLocks noGrp="1"/>
          </p:cNvSpPr>
          <p:nvPr>
            <p:ph type="body" sz="quarter" idx="13" hasCustomPrompt="1"/>
          </p:nvPr>
        </p:nvSpPr>
        <p:spPr>
          <a:xfrm>
            <a:off x="6795353" y="1676401"/>
            <a:ext cx="4463757" cy="3523954"/>
          </a:xfrm>
        </p:spPr>
        <p:txBody>
          <a:bodyPr anchor="ctr" anchorCtr="0"/>
          <a:lstStyle>
            <a:lvl1pPr marL="0" indent="0" algn="ctr" defTabSz="914400" rtl="0" eaLnBrk="1" latinLnBrk="0" hangingPunct="1">
              <a:lnSpc>
                <a:spcPct val="90000"/>
              </a:lnSpc>
              <a:spcBef>
                <a:spcPct val="0"/>
              </a:spcBef>
              <a:buNone/>
              <a:tabLst>
                <a:tab pos="1255713" algn="l"/>
              </a:tabLst>
              <a:defRPr lang="nl-NL" sz="4000" b="1" kern="1200" dirty="0" smtClean="0">
                <a:solidFill>
                  <a:schemeClr val="tx2"/>
                </a:solidFill>
                <a:latin typeface="+mj-lt"/>
                <a:ea typeface="+mj-ea"/>
                <a:cs typeface="+mj-cs"/>
              </a:defRPr>
            </a:lvl1pPr>
            <a:lvl2pPr marL="263525" indent="0">
              <a:buNone/>
              <a:defRPr/>
            </a:lvl2pPr>
          </a:lstStyle>
          <a:p>
            <a:pPr lvl="0"/>
            <a:r>
              <a:rPr lang="nl-NL"/>
              <a:t>“Plaats hier </a:t>
            </a:r>
            <a:br>
              <a:rPr lang="nl-NL"/>
            </a:br>
            <a:r>
              <a:rPr lang="nl-NL"/>
              <a:t>  je Quote”</a:t>
            </a:r>
          </a:p>
        </p:txBody>
      </p:sp>
    </p:spTree>
    <p:extLst>
      <p:ext uri="{BB962C8B-B14F-4D97-AF65-F5344CB8AC3E}">
        <p14:creationId xmlns:p14="http://schemas.microsoft.com/office/powerpoint/2010/main" val="63583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kst en Illustrati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91A97A-DE62-4AF1-95AF-FF1B26E3E1C0}"/>
              </a:ext>
            </a:extLst>
          </p:cNvPr>
          <p:cNvGraphicFramePr>
            <a:graphicFrameLocks noChangeAspect="1"/>
          </p:cNvGraphicFramePr>
          <p:nvPr userDrawn="1">
            <p:custDataLst>
              <p:tags r:id="rId1"/>
            </p:custDataLst>
            <p:extLst>
              <p:ext uri="{D42A27DB-BD31-4B8C-83A1-F6EECF244321}">
                <p14:modId xmlns:p14="http://schemas.microsoft.com/office/powerpoint/2010/main" val="2105581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5291A97A-DE62-4AF1-95AF-FF1B26E3E1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5F3DD7BC-EA03-46C2-80F2-7807B8E2F0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afbeelding 8">
            <a:extLst>
              <a:ext uri="{FF2B5EF4-FFF2-40B4-BE49-F238E27FC236}">
                <a16:creationId xmlns:a16="http://schemas.microsoft.com/office/drawing/2014/main" id="{1EB01BAA-A260-4B36-BC7A-6D5D3E1E63EC}"/>
              </a:ext>
            </a:extLst>
          </p:cNvPr>
          <p:cNvSpPr>
            <a:spLocks noGrp="1"/>
          </p:cNvSpPr>
          <p:nvPr>
            <p:ph type="pic" sz="quarter" idx="14" hasCustomPrompt="1"/>
          </p:nvPr>
        </p:nvSpPr>
        <p:spPr>
          <a:xfrm>
            <a:off x="7556500" y="517526"/>
            <a:ext cx="4114798" cy="5817112"/>
          </a:xfrm>
          <a:prstGeom prst="rect">
            <a:avLst/>
          </a:prstGeom>
          <a:no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illustratie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7" name="Tijdelijke aanduiding voor voettekst 4">
            <a:extLst>
              <a:ext uri="{FF2B5EF4-FFF2-40B4-BE49-F238E27FC236}">
                <a16:creationId xmlns:a16="http://schemas.microsoft.com/office/drawing/2014/main" id="{32CDE956-D452-49A3-8677-A34CC14281C3}"/>
              </a:ext>
            </a:extLst>
          </p:cNvPr>
          <p:cNvSpPr>
            <a:spLocks noGrp="1"/>
          </p:cNvSpPr>
          <p:nvPr>
            <p:ph type="ftr" sz="quarter" idx="11"/>
          </p:nvPr>
        </p:nvSpPr>
        <p:spPr>
          <a:xfrm>
            <a:off x="521553" y="6472835"/>
            <a:ext cx="6273800" cy="225817"/>
          </a:xfrm>
        </p:spPr>
        <p:txBody>
          <a:bodyPr/>
          <a:lstStyle/>
          <a:p>
            <a:r>
              <a:rPr lang="nl-NL"/>
              <a:t>Zilveren Kruis | Interne verhaallijn Inkoopbeleid MSZ 2023</a:t>
            </a:r>
          </a:p>
        </p:txBody>
      </p:sp>
      <p:sp>
        <p:nvSpPr>
          <p:cNvPr id="9" name="Tijdelijke aanduiding voor dianummer 5">
            <a:extLst>
              <a:ext uri="{FF2B5EF4-FFF2-40B4-BE49-F238E27FC236}">
                <a16:creationId xmlns:a16="http://schemas.microsoft.com/office/drawing/2014/main" id="{F1D2D9A1-25D8-4701-8B3B-BA1F291467AF}"/>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sp>
        <p:nvSpPr>
          <p:cNvPr id="87" name="Tijdelijke aanduiding voor verticale tekst 2">
            <a:extLst>
              <a:ext uri="{FF2B5EF4-FFF2-40B4-BE49-F238E27FC236}">
                <a16:creationId xmlns:a16="http://schemas.microsoft.com/office/drawing/2014/main" id="{48C25B6B-0751-4A56-ACFB-8DDD752F75A0}"/>
              </a:ext>
            </a:extLst>
          </p:cNvPr>
          <p:cNvSpPr>
            <a:spLocks noGrp="1"/>
          </p:cNvSpPr>
          <p:nvPr>
            <p:ph type="body" orient="vert" idx="1" hasCustomPrompt="1"/>
          </p:nvPr>
        </p:nvSpPr>
        <p:spPr>
          <a:xfrm>
            <a:off x="515941" y="1347275"/>
            <a:ext cx="6312278" cy="499320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88" name="Titel 3">
            <a:extLst>
              <a:ext uri="{FF2B5EF4-FFF2-40B4-BE49-F238E27FC236}">
                <a16:creationId xmlns:a16="http://schemas.microsoft.com/office/drawing/2014/main" id="{1326CCD5-48FC-4911-93D9-3D9D0CA873E6}"/>
              </a:ext>
            </a:extLst>
          </p:cNvPr>
          <p:cNvSpPr>
            <a:spLocks noGrp="1"/>
          </p:cNvSpPr>
          <p:nvPr>
            <p:ph type="title" hasCustomPrompt="1"/>
          </p:nvPr>
        </p:nvSpPr>
        <p:spPr>
          <a:xfrm>
            <a:off x="515941" y="517525"/>
            <a:ext cx="6333990" cy="488950"/>
          </a:xfrm>
        </p:spPr>
        <p:txBody>
          <a:bodyPr/>
          <a:lstStyle>
            <a:lvl1pPr>
              <a:defRPr/>
            </a:lvl1pPr>
          </a:lstStyle>
          <a:p>
            <a:r>
              <a:rPr lang="nl-NL"/>
              <a:t>Plaats hier je titel</a:t>
            </a:r>
          </a:p>
        </p:txBody>
      </p:sp>
    </p:spTree>
    <p:extLst>
      <p:ext uri="{BB962C8B-B14F-4D97-AF65-F5344CB8AC3E}">
        <p14:creationId xmlns:p14="http://schemas.microsoft.com/office/powerpoint/2010/main" val="17386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kst en Quote klei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BDD75E-AB56-4E2D-AF58-90624D94D1F5}"/>
              </a:ext>
            </a:extLst>
          </p:cNvPr>
          <p:cNvGraphicFramePr>
            <a:graphicFrameLocks noChangeAspect="1"/>
          </p:cNvGraphicFramePr>
          <p:nvPr userDrawn="1">
            <p:custDataLst>
              <p:tags r:id="rId1"/>
            </p:custDataLst>
            <p:extLst>
              <p:ext uri="{D42A27DB-BD31-4B8C-83A1-F6EECF244321}">
                <p14:modId xmlns:p14="http://schemas.microsoft.com/office/powerpoint/2010/main" val="1445848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08BDD75E-AB56-4E2D-AF58-90624D94D1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01A414E8-A963-42B3-A7A5-9CFAFB24DB2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8" name="Pijl: vijfhoek 7">
            <a:extLst>
              <a:ext uri="{FF2B5EF4-FFF2-40B4-BE49-F238E27FC236}">
                <a16:creationId xmlns:a16="http://schemas.microsoft.com/office/drawing/2014/main" id="{33225ED4-D91F-4F14-B392-44B2216D2D33}"/>
              </a:ext>
            </a:extLst>
          </p:cNvPr>
          <p:cNvSpPr/>
          <p:nvPr userDrawn="1"/>
        </p:nvSpPr>
        <p:spPr>
          <a:xfrm flipH="1">
            <a:off x="8078207" y="517525"/>
            <a:ext cx="3593091" cy="5841704"/>
          </a:xfrm>
          <a:prstGeom prst="homePlate">
            <a:avLst>
              <a:gd name="adj" fmla="val 7355"/>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Tijdelijke aanduiding voor voettekst 4">
            <a:extLst>
              <a:ext uri="{FF2B5EF4-FFF2-40B4-BE49-F238E27FC236}">
                <a16:creationId xmlns:a16="http://schemas.microsoft.com/office/drawing/2014/main" id="{0B060C24-A65F-4C98-B918-4E2E57F4D7F8}"/>
              </a:ext>
            </a:extLst>
          </p:cNvPr>
          <p:cNvSpPr>
            <a:spLocks noGrp="1"/>
          </p:cNvSpPr>
          <p:nvPr>
            <p:ph type="ftr" sz="quarter" idx="11"/>
          </p:nvPr>
        </p:nvSpPr>
        <p:spPr>
          <a:xfrm>
            <a:off x="521553" y="6472835"/>
            <a:ext cx="6273800" cy="225817"/>
          </a:xfrm>
        </p:spPr>
        <p:txBody>
          <a:bodyPr/>
          <a:lstStyle/>
          <a:p>
            <a:r>
              <a:rPr lang="nl-NL"/>
              <a:t>Zilveren Kruis | Interne verhaallijn Inkoopbeleid MSZ 2023</a:t>
            </a:r>
          </a:p>
        </p:txBody>
      </p:sp>
      <p:sp>
        <p:nvSpPr>
          <p:cNvPr id="14" name="Tijdelijke aanduiding voor dianummer 5">
            <a:extLst>
              <a:ext uri="{FF2B5EF4-FFF2-40B4-BE49-F238E27FC236}">
                <a16:creationId xmlns:a16="http://schemas.microsoft.com/office/drawing/2014/main" id="{1874027E-5CD5-452C-8F2B-DA019268F12B}"/>
              </a:ext>
            </a:extLst>
          </p:cNvPr>
          <p:cNvSpPr>
            <a:spLocks noGrp="1"/>
          </p:cNvSpPr>
          <p:nvPr>
            <p:ph type="sldNum" sz="quarter" idx="12"/>
          </p:nvPr>
        </p:nvSpPr>
        <p:spPr>
          <a:xfrm>
            <a:off x="11017541" y="6472835"/>
            <a:ext cx="652906" cy="225817"/>
          </a:xfrm>
        </p:spPr>
        <p:txBody>
          <a:bodyPr/>
          <a:lstStyle/>
          <a:p>
            <a:fld id="{B502C9A5-716F-45E6-800B-D4D02CE26F90}" type="slidenum">
              <a:rPr lang="nl-NL" smtClean="0"/>
              <a:t>‹nr.›</a:t>
            </a:fld>
            <a:endParaRPr lang="nl-NL"/>
          </a:p>
        </p:txBody>
      </p:sp>
      <p:sp>
        <p:nvSpPr>
          <p:cNvPr id="24" name="Tijdelijke aanduiding voor verticale tekst 2">
            <a:extLst>
              <a:ext uri="{FF2B5EF4-FFF2-40B4-BE49-F238E27FC236}">
                <a16:creationId xmlns:a16="http://schemas.microsoft.com/office/drawing/2014/main" id="{A9721B8D-FE34-4F36-B371-87CACFB2E542}"/>
              </a:ext>
            </a:extLst>
          </p:cNvPr>
          <p:cNvSpPr>
            <a:spLocks noGrp="1"/>
          </p:cNvSpPr>
          <p:nvPr>
            <p:ph type="body" orient="vert" idx="1" hasCustomPrompt="1"/>
          </p:nvPr>
        </p:nvSpPr>
        <p:spPr>
          <a:xfrm>
            <a:off x="515941" y="1347275"/>
            <a:ext cx="6904034" cy="4993200"/>
          </a:xfrm>
        </p:spPr>
        <p:txBody>
          <a:bodyPr vert="horz" lIns="0" tIns="0" rIns="0" bIns="0"/>
          <a:lstStyle>
            <a:lvl1pPr>
              <a:defRPr/>
            </a:lvl1pPr>
            <a:lvl2pPr>
              <a:defRPr/>
            </a:lvl2pPr>
            <a:lvl3pPr>
              <a:defRPr/>
            </a:lvl3pPr>
            <a:lvl4pPr>
              <a:defRPr>
                <a:solidFill>
                  <a:schemeClr val="tx2"/>
                </a:solidFill>
              </a:defRPr>
            </a:lvl4pPr>
            <a:lvl5pPr>
              <a:defRPr/>
            </a:lvl5pPr>
            <a:lvl6pPr>
              <a:defRPr/>
            </a:lvl6pPr>
            <a:lvl7pPr>
              <a:defRPr/>
            </a:lvl7pPr>
            <a:lvl8pPr>
              <a:defRPr/>
            </a:lvl8pPr>
            <a:lvl9pPr>
              <a:defRPr/>
            </a:lvl9pPr>
          </a:lstStyle>
          <a:p>
            <a:pPr lvl="0"/>
            <a:r>
              <a:rPr lang="nl-NL" err="1"/>
              <a:t>Bullet</a:t>
            </a:r>
            <a:endParaRPr lang="nl-NL"/>
          </a:p>
          <a:p>
            <a:pPr lvl="1"/>
            <a:r>
              <a:rPr lang="nl-NL"/>
              <a:t>Sub-</a:t>
            </a:r>
            <a:r>
              <a:rPr lang="nl-NL" err="1"/>
              <a:t>bullet</a:t>
            </a:r>
            <a:endParaRPr lang="nl-NL"/>
          </a:p>
          <a:p>
            <a:pPr lvl="2"/>
            <a:r>
              <a:rPr lang="nl-NL"/>
              <a:t>Leestekst</a:t>
            </a:r>
          </a:p>
          <a:p>
            <a:pPr lvl="3"/>
            <a:r>
              <a:rPr lang="nl-NL"/>
              <a:t>Subtitel</a:t>
            </a:r>
          </a:p>
          <a:p>
            <a:pPr lvl="4"/>
            <a:r>
              <a:rPr lang="nl-NL"/>
              <a:t>Numerieke </a:t>
            </a:r>
            <a:r>
              <a:rPr lang="nl-NL" err="1"/>
              <a:t>bullets</a:t>
            </a:r>
            <a:endParaRPr lang="nl-NL"/>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25" name="Titel 3">
            <a:extLst>
              <a:ext uri="{FF2B5EF4-FFF2-40B4-BE49-F238E27FC236}">
                <a16:creationId xmlns:a16="http://schemas.microsoft.com/office/drawing/2014/main" id="{613BDF79-579D-4D89-976D-9928B131CD79}"/>
              </a:ext>
            </a:extLst>
          </p:cNvPr>
          <p:cNvSpPr>
            <a:spLocks noGrp="1"/>
          </p:cNvSpPr>
          <p:nvPr>
            <p:ph type="title" hasCustomPrompt="1"/>
          </p:nvPr>
        </p:nvSpPr>
        <p:spPr>
          <a:xfrm>
            <a:off x="515941" y="517525"/>
            <a:ext cx="6904034" cy="488950"/>
          </a:xfrm>
        </p:spPr>
        <p:txBody>
          <a:bodyPr/>
          <a:lstStyle>
            <a:lvl1pPr>
              <a:defRPr/>
            </a:lvl1pPr>
          </a:lstStyle>
          <a:p>
            <a:r>
              <a:rPr lang="nl-NL"/>
              <a:t>Plaats hier je titel</a:t>
            </a:r>
          </a:p>
        </p:txBody>
      </p:sp>
      <p:sp>
        <p:nvSpPr>
          <p:cNvPr id="26" name="Tijdelijke aanduiding voor tekst 7">
            <a:extLst>
              <a:ext uri="{FF2B5EF4-FFF2-40B4-BE49-F238E27FC236}">
                <a16:creationId xmlns:a16="http://schemas.microsoft.com/office/drawing/2014/main" id="{32C8B834-DE6D-4B10-8F6D-C4E2C90D9845}"/>
              </a:ext>
            </a:extLst>
          </p:cNvPr>
          <p:cNvSpPr>
            <a:spLocks noGrp="1"/>
          </p:cNvSpPr>
          <p:nvPr>
            <p:ph type="body" sz="quarter" idx="13" hasCustomPrompt="1"/>
          </p:nvPr>
        </p:nvSpPr>
        <p:spPr>
          <a:xfrm>
            <a:off x="8469641" y="1676401"/>
            <a:ext cx="2934038" cy="3248024"/>
          </a:xfrm>
        </p:spPr>
        <p:txBody>
          <a:bodyPr anchor="ctr" anchorCtr="0"/>
          <a:lstStyle>
            <a:lvl1pPr marL="0" indent="0" algn="ctr" defTabSz="914400" rtl="0" eaLnBrk="1" latinLnBrk="0" hangingPunct="1">
              <a:lnSpc>
                <a:spcPct val="90000"/>
              </a:lnSpc>
              <a:spcBef>
                <a:spcPct val="0"/>
              </a:spcBef>
              <a:buNone/>
              <a:tabLst>
                <a:tab pos="1255713" algn="l"/>
              </a:tabLst>
              <a:defRPr lang="nl-NL" sz="3200" b="1" kern="1200" dirty="0" smtClean="0">
                <a:solidFill>
                  <a:schemeClr val="tx2"/>
                </a:solidFill>
                <a:latin typeface="+mj-lt"/>
                <a:ea typeface="+mj-ea"/>
                <a:cs typeface="+mj-cs"/>
              </a:defRPr>
            </a:lvl1pPr>
            <a:lvl2pPr marL="263525" indent="0">
              <a:buNone/>
              <a:defRPr/>
            </a:lvl2pPr>
          </a:lstStyle>
          <a:p>
            <a:pPr lvl="0"/>
            <a:r>
              <a:rPr lang="nl-NL"/>
              <a:t>“Plaats hier </a:t>
            </a:r>
            <a:br>
              <a:rPr lang="nl-NL"/>
            </a:br>
            <a:r>
              <a:rPr lang="nl-NL"/>
              <a:t>  je Quote”</a:t>
            </a:r>
          </a:p>
        </p:txBody>
      </p:sp>
    </p:spTree>
    <p:extLst>
      <p:ext uri="{BB962C8B-B14F-4D97-AF65-F5344CB8AC3E}">
        <p14:creationId xmlns:p14="http://schemas.microsoft.com/office/powerpoint/2010/main" val="66224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ie zijn w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8BDE35-137D-4DD7-9512-E9C7BE691EAC}"/>
              </a:ext>
            </a:extLst>
          </p:cNvPr>
          <p:cNvGraphicFramePr>
            <a:graphicFrameLocks noChangeAspect="1"/>
          </p:cNvGraphicFramePr>
          <p:nvPr userDrawn="1">
            <p:custDataLst>
              <p:tags r:id="rId1"/>
            </p:custDataLst>
            <p:extLst>
              <p:ext uri="{D42A27DB-BD31-4B8C-83A1-F6EECF244321}">
                <p14:modId xmlns:p14="http://schemas.microsoft.com/office/powerpoint/2010/main" val="2061294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3D8BDE35-137D-4DD7-9512-E9C7BE691E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87226374-644A-486C-95ED-C984EBBAD59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000" b="1" i="0" baseline="0">
              <a:latin typeface="Arial" panose="020B0604020202020204" pitchFamily="34" charset="0"/>
              <a:ea typeface="+mj-ea"/>
              <a:cs typeface="+mj-cs"/>
              <a:sym typeface="Arial" panose="020B0604020202020204" pitchFamily="34" charset="0"/>
            </a:endParaRPr>
          </a:p>
        </p:txBody>
      </p:sp>
      <p:sp>
        <p:nvSpPr>
          <p:cNvPr id="44" name="Tijdelijke aanduiding voor afbeelding 43">
            <a:extLst>
              <a:ext uri="{FF2B5EF4-FFF2-40B4-BE49-F238E27FC236}">
                <a16:creationId xmlns:a16="http://schemas.microsoft.com/office/drawing/2014/main" id="{A2E450F6-DA31-427B-A4F3-31F75A85AA1E}"/>
              </a:ext>
            </a:extLst>
          </p:cNvPr>
          <p:cNvSpPr>
            <a:spLocks noGrp="1"/>
          </p:cNvSpPr>
          <p:nvPr>
            <p:ph type="pic" sz="quarter" idx="14" hasCustomPrompt="1"/>
          </p:nvPr>
        </p:nvSpPr>
        <p:spPr>
          <a:xfrm>
            <a:off x="6147281" y="3185214"/>
            <a:ext cx="5523165" cy="3155260"/>
          </a:xfrm>
          <a:custGeom>
            <a:avLst/>
            <a:gdLst>
              <a:gd name="connsiteX0" fmla="*/ 347052 w 5523165"/>
              <a:gd name="connsiteY0" fmla="*/ 0 h 3155260"/>
              <a:gd name="connsiteX1" fmla="*/ 416902 w 5523165"/>
              <a:gd name="connsiteY1" fmla="*/ 0 h 3155260"/>
              <a:gd name="connsiteX2" fmla="*/ 5453315 w 5523165"/>
              <a:gd name="connsiteY2" fmla="*/ 0 h 3155260"/>
              <a:gd name="connsiteX3" fmla="*/ 5523165 w 5523165"/>
              <a:gd name="connsiteY3" fmla="*/ 0 h 3155260"/>
              <a:gd name="connsiteX4" fmla="*/ 5523165 w 5523165"/>
              <a:gd name="connsiteY4" fmla="*/ 3155260 h 3155260"/>
              <a:gd name="connsiteX5" fmla="*/ 5453315 w 5523165"/>
              <a:gd name="connsiteY5" fmla="*/ 3155260 h 3155260"/>
              <a:gd name="connsiteX6" fmla="*/ 413863 w 5523165"/>
              <a:gd name="connsiteY6" fmla="*/ 3155260 h 3155260"/>
              <a:gd name="connsiteX7" fmla="*/ 344013 w 5523165"/>
              <a:gd name="connsiteY7" fmla="*/ 3155260 h 3155260"/>
              <a:gd name="connsiteX8" fmla="*/ 0 w 5523165"/>
              <a:gd name="connsiteY8" fmla="*/ 1584569 h 315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3165" h="3155260">
                <a:moveTo>
                  <a:pt x="347052" y="0"/>
                </a:moveTo>
                <a:lnTo>
                  <a:pt x="416902" y="0"/>
                </a:lnTo>
                <a:lnTo>
                  <a:pt x="5453315" y="0"/>
                </a:lnTo>
                <a:lnTo>
                  <a:pt x="5523165" y="0"/>
                </a:lnTo>
                <a:lnTo>
                  <a:pt x="5523165" y="3155260"/>
                </a:lnTo>
                <a:lnTo>
                  <a:pt x="5453315" y="3155260"/>
                </a:lnTo>
                <a:lnTo>
                  <a:pt x="413863" y="3155260"/>
                </a:lnTo>
                <a:lnTo>
                  <a:pt x="344013" y="3155260"/>
                </a:lnTo>
                <a:lnTo>
                  <a:pt x="0" y="1584569"/>
                </a:lnTo>
                <a:close/>
              </a:path>
            </a:pathLst>
          </a:custGeom>
          <a:solidFill>
            <a:schemeClr val="bg1">
              <a:lumMod val="95000"/>
            </a:schemeClr>
          </a:solidFill>
        </p:spPr>
        <p:txBody>
          <a:bodyPr wrap="square" bIns="1620000" anchor="ctr">
            <a:noAutofit/>
          </a:bodyP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p:txBody>
      </p:sp>
      <p:sp>
        <p:nvSpPr>
          <p:cNvPr id="43" name="Vrije vorm: vorm 42">
            <a:extLst>
              <a:ext uri="{FF2B5EF4-FFF2-40B4-BE49-F238E27FC236}">
                <a16:creationId xmlns:a16="http://schemas.microsoft.com/office/drawing/2014/main" id="{C0FF3B34-8595-452C-B6A8-703A9F656888}"/>
              </a:ext>
            </a:extLst>
          </p:cNvPr>
          <p:cNvSpPr/>
          <p:nvPr userDrawn="1"/>
        </p:nvSpPr>
        <p:spPr>
          <a:xfrm>
            <a:off x="515940" y="3180337"/>
            <a:ext cx="5528938" cy="3178892"/>
          </a:xfrm>
          <a:custGeom>
            <a:avLst/>
            <a:gdLst>
              <a:gd name="connsiteX0" fmla="*/ 0 w 5528938"/>
              <a:gd name="connsiteY0" fmla="*/ 0 h 3178892"/>
              <a:gd name="connsiteX1" fmla="*/ 75623 w 5528938"/>
              <a:gd name="connsiteY1" fmla="*/ 0 h 3178892"/>
              <a:gd name="connsiteX2" fmla="*/ 5105195 w 5528938"/>
              <a:gd name="connsiteY2" fmla="*/ 0 h 3178892"/>
              <a:gd name="connsiteX3" fmla="*/ 5180818 w 5528938"/>
              <a:gd name="connsiteY3" fmla="*/ 0 h 3178892"/>
              <a:gd name="connsiteX4" fmla="*/ 5528938 w 5528938"/>
              <a:gd name="connsiteY4" fmla="*/ 1589446 h 3178892"/>
              <a:gd name="connsiteX5" fmla="*/ 5180818 w 5528938"/>
              <a:gd name="connsiteY5" fmla="*/ 3178892 h 3178892"/>
              <a:gd name="connsiteX6" fmla="*/ 5105195 w 5528938"/>
              <a:gd name="connsiteY6" fmla="*/ 3178892 h 3178892"/>
              <a:gd name="connsiteX7" fmla="*/ 75623 w 5528938"/>
              <a:gd name="connsiteY7" fmla="*/ 3178892 h 3178892"/>
              <a:gd name="connsiteX8" fmla="*/ 0 w 5528938"/>
              <a:gd name="connsiteY8" fmla="*/ 3178892 h 317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8938" h="3178892">
                <a:moveTo>
                  <a:pt x="0" y="0"/>
                </a:moveTo>
                <a:lnTo>
                  <a:pt x="75623" y="0"/>
                </a:lnTo>
                <a:lnTo>
                  <a:pt x="5105195" y="0"/>
                </a:lnTo>
                <a:lnTo>
                  <a:pt x="5180818" y="0"/>
                </a:lnTo>
                <a:lnTo>
                  <a:pt x="5528938" y="1589446"/>
                </a:lnTo>
                <a:lnTo>
                  <a:pt x="5180818" y="3178892"/>
                </a:lnTo>
                <a:lnTo>
                  <a:pt x="5105195" y="3178892"/>
                </a:lnTo>
                <a:lnTo>
                  <a:pt x="75623" y="3178892"/>
                </a:lnTo>
                <a:lnTo>
                  <a:pt x="0" y="3178892"/>
                </a:lnTo>
                <a:close/>
              </a:path>
            </a:pathLst>
          </a:custGeom>
          <a:solidFill>
            <a:srgbClr val="DCEBF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D689F918-99E7-4461-B27B-8AD559BD99D5}"/>
              </a:ext>
            </a:extLst>
          </p:cNvPr>
          <p:cNvSpPr>
            <a:spLocks noGrp="1"/>
          </p:cNvSpPr>
          <p:nvPr>
            <p:ph type="title" hasCustomPrompt="1"/>
          </p:nvPr>
        </p:nvSpPr>
        <p:spPr>
          <a:xfrm>
            <a:off x="515941" y="533897"/>
            <a:ext cx="11155352" cy="488950"/>
          </a:xfrm>
        </p:spPr>
        <p:txBody>
          <a:bodyPr/>
          <a:lstStyle>
            <a:lvl1pPr>
              <a:defRPr/>
            </a:lvl1pPr>
          </a:lstStyle>
          <a:p>
            <a:r>
              <a:rPr lang="nl-NL"/>
              <a:t>Plaats hier je titel</a:t>
            </a:r>
          </a:p>
        </p:txBody>
      </p:sp>
      <p:sp>
        <p:nvSpPr>
          <p:cNvPr id="3" name="Tijdelijke aanduiding voor voettekst 2">
            <a:extLst>
              <a:ext uri="{FF2B5EF4-FFF2-40B4-BE49-F238E27FC236}">
                <a16:creationId xmlns:a16="http://schemas.microsoft.com/office/drawing/2014/main" id="{37E27D27-317C-49FB-A1E1-D30D2417F626}"/>
              </a:ext>
            </a:extLst>
          </p:cNvPr>
          <p:cNvSpPr>
            <a:spLocks noGrp="1"/>
          </p:cNvSpPr>
          <p:nvPr>
            <p:ph type="ftr" sz="quarter" idx="10"/>
          </p:nvPr>
        </p:nvSpPr>
        <p:spPr/>
        <p:txBody>
          <a:bodyPr/>
          <a:lstStyle/>
          <a:p>
            <a:r>
              <a:rPr lang="nl-NL"/>
              <a:t>Zilveren Kruis | Interne verhaallijn Inkoopbeleid MSZ 2023</a:t>
            </a:r>
          </a:p>
        </p:txBody>
      </p:sp>
      <p:sp>
        <p:nvSpPr>
          <p:cNvPr id="4" name="Tijdelijke aanduiding voor dianummer 3">
            <a:extLst>
              <a:ext uri="{FF2B5EF4-FFF2-40B4-BE49-F238E27FC236}">
                <a16:creationId xmlns:a16="http://schemas.microsoft.com/office/drawing/2014/main" id="{62F4A894-4658-40FC-A153-D32A2CE4F75B}"/>
              </a:ext>
            </a:extLst>
          </p:cNvPr>
          <p:cNvSpPr>
            <a:spLocks noGrp="1"/>
          </p:cNvSpPr>
          <p:nvPr>
            <p:ph type="sldNum" sz="quarter" idx="11"/>
          </p:nvPr>
        </p:nvSpPr>
        <p:spPr/>
        <p:txBody>
          <a:bodyPr/>
          <a:lstStyle/>
          <a:p>
            <a:fld id="{B502C9A5-716F-45E6-800B-D4D02CE26F90}" type="slidenum">
              <a:rPr lang="nl-NL" smtClean="0"/>
              <a:pPr/>
              <a:t>‹nr.›</a:t>
            </a:fld>
            <a:endParaRPr lang="nl-NL"/>
          </a:p>
        </p:txBody>
      </p:sp>
      <p:sp>
        <p:nvSpPr>
          <p:cNvPr id="16" name="Tijdelijke aanduiding voor tekst 15">
            <a:extLst>
              <a:ext uri="{FF2B5EF4-FFF2-40B4-BE49-F238E27FC236}">
                <a16:creationId xmlns:a16="http://schemas.microsoft.com/office/drawing/2014/main" id="{39FC6612-D33B-4F90-A8FA-0C32CB9BD5BA}"/>
              </a:ext>
            </a:extLst>
          </p:cNvPr>
          <p:cNvSpPr>
            <a:spLocks noGrp="1"/>
          </p:cNvSpPr>
          <p:nvPr userDrawn="1">
            <p:ph type="body" sz="quarter" idx="12" hasCustomPrompt="1"/>
          </p:nvPr>
        </p:nvSpPr>
        <p:spPr>
          <a:xfrm>
            <a:off x="515937" y="1252873"/>
            <a:ext cx="11154509" cy="1699877"/>
          </a:xfrm>
        </p:spPr>
        <p:txBody>
          <a:bodyPr/>
          <a:lstStyle>
            <a:lvl1pPr marL="0" marR="0" indent="0" algn="l" defTabSz="719138" rtl="0" eaLnBrk="1" fontAlgn="auto" latinLnBrk="0" hangingPunct="1">
              <a:lnSpc>
                <a:spcPct val="110000"/>
              </a:lnSpc>
              <a:spcBef>
                <a:spcPts val="0"/>
              </a:spcBef>
              <a:spcAft>
                <a:spcPts val="1100"/>
              </a:spcAft>
              <a:buClrTx/>
              <a:buSzPct val="100000"/>
              <a:buFont typeface="Segoe UI Light" panose="020B0502040204020203" pitchFamily="34" charset="0"/>
              <a:buNone/>
              <a:tabLst/>
              <a:defRPr sz="1600">
                <a:solidFill>
                  <a:schemeClr val="tx2"/>
                </a:solidFill>
              </a:defRPr>
            </a:lvl1pPr>
            <a:lvl2pPr marL="263525" indent="0">
              <a:buNone/>
              <a:defRPr sz="1600"/>
            </a:lvl2pPr>
          </a:lstStyle>
          <a:p>
            <a:pPr marL="0" marR="0" lvl="0" indent="0" algn="l" defTabSz="719138" rtl="0" eaLnBrk="1" fontAlgn="auto" latinLnBrk="0" hangingPunct="1">
              <a:lnSpc>
                <a:spcPct val="80000"/>
              </a:lnSpc>
              <a:spcBef>
                <a:spcPts val="0"/>
              </a:spcBef>
              <a:spcAft>
                <a:spcPts val="1100"/>
              </a:spcAft>
              <a:buClrTx/>
              <a:buSzPct val="100000"/>
              <a:buFont typeface="Segoe UI Light" panose="020B0502040204020203" pitchFamily="34" charset="0"/>
              <a:buNone/>
              <a:tabLst/>
              <a:defRPr/>
            </a:pPr>
            <a:r>
              <a:rPr lang="nl-NL" sz="1600" b="1">
                <a:solidFill>
                  <a:schemeClr val="accent1"/>
                </a:solidFill>
              </a:rPr>
              <a:t>Plaats hier je subtitel</a:t>
            </a:r>
          </a:p>
          <a:p>
            <a:pPr lvl="0"/>
            <a:r>
              <a:rPr lang="nl-NL"/>
              <a:t>Klikken om de tekststijl van het model te bewerken</a:t>
            </a:r>
          </a:p>
        </p:txBody>
      </p:sp>
      <p:sp>
        <p:nvSpPr>
          <p:cNvPr id="26" name="Tijdelijke aanduiding voor tekst 25">
            <a:extLst>
              <a:ext uri="{FF2B5EF4-FFF2-40B4-BE49-F238E27FC236}">
                <a16:creationId xmlns:a16="http://schemas.microsoft.com/office/drawing/2014/main" id="{05EC46D7-8B9B-4C27-B76F-92ED44234D23}"/>
              </a:ext>
            </a:extLst>
          </p:cNvPr>
          <p:cNvSpPr>
            <a:spLocks noGrp="1"/>
          </p:cNvSpPr>
          <p:nvPr>
            <p:ph type="body" sz="quarter" idx="15" hasCustomPrompt="1"/>
          </p:nvPr>
        </p:nvSpPr>
        <p:spPr>
          <a:xfrm>
            <a:off x="850900" y="4011458"/>
            <a:ext cx="4478338" cy="1502772"/>
          </a:xfrm>
        </p:spPr>
        <p:txBody>
          <a:bodyPr anchor="t" anchorCtr="0"/>
          <a:lstStyle>
            <a:lvl1pPr marL="182563" indent="-182563" algn="l">
              <a:lnSpc>
                <a:spcPct val="90000"/>
              </a:lnSpc>
              <a:buNone/>
              <a:defRPr sz="3000" b="1"/>
            </a:lvl1pPr>
          </a:lstStyle>
          <a:p>
            <a:pPr lvl="0"/>
            <a:r>
              <a:rPr lang="nl-NL"/>
              <a:t>“Plaats hier je quote”</a:t>
            </a:r>
          </a:p>
        </p:txBody>
      </p:sp>
    </p:spTree>
    <p:extLst>
      <p:ext uri="{BB962C8B-B14F-4D97-AF65-F5344CB8AC3E}">
        <p14:creationId xmlns:p14="http://schemas.microsoft.com/office/powerpoint/2010/main" val="3281509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oofdstukslide + f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86DAB3-E374-47FA-9093-0954EC6D989E}"/>
              </a:ext>
            </a:extLst>
          </p:cNvPr>
          <p:cNvGraphicFramePr>
            <a:graphicFrameLocks noChangeAspect="1"/>
          </p:cNvGraphicFramePr>
          <p:nvPr userDrawn="1">
            <p:custDataLst>
              <p:tags r:id="rId1"/>
            </p:custDataLst>
            <p:extLst>
              <p:ext uri="{D42A27DB-BD31-4B8C-83A1-F6EECF244321}">
                <p14:modId xmlns:p14="http://schemas.microsoft.com/office/powerpoint/2010/main" val="3228759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6886DAB3-E374-47FA-9093-0954EC6D98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3B3089BA-E7E6-476B-B347-833544B3D97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4000" b="1" i="0" baseline="0">
              <a:latin typeface="Arial" panose="020B0604020202020204" pitchFamily="34" charset="0"/>
              <a:ea typeface="+mj-ea"/>
              <a:cs typeface="+mj-cs"/>
              <a:sym typeface="Arial" panose="020B0604020202020204" pitchFamily="34" charset="0"/>
            </a:endParaRPr>
          </a:p>
        </p:txBody>
      </p:sp>
      <p:sp>
        <p:nvSpPr>
          <p:cNvPr id="93" name="Vrije vorm: vorm 92">
            <a:extLst>
              <a:ext uri="{FF2B5EF4-FFF2-40B4-BE49-F238E27FC236}">
                <a16:creationId xmlns:a16="http://schemas.microsoft.com/office/drawing/2014/main" id="{2283EC93-D09F-472C-A911-EE2C2FD388B5}"/>
              </a:ext>
            </a:extLst>
          </p:cNvPr>
          <p:cNvSpPr/>
          <p:nvPr userDrawn="1"/>
        </p:nvSpPr>
        <p:spPr>
          <a:xfrm>
            <a:off x="0" y="0"/>
            <a:ext cx="12192000" cy="6858000"/>
          </a:xfrm>
          <a:custGeom>
            <a:avLst/>
            <a:gdLst>
              <a:gd name="connsiteX0" fmla="*/ 215690 w 12192000"/>
              <a:gd name="connsiteY0" fmla="*/ 218351 h 6858000"/>
              <a:gd name="connsiteX1" fmla="*/ 215690 w 12192000"/>
              <a:gd name="connsiteY1" fmla="*/ 6639649 h 6858000"/>
              <a:gd name="connsiteX2" fmla="*/ 11976310 w 12192000"/>
              <a:gd name="connsiteY2" fmla="*/ 6639649 h 6858000"/>
              <a:gd name="connsiteX3" fmla="*/ 11976310 w 12192000"/>
              <a:gd name="connsiteY3" fmla="*/ 218351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15690" y="218351"/>
                </a:moveTo>
                <a:lnTo>
                  <a:pt x="215690" y="6639649"/>
                </a:lnTo>
                <a:lnTo>
                  <a:pt x="11976310" y="6639649"/>
                </a:lnTo>
                <a:lnTo>
                  <a:pt x="11976310" y="218351"/>
                </a:ln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Tijdelijke aanduiding voor afbeelding 8">
            <a:extLst>
              <a:ext uri="{FF2B5EF4-FFF2-40B4-BE49-F238E27FC236}">
                <a16:creationId xmlns:a16="http://schemas.microsoft.com/office/drawing/2014/main" id="{27489788-7523-4049-B6A4-83AEF6154017}"/>
              </a:ext>
            </a:extLst>
          </p:cNvPr>
          <p:cNvSpPr>
            <a:spLocks noGrp="1"/>
          </p:cNvSpPr>
          <p:nvPr>
            <p:ph type="pic" sz="quarter" idx="14" hasCustomPrompt="1"/>
          </p:nvPr>
        </p:nvSpPr>
        <p:spPr>
          <a:xfrm>
            <a:off x="214313" y="219075"/>
            <a:ext cx="11767696" cy="6419849"/>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tx1">
                    <a:lumMod val="50000"/>
                    <a:lumOff val="50000"/>
                  </a:schemeClr>
                </a:solidFill>
              </a:defRPr>
            </a:lvl1pPr>
          </a:lstStyle>
          <a:p>
            <a:r>
              <a:rPr lang="nl-NL"/>
              <a:t>Klik op het onderstaand icoon </a:t>
            </a:r>
            <a:br>
              <a:rPr lang="nl-NL"/>
            </a:br>
            <a:r>
              <a:rPr lang="nl-NL"/>
              <a:t>om een foto in te voegen.</a:t>
            </a:r>
            <a:br>
              <a:rPr lang="nl-NL"/>
            </a:br>
            <a:br>
              <a:rPr lang="nl-NL"/>
            </a:br>
            <a:r>
              <a:rPr lang="nl-NL"/>
              <a:t>Meer hulp nodig?</a:t>
            </a:r>
          </a:p>
          <a:p>
            <a:r>
              <a:rPr lang="nl-NL"/>
              <a:t>Bekijk de sectie met instructie slides </a:t>
            </a:r>
            <a:br>
              <a:rPr lang="nl-NL"/>
            </a:br>
            <a:r>
              <a:rPr lang="nl-NL"/>
              <a:t>voor verdere informatie. </a:t>
            </a:r>
          </a:p>
          <a:p>
            <a:endParaRPr lang="nl-NL"/>
          </a:p>
        </p:txBody>
      </p:sp>
      <p:sp>
        <p:nvSpPr>
          <p:cNvPr id="2" name="Titel 1"/>
          <p:cNvSpPr>
            <a:spLocks noGrp="1"/>
          </p:cNvSpPr>
          <p:nvPr>
            <p:ph type="title" hasCustomPrompt="1"/>
          </p:nvPr>
        </p:nvSpPr>
        <p:spPr>
          <a:xfrm>
            <a:off x="1513490" y="1767900"/>
            <a:ext cx="4582510" cy="2994599"/>
          </a:xfrm>
        </p:spPr>
        <p:txBody>
          <a:bodyPr anchor="t"/>
          <a:lstStyle>
            <a:lvl1pPr>
              <a:defRPr sz="4000">
                <a:solidFill>
                  <a:schemeClr val="bg1"/>
                </a:solidFill>
              </a:defRPr>
            </a:lvl1pPr>
          </a:lstStyle>
          <a:p>
            <a:r>
              <a:rPr lang="nl-NL"/>
              <a:t>Plaats hier je hoofdstuktitel,</a:t>
            </a:r>
            <a:br>
              <a:rPr lang="nl-NL"/>
            </a:br>
            <a:r>
              <a:rPr lang="nl-NL"/>
              <a:t>de tekst is altijd links uitgelijnd.</a:t>
            </a:r>
            <a:br>
              <a:rPr lang="nl-NL"/>
            </a:br>
            <a:r>
              <a:rPr lang="nl-NL"/>
              <a:t>Max. 5 regels.</a:t>
            </a:r>
          </a:p>
        </p:txBody>
      </p:sp>
      <p:sp>
        <p:nvSpPr>
          <p:cNvPr id="61" name="Tijdelijke aanduiding voor verticale tekst 2">
            <a:extLst>
              <a:ext uri="{FF2B5EF4-FFF2-40B4-BE49-F238E27FC236}">
                <a16:creationId xmlns:a16="http://schemas.microsoft.com/office/drawing/2014/main" id="{487A4E41-9132-482B-A25D-CA95E1539AEA}"/>
              </a:ext>
            </a:extLst>
          </p:cNvPr>
          <p:cNvSpPr>
            <a:spLocks noGrp="1"/>
          </p:cNvSpPr>
          <p:nvPr>
            <p:ph type="body" orient="vert" idx="1" hasCustomPrompt="1"/>
          </p:nvPr>
        </p:nvSpPr>
        <p:spPr>
          <a:xfrm>
            <a:off x="710506" y="716352"/>
            <a:ext cx="2217600" cy="702000"/>
          </a:xfrm>
          <a:blipFill>
            <a:blip r:embed="rId6" cstate="email">
              <a:extLst>
                <a:ext uri="{28A0092B-C50C-407E-A947-70E740481C1C}">
                  <a14:useLocalDpi xmlns:a14="http://schemas.microsoft.com/office/drawing/2010/main"/>
                </a:ext>
              </a:extLst>
            </a:blip>
            <a:stretch>
              <a:fillRect/>
            </a:stretch>
          </a:blipFill>
        </p:spPr>
        <p:txBody>
          <a:bodyPr vert="horz" lIns="0" tIns="0" rIns="0" bIns="0"/>
          <a:lstStyle>
            <a:lvl1pPr marL="0" indent="0">
              <a:buNone/>
              <a:defRPr/>
            </a:lvl1pPr>
            <a:lvl2pPr>
              <a:defRPr/>
            </a:lvl2pPr>
            <a:lvl3pPr>
              <a:defRPr/>
            </a:lvl3pPr>
            <a:lvl4pPr>
              <a:defRPr/>
            </a:lvl4pPr>
            <a:lvl5pPr>
              <a:defRPr/>
            </a:lvl5pPr>
            <a:lvl6pPr>
              <a:defRPr/>
            </a:lvl6pPr>
            <a:lvl7pPr>
              <a:defRPr/>
            </a:lvl7pPr>
            <a:lvl8pPr>
              <a:defRPr/>
            </a:lvl8pPr>
            <a:lvl9pPr>
              <a:defRPr/>
            </a:lvl9pPr>
          </a:lstStyle>
          <a:p>
            <a:pPr lvl="0"/>
            <a:r>
              <a:rPr lang="nl-NL"/>
              <a:t>    </a:t>
            </a:r>
          </a:p>
        </p:txBody>
      </p:sp>
    </p:spTree>
    <p:extLst>
      <p:ext uri="{BB962C8B-B14F-4D97-AF65-F5344CB8AC3E}">
        <p14:creationId xmlns:p14="http://schemas.microsoft.com/office/powerpoint/2010/main" val="162410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3" Type="http://schemas.openxmlformats.org/officeDocument/2006/relationships/slideLayout" Target="../slideLayouts/slideLayout216.xml"/><Relationship Id="rId21" Type="http://schemas.openxmlformats.org/officeDocument/2006/relationships/theme" Target="../theme/theme10.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image" Target="../media/image29.emf"/><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oleObject" Target="../embeddings/oleObject47.bin"/><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tags" Target="../tags/tag11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tags" Target="../tags/tag1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theme" Target="../theme/theme4.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8"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image" Target="../media/image29.emf"/><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oleObject" Target="../embeddings/oleObject1.bin"/><Relationship Id="rId2" Type="http://schemas.openxmlformats.org/officeDocument/2006/relationships/slideLayout" Target="../slideLayouts/slideLayout72.xml"/><Relationship Id="rId16" Type="http://schemas.openxmlformats.org/officeDocument/2006/relationships/tags" Target="../tags/tag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1.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tags" Target="../tags/tag12.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image" Target="../media/image35.emf"/><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oleObject" Target="../embeddings/oleObject7.bin"/><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tags" Target="../tags/tag13.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20" Type="http://schemas.openxmlformats.org/officeDocument/2006/relationships/slideLayout" Target="../slideLayouts/slideLayout103.xml"/><Relationship Id="rId4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tags" Target="../tags/tag8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heme" Target="../theme/theme7.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image" Target="../media/image29.emf"/><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oleObject" Target="../embeddings/oleObject47.bin"/><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tags" Target="../tags/tag8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slideLayout" Target="../slideLayouts/slideLayout181.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42" Type="http://schemas.openxmlformats.org/officeDocument/2006/relationships/slideLayout" Target="../slideLayouts/slideLayout184.xml"/><Relationship Id="rId47" Type="http://schemas.openxmlformats.org/officeDocument/2006/relationships/slideLayout" Target="../slideLayouts/slideLayout189.xml"/><Relationship Id="rId50" Type="http://schemas.openxmlformats.org/officeDocument/2006/relationships/slideLayout" Target="../slideLayouts/slideLayout192.xml"/><Relationship Id="rId55" Type="http://schemas.openxmlformats.org/officeDocument/2006/relationships/slideLayout" Target="../slideLayouts/slideLayout197.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9" Type="http://schemas.openxmlformats.org/officeDocument/2006/relationships/slideLayout" Target="../slideLayouts/slideLayout171.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40" Type="http://schemas.openxmlformats.org/officeDocument/2006/relationships/slideLayout" Target="../slideLayouts/slideLayout182.xml"/><Relationship Id="rId45" Type="http://schemas.openxmlformats.org/officeDocument/2006/relationships/slideLayout" Target="../slideLayouts/slideLayout187.xml"/><Relationship Id="rId53" Type="http://schemas.openxmlformats.org/officeDocument/2006/relationships/slideLayout" Target="../slideLayouts/slideLayout195.xml"/><Relationship Id="rId58" Type="http://schemas.openxmlformats.org/officeDocument/2006/relationships/theme" Target="../theme/theme8.xml"/><Relationship Id="rId5" Type="http://schemas.openxmlformats.org/officeDocument/2006/relationships/slideLayout" Target="../slideLayouts/slideLayout147.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 Id="rId43" Type="http://schemas.openxmlformats.org/officeDocument/2006/relationships/slideLayout" Target="../slideLayouts/slideLayout185.xml"/><Relationship Id="rId48" Type="http://schemas.openxmlformats.org/officeDocument/2006/relationships/slideLayout" Target="../slideLayouts/slideLayout190.xml"/><Relationship Id="rId56" Type="http://schemas.openxmlformats.org/officeDocument/2006/relationships/slideLayout" Target="../slideLayouts/slideLayout198.xml"/><Relationship Id="rId8" Type="http://schemas.openxmlformats.org/officeDocument/2006/relationships/slideLayout" Target="../slideLayouts/slideLayout150.xml"/><Relationship Id="rId51" Type="http://schemas.openxmlformats.org/officeDocument/2006/relationships/slideLayout" Target="../slideLayouts/slideLayout193.xml"/><Relationship Id="rId3" Type="http://schemas.openxmlformats.org/officeDocument/2006/relationships/slideLayout" Target="../slideLayouts/slideLayout145.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slideLayout" Target="../slideLayouts/slideLayout180.xml"/><Relationship Id="rId46" Type="http://schemas.openxmlformats.org/officeDocument/2006/relationships/slideLayout" Target="../slideLayouts/slideLayout188.xml"/><Relationship Id="rId20" Type="http://schemas.openxmlformats.org/officeDocument/2006/relationships/slideLayout" Target="../slideLayouts/slideLayout162.xml"/><Relationship Id="rId41" Type="http://schemas.openxmlformats.org/officeDocument/2006/relationships/slideLayout" Target="../slideLayouts/slideLayout183.xml"/><Relationship Id="rId54" Type="http://schemas.openxmlformats.org/officeDocument/2006/relationships/slideLayout" Target="../slideLayouts/slideLayout196.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49" Type="http://schemas.openxmlformats.org/officeDocument/2006/relationships/slideLayout" Target="../slideLayouts/slideLayout191.xml"/><Relationship Id="rId57" Type="http://schemas.openxmlformats.org/officeDocument/2006/relationships/slideLayout" Target="../slideLayouts/slideLayout199.xml"/><Relationship Id="rId10" Type="http://schemas.openxmlformats.org/officeDocument/2006/relationships/slideLayout" Target="../slideLayouts/slideLayout152.xml"/><Relationship Id="rId31" Type="http://schemas.openxmlformats.org/officeDocument/2006/relationships/slideLayout" Target="../slideLayouts/slideLayout173.xml"/><Relationship Id="rId44" Type="http://schemas.openxmlformats.org/officeDocument/2006/relationships/slideLayout" Target="../slideLayouts/slideLayout186.xml"/><Relationship Id="rId52" Type="http://schemas.openxmlformats.org/officeDocument/2006/relationships/slideLayout" Target="../slideLayouts/slideLayout1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oleObject" Target="../embeddings/oleObject1.bin"/><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tags" Target="../tags/tag100.xml"/><Relationship Id="rId2" Type="http://schemas.openxmlformats.org/officeDocument/2006/relationships/slideLayout" Target="../slideLayouts/slideLayout201.xml"/><Relationship Id="rId16" Type="http://schemas.openxmlformats.org/officeDocument/2006/relationships/tags" Target="../tags/tag9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theme" Target="../theme/theme9.xml"/><Relationship Id="rId10" Type="http://schemas.openxmlformats.org/officeDocument/2006/relationships/slideLayout" Target="../slideLayouts/slideLayout209.xml"/><Relationship Id="rId19" Type="http://schemas.openxmlformats.org/officeDocument/2006/relationships/image" Target="../media/image29.emf"/><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13FB9A2B-01E0-4325-AAE8-A83BD570E2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6DCE2A5F-B2FB-4A1B-B5F2-25EFA084B6F2}"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BA77AF36-ADD1-420E-A8CE-49ABDEBECDC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mn-lt"/>
              </a:defRPr>
            </a:lvl1pPr>
          </a:lstStyle>
          <a:p>
            <a:pPr>
              <a:defRPr/>
            </a:pPr>
            <a:endParaRPr lang="nl-NL"/>
          </a:p>
        </p:txBody>
      </p:sp>
      <p:sp>
        <p:nvSpPr>
          <p:cNvPr id="6" name="Tijdelijke aanduiding voor dianummer 5">
            <a:extLst>
              <a:ext uri="{FF2B5EF4-FFF2-40B4-BE49-F238E27FC236}">
                <a16:creationId xmlns:a16="http://schemas.microsoft.com/office/drawing/2014/main" id="{F35DFBC0-A54B-4B55-8296-6122E43A4A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FBBBD565-DD98-4E57-B51B-9A4BADC8C796}" type="slidenum">
              <a:rPr lang="nl-NL"/>
              <a:pPr>
                <a:defRPr/>
              </a:pPr>
              <a:t>‹nr.›</a:t>
            </a:fld>
            <a:endParaRPr lang="nl-NL"/>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21" r:id="rId10"/>
    <p:sldLayoutId id="2147483722" r:id="rId11"/>
    <p:sldLayoutId id="2147483723" r:id="rId12"/>
    <p:sldLayoutId id="2147483724" r:id="rId13"/>
    <p:sldLayoutId id="2147483725" r:id="rId14"/>
  </p:sldLayoutIdLst>
  <p:transition spd="med">
    <p:fade/>
  </p:transition>
  <p:txStyles>
    <p:titleStyle>
      <a:lvl1pPr algn="l" rtl="0" eaLnBrk="1" fontAlgn="base" hangingPunct="1">
        <a:lnSpc>
          <a:spcPct val="90000"/>
        </a:lnSpc>
        <a:spcBef>
          <a:spcPct val="0"/>
        </a:spcBef>
        <a:spcAft>
          <a:spcPct val="0"/>
        </a:spcAft>
        <a:defRPr sz="4000" b="1" kern="1200">
          <a:solidFill>
            <a:schemeClr val="tx1"/>
          </a:solidFill>
          <a:latin typeface="+mj-lt"/>
          <a:ea typeface="+mj-ea"/>
          <a:cs typeface="+mj-cs"/>
        </a:defRPr>
      </a:lvl1pPr>
      <a:lvl2pPr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2pPr>
      <a:lvl3pPr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3pPr>
      <a:lvl4pPr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4pPr>
      <a:lvl5pPr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5pPr>
      <a:lvl6pPr marL="457200"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6pPr>
      <a:lvl7pPr marL="914400"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7pPr>
      <a:lvl8pPr marL="1371600"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8pPr>
      <a:lvl9pPr marL="1828800" algn="l" rtl="0" eaLnBrk="1" fontAlgn="base" hangingPunct="1">
        <a:lnSpc>
          <a:spcPct val="90000"/>
        </a:lnSpc>
        <a:spcBef>
          <a:spcPct val="0"/>
        </a:spcBef>
        <a:spcAft>
          <a:spcPct val="0"/>
        </a:spcAft>
        <a:defRPr sz="4000" b="1">
          <a:solidFill>
            <a:schemeClr val="tx1"/>
          </a:solidFill>
          <a:latin typeface="Gill Sans MT" panose="020B0502020104020203"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2"/>
            </p:custDataLst>
            <p:extLst>
              <p:ext uri="{D42A27DB-BD31-4B8C-83A1-F6EECF244321}">
                <p14:modId xmlns:p14="http://schemas.microsoft.com/office/powerpoint/2010/main" val="396621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16" imgH="216" progId="TCLayout.ActiveDocument.1">
                  <p:embed/>
                </p:oleObj>
              </mc:Choice>
              <mc:Fallback>
                <p:oleObj name="think-cell Slide" r:id="rId24" imgW="216" imgH="216" progId="TCLayout.ActiveDocument.1">
                  <p:embed/>
                  <p:pic>
                    <p:nvPicPr>
                      <p:cNvPr id="7" name="Object 6"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hthoek 3" hidden="1"/>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l-NL" sz="3000" b="1" i="0" baseline="0">
              <a:latin typeface="Arial"/>
              <a:ea typeface="+mj-ea"/>
              <a:cs typeface="+mj-cs"/>
              <a:sym typeface="Arial"/>
            </a:endParaRPr>
          </a:p>
        </p:txBody>
      </p:sp>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a:t>Bullets </a:t>
            </a:r>
          </a:p>
          <a:p>
            <a:pPr lvl="1"/>
            <a:r>
              <a:rPr lang="nl-NL"/>
              <a:t>Sub-bullets</a:t>
            </a:r>
          </a:p>
          <a:p>
            <a:pPr lvl="2"/>
            <a:r>
              <a:rPr lang="nl-NL"/>
              <a:t>Leestekst</a:t>
            </a:r>
          </a:p>
          <a:p>
            <a:pPr lvl="3"/>
            <a:r>
              <a:rPr lang="nl-NL"/>
              <a:t>Subtitels</a:t>
            </a:r>
          </a:p>
          <a:p>
            <a:pPr lvl="4"/>
            <a:r>
              <a:rPr lang="nl-NL"/>
              <a:t>Numerieke bullets</a:t>
            </a:r>
          </a:p>
          <a:p>
            <a:pPr lvl="5"/>
            <a:r>
              <a:rPr lang="nl-NL"/>
              <a:t>Alfabet onder opsommingen</a:t>
            </a:r>
          </a:p>
          <a:p>
            <a:pPr lvl="6"/>
            <a:r>
              <a:rPr lang="nl-NL"/>
              <a:t>Sub-bullets onder opsommingen</a:t>
            </a:r>
          </a:p>
          <a:p>
            <a:pPr lvl="7"/>
            <a:r>
              <a:rPr lang="nl-NL"/>
              <a:t>Leestekst</a:t>
            </a:r>
          </a:p>
          <a:p>
            <a:pPr lvl="8"/>
            <a:r>
              <a:rPr lang="nl-NL"/>
              <a:t>Subtitels</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2"/>
                </a:solidFill>
              </a:defRPr>
            </a:lvl1pPr>
          </a:lstStyle>
          <a:p>
            <a:r>
              <a:rPr lang="nl-NL"/>
              <a:t>Zilveren Kruis | Interne verhaallijn Inkoopbeleid MSZ 2023</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2"/>
                </a:solidFill>
                <a:latin typeface="+mn-lt"/>
              </a:defRPr>
            </a:lvl1pPr>
          </a:lstStyle>
          <a:p>
            <a:fld id="{B502C9A5-716F-45E6-800B-D4D02CE26F90}" type="slidenum">
              <a:rPr lang="nl-NL" smtClean="0"/>
              <a:pPr/>
              <a:t>‹nr.›</a:t>
            </a:fld>
            <a:endParaRPr lang="nl-NL"/>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270014922"/>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110000"/>
        </a:lnSpc>
        <a:spcBef>
          <a:spcPts val="0"/>
        </a:spcBef>
        <a:spcAft>
          <a:spcPts val="1100"/>
        </a:spcAft>
        <a:buClr>
          <a:schemeClr val="tx2"/>
        </a:buClr>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AAB1F3CA-3DCA-4B5B-84F4-477A72E4F49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360988B2-769F-47AA-8C8B-CA2B7DAAC8DA}" type="datetimeFigureOut">
              <a:rPr lang="nl-NL"/>
              <a:pPr>
                <a:defRPr/>
              </a:pPr>
              <a:t>28-9-2022</a:t>
            </a:fld>
            <a:endParaRPr lang="nl-NL"/>
          </a:p>
        </p:txBody>
      </p:sp>
      <p:sp>
        <p:nvSpPr>
          <p:cNvPr id="5" name="Tijdelijke aanduiding voor voettekst 4">
            <a:extLst>
              <a:ext uri="{FF2B5EF4-FFF2-40B4-BE49-F238E27FC236}">
                <a16:creationId xmlns:a16="http://schemas.microsoft.com/office/drawing/2014/main" id="{1CF9D9E5-8E12-41C4-AF22-11260FB3C0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mn-lt"/>
              </a:defRPr>
            </a:lvl1pPr>
          </a:lstStyle>
          <a:p>
            <a:pPr>
              <a:defRPr/>
            </a:pPr>
            <a:endParaRPr lang="nl-NL"/>
          </a:p>
        </p:txBody>
      </p:sp>
      <p:sp>
        <p:nvSpPr>
          <p:cNvPr id="6" name="Tijdelijke aanduiding voor dianummer 5">
            <a:extLst>
              <a:ext uri="{FF2B5EF4-FFF2-40B4-BE49-F238E27FC236}">
                <a16:creationId xmlns:a16="http://schemas.microsoft.com/office/drawing/2014/main" id="{4089DE44-A365-4EB1-A4B2-D1804FAB8F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ECAC11B7-F600-4C7C-8589-4CFB58A38053}" type="slidenum">
              <a:rPr lang="nl-NL"/>
              <a:pPr>
                <a:defRPr/>
              </a:pPr>
              <a:t>‹nr.›</a:t>
            </a:fld>
            <a:endParaRPr lang="nl-NL"/>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Lst>
  <p:txStyles>
    <p:titleStyle>
      <a:lvl1pPr algn="l" rtl="0" fontAlgn="base">
        <a:lnSpc>
          <a:spcPct val="90000"/>
        </a:lnSpc>
        <a:spcBef>
          <a:spcPct val="0"/>
        </a:spcBef>
        <a:spcAft>
          <a:spcPct val="0"/>
        </a:spcAft>
        <a:defRPr sz="4000" b="1" kern="1200">
          <a:solidFill>
            <a:schemeClr val="tx1"/>
          </a:solidFill>
          <a:latin typeface="+mj-lt"/>
          <a:ea typeface="+mj-ea"/>
          <a:cs typeface="+mj-cs"/>
        </a:defRPr>
      </a:lvl1pPr>
      <a:lvl2pPr algn="l" rtl="0" fontAlgn="base">
        <a:lnSpc>
          <a:spcPct val="90000"/>
        </a:lnSpc>
        <a:spcBef>
          <a:spcPct val="0"/>
        </a:spcBef>
        <a:spcAft>
          <a:spcPct val="0"/>
        </a:spcAft>
        <a:defRPr sz="4000" b="1">
          <a:solidFill>
            <a:schemeClr val="tx1"/>
          </a:solidFill>
          <a:latin typeface="Gill Sans MT" panose="020B0502020104020203" pitchFamily="34" charset="0"/>
        </a:defRPr>
      </a:lvl2pPr>
      <a:lvl3pPr algn="l" rtl="0" fontAlgn="base">
        <a:lnSpc>
          <a:spcPct val="90000"/>
        </a:lnSpc>
        <a:spcBef>
          <a:spcPct val="0"/>
        </a:spcBef>
        <a:spcAft>
          <a:spcPct val="0"/>
        </a:spcAft>
        <a:defRPr sz="4000" b="1">
          <a:solidFill>
            <a:schemeClr val="tx1"/>
          </a:solidFill>
          <a:latin typeface="Gill Sans MT" panose="020B0502020104020203" pitchFamily="34" charset="0"/>
        </a:defRPr>
      </a:lvl3pPr>
      <a:lvl4pPr algn="l" rtl="0" fontAlgn="base">
        <a:lnSpc>
          <a:spcPct val="90000"/>
        </a:lnSpc>
        <a:spcBef>
          <a:spcPct val="0"/>
        </a:spcBef>
        <a:spcAft>
          <a:spcPct val="0"/>
        </a:spcAft>
        <a:defRPr sz="4000" b="1">
          <a:solidFill>
            <a:schemeClr val="tx1"/>
          </a:solidFill>
          <a:latin typeface="Gill Sans MT" panose="020B0502020104020203" pitchFamily="34" charset="0"/>
        </a:defRPr>
      </a:lvl4pPr>
      <a:lvl5pPr algn="l" rtl="0" fontAlgn="base">
        <a:lnSpc>
          <a:spcPct val="90000"/>
        </a:lnSpc>
        <a:spcBef>
          <a:spcPct val="0"/>
        </a:spcBef>
        <a:spcAft>
          <a:spcPct val="0"/>
        </a:spcAft>
        <a:defRPr sz="4000" b="1">
          <a:solidFill>
            <a:schemeClr val="tx1"/>
          </a:solidFill>
          <a:latin typeface="Gill Sans MT" panose="020B0502020104020203" pitchFamily="34" charset="0"/>
        </a:defRPr>
      </a:lvl5pPr>
      <a:lvl6pPr marL="457200" algn="l" rtl="0" fontAlgn="base">
        <a:lnSpc>
          <a:spcPct val="90000"/>
        </a:lnSpc>
        <a:spcBef>
          <a:spcPct val="0"/>
        </a:spcBef>
        <a:spcAft>
          <a:spcPct val="0"/>
        </a:spcAft>
        <a:defRPr sz="4000" b="1">
          <a:solidFill>
            <a:schemeClr val="tx1"/>
          </a:solidFill>
          <a:latin typeface="Gill Sans MT" panose="020B0502020104020203" pitchFamily="34" charset="0"/>
        </a:defRPr>
      </a:lvl6pPr>
      <a:lvl7pPr marL="914400" algn="l" rtl="0" fontAlgn="base">
        <a:lnSpc>
          <a:spcPct val="90000"/>
        </a:lnSpc>
        <a:spcBef>
          <a:spcPct val="0"/>
        </a:spcBef>
        <a:spcAft>
          <a:spcPct val="0"/>
        </a:spcAft>
        <a:defRPr sz="4000" b="1">
          <a:solidFill>
            <a:schemeClr val="tx1"/>
          </a:solidFill>
          <a:latin typeface="Gill Sans MT" panose="020B0502020104020203" pitchFamily="34" charset="0"/>
        </a:defRPr>
      </a:lvl7pPr>
      <a:lvl8pPr marL="1371600" algn="l" rtl="0" fontAlgn="base">
        <a:lnSpc>
          <a:spcPct val="90000"/>
        </a:lnSpc>
        <a:spcBef>
          <a:spcPct val="0"/>
        </a:spcBef>
        <a:spcAft>
          <a:spcPct val="0"/>
        </a:spcAft>
        <a:defRPr sz="4000" b="1">
          <a:solidFill>
            <a:schemeClr val="tx1"/>
          </a:solidFill>
          <a:latin typeface="Gill Sans MT" panose="020B0502020104020203" pitchFamily="34" charset="0"/>
        </a:defRPr>
      </a:lvl8pPr>
      <a:lvl9pPr marL="1828800" algn="l" rtl="0" fontAlgn="base">
        <a:lnSpc>
          <a:spcPct val="90000"/>
        </a:lnSpc>
        <a:spcBef>
          <a:spcPct val="0"/>
        </a:spcBef>
        <a:spcAft>
          <a:spcPct val="0"/>
        </a:spcAft>
        <a:defRPr sz="4000" b="1">
          <a:solidFill>
            <a:schemeClr val="tx1"/>
          </a:solidFill>
          <a:latin typeface="Gill Sans MT" panose="020B0502020104020203"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4377505C-0367-4237-8CA1-898C8D4381F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E9D5BAA2-21F3-4795-A2DC-FE66E2B808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937D58CA-EC4D-4F91-876B-B2E5A24111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24E182-2611-4BFE-A217-B5174E74E8E0}" type="datetimeFigureOut">
              <a:rPr lang="nl-NL" smtClean="0"/>
              <a:t>28-9-2022</a:t>
            </a:fld>
            <a:endParaRPr lang="nl-NL"/>
          </a:p>
        </p:txBody>
      </p:sp>
      <p:sp>
        <p:nvSpPr>
          <p:cNvPr id="5" name="Tijdelijke aanduiding voor voettekst 4">
            <a:extLst>
              <a:ext uri="{FF2B5EF4-FFF2-40B4-BE49-F238E27FC236}">
                <a16:creationId xmlns:a16="http://schemas.microsoft.com/office/drawing/2014/main" id="{C523B1CC-038B-40DB-9F33-8053CD8EAF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708EFBB2-2261-4254-8872-701EEEBFE2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7816D2-3E9D-454F-B6EA-51FA2EB713CD}" type="slidenum">
              <a:rPr lang="nl-NL" smtClean="0"/>
              <a:t>‹nr.›</a:t>
            </a:fld>
            <a:endParaRPr lang="nl-NL"/>
          </a:p>
        </p:txBody>
      </p:sp>
    </p:spTree>
    <p:extLst>
      <p:ext uri="{BB962C8B-B14F-4D97-AF65-F5344CB8AC3E}">
        <p14:creationId xmlns:p14="http://schemas.microsoft.com/office/powerpoint/2010/main" val="2230357620"/>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dirty="0"/>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dirty="0" err="1"/>
              <a:t>Bullet</a:t>
            </a:r>
            <a:r>
              <a:rPr lang="nl-NL" dirty="0"/>
              <a:t> </a:t>
            </a:r>
          </a:p>
          <a:p>
            <a:pPr lvl="1"/>
            <a:r>
              <a:rPr lang="nl-NL" dirty="0"/>
              <a:t>Sub-</a:t>
            </a:r>
            <a:r>
              <a:rPr lang="nl-NL" dirty="0" err="1"/>
              <a:t>bullet</a:t>
            </a:r>
            <a:endParaRPr lang="nl-NL" dirty="0"/>
          </a:p>
          <a:p>
            <a:pPr lvl="2"/>
            <a:r>
              <a:rPr lang="nl-NL" dirty="0"/>
              <a:t>Leestekst</a:t>
            </a:r>
          </a:p>
          <a:p>
            <a:pPr lvl="3"/>
            <a:r>
              <a:rPr lang="nl-NL" dirty="0"/>
              <a:t>Subtitel</a:t>
            </a:r>
          </a:p>
          <a:p>
            <a:pPr lvl="4"/>
            <a:r>
              <a:rPr lang="nl-NL" dirty="0"/>
              <a:t>Numerieke bullets</a:t>
            </a:r>
          </a:p>
          <a:p>
            <a:pPr lvl="5"/>
            <a:r>
              <a:rPr lang="nl-NL" dirty="0"/>
              <a:t>Alfabet onder opsomming</a:t>
            </a:r>
          </a:p>
          <a:p>
            <a:pPr lvl="6"/>
            <a:r>
              <a:rPr lang="nl-NL" dirty="0"/>
              <a:t>Sub-</a:t>
            </a:r>
            <a:r>
              <a:rPr lang="nl-NL" dirty="0" err="1"/>
              <a:t>bullet</a:t>
            </a:r>
            <a:r>
              <a:rPr lang="nl-NL" dirty="0"/>
              <a:t> onder opsomming</a:t>
            </a:r>
          </a:p>
          <a:p>
            <a:pPr lvl="7"/>
            <a:r>
              <a:rPr lang="nl-NL" dirty="0"/>
              <a:t>Leestekst</a:t>
            </a:r>
          </a:p>
          <a:p>
            <a:pPr lvl="8"/>
            <a:r>
              <a:rPr lang="nl-NL" dirty="0"/>
              <a:t>Subtitel</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1">
                    <a:lumMod val="50000"/>
                  </a:schemeClr>
                </a:solidFill>
              </a:defRPr>
            </a:lvl1pPr>
          </a:lstStyle>
          <a:p>
            <a:r>
              <a:rPr lang="nl-NL" dirty="0"/>
              <a:t>Zilveren Kruis | Naam presentatie</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1">
                    <a:lumMod val="50000"/>
                  </a:schemeClr>
                </a:solidFill>
                <a:latin typeface="+mn-lt"/>
              </a:defRPr>
            </a:lvl1pPr>
          </a:lstStyle>
          <a:p>
            <a:fld id="{B502C9A5-716F-45E6-800B-D4D02CE26F90}" type="slidenum">
              <a:rPr lang="nl-NL" smtClean="0"/>
              <a:pPr/>
              <a:t>‹nr.›</a:t>
            </a:fld>
            <a:endParaRPr lang="nl-NL" dirty="0"/>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6275524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80000"/>
        </a:lnSpc>
        <a:spcBef>
          <a:spcPts val="0"/>
        </a:spcBef>
        <a:spcAft>
          <a:spcPts val="1100"/>
        </a:spcAft>
        <a:buClrTx/>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80000"/>
        </a:lnSpc>
        <a:spcBef>
          <a:spcPts val="0"/>
        </a:spcBef>
        <a:spcAft>
          <a:spcPts val="1100"/>
        </a:spcAft>
        <a:buClr>
          <a:schemeClr val="accent1"/>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8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accent1"/>
          </a:solidFill>
          <a:latin typeface="+mj-lt"/>
          <a:ea typeface="+mn-ea"/>
          <a:cs typeface="Calibri" panose="020F0502020204030204" pitchFamily="34" charset="0"/>
        </a:defRPr>
      </a:lvl4pPr>
      <a:lvl5pPr marL="263525" indent="-263525" algn="l" defTabSz="719138" rtl="0" eaLnBrk="1" latinLnBrk="0" hangingPunct="1">
        <a:lnSpc>
          <a:spcPct val="8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80000"/>
        </a:lnSpc>
        <a:spcBef>
          <a:spcPts val="0"/>
        </a:spcBef>
        <a:spcAft>
          <a:spcPts val="1100"/>
        </a:spcAft>
        <a:buClr>
          <a:schemeClr val="accent1"/>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80000"/>
        </a:lnSpc>
        <a:spcBef>
          <a:spcPts val="0"/>
        </a:spcBef>
        <a:spcAft>
          <a:spcPts val="1100"/>
        </a:spcAft>
        <a:buClr>
          <a:schemeClr val="accent1"/>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8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accent1"/>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48591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16" imgH="216" progId="TCLayout.ActiveDocument.1">
                  <p:embed/>
                </p:oleObj>
              </mc:Choice>
              <mc:Fallback>
                <p:oleObj name="think-cell Slide" r:id="rId17" imgW="216" imgH="216"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hthoek 3"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l-NL" sz="3000" b="1" i="0" baseline="0">
              <a:latin typeface="Arial"/>
              <a:ea typeface="+mj-ea"/>
              <a:cs typeface="+mj-cs"/>
              <a:sym typeface="Arial"/>
            </a:endParaRPr>
          </a:p>
        </p:txBody>
      </p:sp>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a:t>Bullets </a:t>
            </a:r>
          </a:p>
          <a:p>
            <a:pPr lvl="1"/>
            <a:r>
              <a:rPr lang="nl-NL"/>
              <a:t>Sub-bullets</a:t>
            </a:r>
          </a:p>
          <a:p>
            <a:pPr lvl="2"/>
            <a:r>
              <a:rPr lang="nl-NL"/>
              <a:t>Leestekst</a:t>
            </a:r>
          </a:p>
          <a:p>
            <a:pPr lvl="3"/>
            <a:r>
              <a:rPr lang="nl-NL"/>
              <a:t>Subtitels</a:t>
            </a:r>
          </a:p>
          <a:p>
            <a:pPr lvl="4"/>
            <a:r>
              <a:rPr lang="nl-NL"/>
              <a:t>Numerieke bullets</a:t>
            </a:r>
          </a:p>
          <a:p>
            <a:pPr lvl="5"/>
            <a:r>
              <a:rPr lang="nl-NL"/>
              <a:t>Alfabet onder opsommingen</a:t>
            </a:r>
          </a:p>
          <a:p>
            <a:pPr lvl="6"/>
            <a:r>
              <a:rPr lang="nl-NL"/>
              <a:t>Sub-bullets onder opsommingen</a:t>
            </a:r>
          </a:p>
          <a:p>
            <a:pPr lvl="7"/>
            <a:r>
              <a:rPr lang="nl-NL"/>
              <a:t>Leestekst</a:t>
            </a:r>
          </a:p>
          <a:p>
            <a:pPr lvl="8"/>
            <a:r>
              <a:rPr lang="nl-NL"/>
              <a:t>Subtitels</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2"/>
                </a:solidFill>
              </a:defRPr>
            </a:lvl1pPr>
          </a:lstStyle>
          <a:p>
            <a:r>
              <a:rPr lang="nl-NL"/>
              <a:t>Zilveren Kruis | Interne verhaallijn Inkoopbeleid MSZ 2023</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2"/>
                </a:solidFill>
                <a:latin typeface="+mn-lt"/>
              </a:defRPr>
            </a:lvl1pPr>
          </a:lstStyle>
          <a:p>
            <a:fld id="{B502C9A5-716F-45E6-800B-D4D02CE26F90}" type="slidenum">
              <a:rPr lang="nl-NL" smtClean="0"/>
              <a:pPr/>
              <a:t>‹nr.›</a:t>
            </a:fld>
            <a:endParaRPr lang="nl-NL"/>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80813755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110000"/>
        </a:lnSpc>
        <a:spcBef>
          <a:spcPts val="0"/>
        </a:spcBef>
        <a:spcAft>
          <a:spcPts val="1100"/>
        </a:spcAft>
        <a:buClr>
          <a:schemeClr val="tx2"/>
        </a:buClr>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258CDD-DA58-460E-9248-52E17D2C55BC}"/>
              </a:ext>
            </a:extLst>
          </p:cNvPr>
          <p:cNvGraphicFramePr>
            <a:graphicFrameLocks noChangeAspect="1"/>
          </p:cNvGraphicFramePr>
          <p:nvPr userDrawn="1">
            <p:custDataLst>
              <p:tags r:id="rId42"/>
            </p:custDataLst>
            <p:extLst>
              <p:ext uri="{D42A27DB-BD31-4B8C-83A1-F6EECF244321}">
                <p14:modId xmlns:p14="http://schemas.microsoft.com/office/powerpoint/2010/main" val="547877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30" imgH="531" progId="TCLayout.ActiveDocument.1">
                  <p:embed/>
                </p:oleObj>
              </mc:Choice>
              <mc:Fallback>
                <p:oleObj name="think-cell Slide" r:id="rId44" imgW="530" imgH="531" progId="TCLayout.ActiveDocument.1">
                  <p:embed/>
                  <p:pic>
                    <p:nvPicPr>
                      <p:cNvPr id="7" name="Object 6" hidden="1">
                        <a:extLst>
                          <a:ext uri="{FF2B5EF4-FFF2-40B4-BE49-F238E27FC236}">
                            <a16:creationId xmlns:a16="http://schemas.microsoft.com/office/drawing/2014/main" id="{FF258CDD-DA58-460E-9248-52E17D2C55BC}"/>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4" name="Rechthoek 3" hidden="1">
            <a:extLst>
              <a:ext uri="{FF2B5EF4-FFF2-40B4-BE49-F238E27FC236}">
                <a16:creationId xmlns:a16="http://schemas.microsoft.com/office/drawing/2014/main" id="{BF23C7E8-5B9A-47AF-86F2-DE01A22F7A63}"/>
              </a:ext>
            </a:extLst>
          </p:cNvPr>
          <p:cNvSpPr/>
          <p:nvPr userDrawn="1">
            <p:custDataLst>
              <p:tags r:id="rId4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nl-NL" sz="3000" b="1" i="0" u="none" cap="none" baseline="0">
              <a:latin typeface="Arial" panose="020B0604020202020204" pitchFamily="34" charset="0"/>
              <a:ea typeface="+mj-ea"/>
              <a:cs typeface="+mj-cs"/>
              <a:sym typeface="Arial" panose="020B0604020202020204" pitchFamily="34" charset="0"/>
            </a:endParaRPr>
          </a:p>
        </p:txBody>
      </p:sp>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a:t>Bullet </a:t>
            </a:r>
          </a:p>
          <a:p>
            <a:pPr lvl="1"/>
            <a:r>
              <a:rPr lang="nl-NL"/>
              <a:t>Sub-</a:t>
            </a:r>
            <a:r>
              <a:rPr lang="nl-NL" err="1"/>
              <a:t>bullet</a:t>
            </a:r>
            <a:endParaRPr lang="nl-NL"/>
          </a:p>
          <a:p>
            <a:pPr lvl="2"/>
            <a:r>
              <a:rPr lang="nl-NL"/>
              <a:t>Leestekst</a:t>
            </a:r>
          </a:p>
          <a:p>
            <a:pPr lvl="3"/>
            <a:r>
              <a:rPr lang="nl-NL"/>
              <a:t>Subtitel</a:t>
            </a:r>
          </a:p>
          <a:p>
            <a:pPr lvl="4"/>
            <a:r>
              <a:rPr lang="nl-NL"/>
              <a:t>Numerieke bullets</a:t>
            </a:r>
          </a:p>
          <a:p>
            <a:pPr lvl="5"/>
            <a:r>
              <a:rPr lang="nl-NL"/>
              <a:t>Alfabet onder opsomming</a:t>
            </a:r>
          </a:p>
          <a:p>
            <a:pPr lvl="6"/>
            <a:r>
              <a:rPr lang="nl-NL"/>
              <a:t>Sub-</a:t>
            </a:r>
            <a:r>
              <a:rPr lang="nl-NL" err="1"/>
              <a:t>bullet</a:t>
            </a:r>
            <a:r>
              <a:rPr lang="nl-NL"/>
              <a:t> onder opsomming</a:t>
            </a:r>
          </a:p>
          <a:p>
            <a:pPr lvl="7"/>
            <a:r>
              <a:rPr lang="nl-NL"/>
              <a:t>Leestekst</a:t>
            </a:r>
          </a:p>
          <a:p>
            <a:pPr lvl="8"/>
            <a:r>
              <a:rPr lang="nl-NL"/>
              <a:t>Subtitel</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1">
                    <a:lumMod val="50000"/>
                  </a:schemeClr>
                </a:solidFill>
              </a:defRPr>
            </a:lvl1pPr>
          </a:lstStyle>
          <a:p>
            <a:r>
              <a:rPr lang="nl-NL"/>
              <a:t>Zilveren Kruis | Interne verhaallijn Inkoopbeleid MSZ 2023</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1">
                    <a:lumMod val="50000"/>
                  </a:schemeClr>
                </a:solidFill>
                <a:latin typeface="+mn-lt"/>
              </a:defRPr>
            </a:lvl1pPr>
          </a:lstStyle>
          <a:p>
            <a:fld id="{B502C9A5-716F-45E6-800B-D4D02CE26F90}" type="slidenum">
              <a:rPr lang="nl-NL" smtClean="0"/>
              <a:pPr/>
              <a:t>‹nr.›</a:t>
            </a:fld>
            <a:endParaRPr lang="nl-NL"/>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78546304"/>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 id="2147483829" r:id="rId39"/>
    <p:sldLayoutId id="2147483830"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110000"/>
        </a:lnSpc>
        <a:spcBef>
          <a:spcPts val="0"/>
        </a:spcBef>
        <a:spcAft>
          <a:spcPts val="1100"/>
        </a:spcAft>
        <a:buClr>
          <a:schemeClr val="tx2"/>
        </a:buClr>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96621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7" name="Object 6"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hthoek 3" hidden="1"/>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l-NL" sz="3000" b="1" i="0" baseline="0">
              <a:latin typeface="Arial"/>
              <a:ea typeface="+mj-ea"/>
              <a:cs typeface="+mj-cs"/>
              <a:sym typeface="Arial"/>
            </a:endParaRPr>
          </a:p>
        </p:txBody>
      </p:sp>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a:t>Bullets </a:t>
            </a:r>
          </a:p>
          <a:p>
            <a:pPr lvl="1"/>
            <a:r>
              <a:rPr lang="nl-NL"/>
              <a:t>Sub-bullets</a:t>
            </a:r>
          </a:p>
          <a:p>
            <a:pPr lvl="2"/>
            <a:r>
              <a:rPr lang="nl-NL"/>
              <a:t>Leestekst</a:t>
            </a:r>
          </a:p>
          <a:p>
            <a:pPr lvl="3"/>
            <a:r>
              <a:rPr lang="nl-NL"/>
              <a:t>Subtitels</a:t>
            </a:r>
          </a:p>
          <a:p>
            <a:pPr lvl="4"/>
            <a:r>
              <a:rPr lang="nl-NL"/>
              <a:t>Numerieke bullets</a:t>
            </a:r>
          </a:p>
          <a:p>
            <a:pPr lvl="5"/>
            <a:r>
              <a:rPr lang="nl-NL"/>
              <a:t>Alfabet onder opsommingen</a:t>
            </a:r>
          </a:p>
          <a:p>
            <a:pPr lvl="6"/>
            <a:r>
              <a:rPr lang="nl-NL"/>
              <a:t>Sub-bullets onder opsommingen</a:t>
            </a:r>
          </a:p>
          <a:p>
            <a:pPr lvl="7"/>
            <a:r>
              <a:rPr lang="nl-NL"/>
              <a:t>Leestekst</a:t>
            </a:r>
          </a:p>
          <a:p>
            <a:pPr lvl="8"/>
            <a:r>
              <a:rPr lang="nl-NL"/>
              <a:t>Subtitels</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2"/>
                </a:solidFill>
              </a:defRPr>
            </a:lvl1pPr>
          </a:lstStyle>
          <a:p>
            <a:r>
              <a:rPr lang="nl-NL"/>
              <a:t>Zilveren Kruis | Interne verhaallijn Inkoopbeleid MSZ 2023</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2"/>
                </a:solidFill>
                <a:latin typeface="+mn-lt"/>
              </a:defRPr>
            </a:lvl1pPr>
          </a:lstStyle>
          <a:p>
            <a:fld id="{B502C9A5-716F-45E6-800B-D4D02CE26F90}" type="slidenum">
              <a:rPr lang="nl-NL" smtClean="0"/>
              <a:pPr/>
              <a:t>‹nr.›</a:t>
            </a:fld>
            <a:endParaRPr lang="nl-NL"/>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1331664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110000"/>
        </a:lnSpc>
        <a:spcBef>
          <a:spcPts val="0"/>
        </a:spcBef>
        <a:spcAft>
          <a:spcPts val="1100"/>
        </a:spcAft>
        <a:buClr>
          <a:schemeClr val="tx2"/>
        </a:buClr>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noSelect="1"/>
          </p:cNvSpPr>
          <p:nvPr>
            <p:ph type="title"/>
          </p:nvPr>
        </p:nvSpPr>
        <p:spPr>
          <a:xfrm>
            <a:off x="1321707" y="564614"/>
            <a:ext cx="9648000" cy="1080000"/>
          </a:xfrm>
          <a:prstGeom prst="rect">
            <a:avLst/>
          </a:prstGeom>
        </p:spPr>
        <p:txBody>
          <a:bodyPr vert="horz" lIns="0" tIns="0" rIns="0" bIns="0" rtlCol="0" anchor="t">
            <a:noAutofit/>
          </a:bodyPr>
          <a:lstStyle/>
          <a:p>
            <a:r>
              <a:rPr lang="nl-NL"/>
              <a:t>[Titel]</a:t>
            </a:r>
            <a:endParaRPr lang="nl-NL" dirty="0"/>
          </a:p>
        </p:txBody>
      </p:sp>
      <p:sp>
        <p:nvSpPr>
          <p:cNvPr id="3" name="Tijdelijke aanduiding voor tekst 2 (JU-Free)"/>
          <p:cNvSpPr>
            <a:spLocks noGrp="1"/>
          </p:cNvSpPr>
          <p:nvPr>
            <p:ph type="body" idx="1"/>
          </p:nvPr>
        </p:nvSpPr>
        <p:spPr>
          <a:xfrm>
            <a:off x="1321200" y="1817418"/>
            <a:ext cx="9648000" cy="4068000"/>
          </a:xfrm>
          <a:prstGeom prst="rect">
            <a:avLst/>
          </a:prstGeom>
        </p:spPr>
        <p:txBody>
          <a:bodyPr vert="horz" lIns="0" tIns="0" rIns="0" bIns="0" rtlCol="0">
            <a:noAutofit/>
          </a:bodyPr>
          <a:lstStyle/>
          <a:p>
            <a:pPr lvl="0"/>
            <a:r>
              <a:rPr lang="nl-NL"/>
              <a:t>JU-LEVEL1=Opsomming 1e niveau  met witruimte</a:t>
            </a:r>
          </a:p>
          <a:p>
            <a:pPr lvl="1"/>
            <a:r>
              <a:rPr lang="nl-NL"/>
              <a:t>JU-LEVEL2=Opsomming 2e niveau</a:t>
            </a:r>
          </a:p>
          <a:p>
            <a:pPr lvl="2"/>
            <a:r>
              <a:rPr lang="nl-NL"/>
              <a:t>JU-LEVEL3=Inhoud lijst + witregel</a:t>
            </a:r>
          </a:p>
          <a:p>
            <a:pPr lvl="3"/>
            <a:r>
              <a:rPr lang="nl-NL"/>
              <a:t>JU-LEVEL4=Kop</a:t>
            </a:r>
          </a:p>
          <a:p>
            <a:pPr lvl="4"/>
            <a:r>
              <a:rPr lang="nl-NL"/>
              <a:t>JU-LEVEL5=Basistekst</a:t>
            </a:r>
          </a:p>
          <a:p>
            <a:pPr lvl="5"/>
            <a:r>
              <a:rPr lang="nl-NL"/>
              <a:t>JU-LEVEL6=Zwevend 1e niveau</a:t>
            </a:r>
          </a:p>
          <a:p>
            <a:pPr lvl="6"/>
            <a:r>
              <a:rPr lang="nl-NL"/>
              <a:t>JU-LEVEL7=Zwevend 2e niveau</a:t>
            </a:r>
            <a:endParaRPr lang="nl-NL" dirty="0"/>
          </a:p>
        </p:txBody>
      </p:sp>
      <p:sp>
        <p:nvSpPr>
          <p:cNvPr id="4" name="Tijdelijke aanduiding voor datum 3"/>
          <p:cNvSpPr>
            <a:spLocks noGrp="1" noSelect="1"/>
          </p:cNvSpPr>
          <p:nvPr>
            <p:ph type="dt" sz="half" idx="2"/>
          </p:nvPr>
        </p:nvSpPr>
        <p:spPr>
          <a:xfrm>
            <a:off x="9831484" y="6382477"/>
            <a:ext cx="1260000" cy="252000"/>
          </a:xfrm>
          <a:prstGeom prst="rect">
            <a:avLst/>
          </a:prstGeom>
        </p:spPr>
        <p:txBody>
          <a:bodyPr vert="horz" lIns="0" tIns="0" rIns="0" bIns="0" rtlCol="0" anchor="t">
            <a:noAutofit/>
          </a:bodyPr>
          <a:lstStyle>
            <a:lvl1pPr algn="r">
              <a:defRPr sz="800">
                <a:solidFill>
                  <a:srgbClr val="28348B"/>
                </a:solidFill>
              </a:defRPr>
            </a:lvl1pPr>
          </a:lstStyle>
          <a:p>
            <a:endParaRPr lang="nl-NL" dirty="0"/>
          </a:p>
        </p:txBody>
      </p:sp>
      <p:sp>
        <p:nvSpPr>
          <p:cNvPr id="5" name="Tijdelijke aanduiding voor voettekst 4"/>
          <p:cNvSpPr>
            <a:spLocks noGrp="1" noSelect="1"/>
          </p:cNvSpPr>
          <p:nvPr>
            <p:ph type="ftr" sz="quarter" idx="3"/>
          </p:nvPr>
        </p:nvSpPr>
        <p:spPr>
          <a:xfrm>
            <a:off x="1321200" y="6382477"/>
            <a:ext cx="6300000" cy="252000"/>
          </a:xfrm>
          <a:prstGeom prst="rect">
            <a:avLst/>
          </a:prstGeom>
        </p:spPr>
        <p:txBody>
          <a:bodyPr vert="horz" lIns="0" tIns="0" rIns="0" bIns="0" rtlCol="0" anchor="t">
            <a:noAutofit/>
          </a:bodyPr>
          <a:lstStyle>
            <a:lvl1pPr algn="l">
              <a:defRPr sz="800">
                <a:solidFill>
                  <a:srgbClr val="28348B"/>
                </a:solidFill>
              </a:defRPr>
            </a:lvl1pPr>
          </a:lstStyle>
          <a:p>
            <a:endParaRPr lang="nl-NL" dirty="0"/>
          </a:p>
        </p:txBody>
      </p:sp>
      <p:sp>
        <p:nvSpPr>
          <p:cNvPr id="6" name="Tijdelijke aanduiding voor dianummer 5"/>
          <p:cNvSpPr>
            <a:spLocks noGrp="1" noSelect="1"/>
          </p:cNvSpPr>
          <p:nvPr>
            <p:ph type="sldNum" sz="quarter" idx="4"/>
          </p:nvPr>
        </p:nvSpPr>
        <p:spPr>
          <a:xfrm>
            <a:off x="11479546" y="6382477"/>
            <a:ext cx="388800" cy="252000"/>
          </a:xfrm>
          <a:prstGeom prst="rect">
            <a:avLst/>
          </a:prstGeom>
        </p:spPr>
        <p:txBody>
          <a:bodyPr vert="horz" lIns="0" tIns="0" rIns="0" bIns="0" rtlCol="0" anchor="t">
            <a:noAutofit/>
          </a:bodyPr>
          <a:lstStyle>
            <a:lvl1pPr algn="r">
              <a:defRPr sz="800">
                <a:solidFill>
                  <a:srgbClr val="28348B"/>
                </a:solidFill>
              </a:defRPr>
            </a:lvl1pPr>
          </a:lstStyle>
          <a:p>
            <a:fld id="{8F18802B-E4C7-4B2D-B37A-6B7CC3C134EA}" type="slidenum">
              <a:rPr lang="nl-NL" smtClean="0"/>
              <a:pPr/>
              <a:t>‹nr.›</a:t>
            </a:fld>
            <a:endParaRPr lang="nl-NL" dirty="0"/>
          </a:p>
        </p:txBody>
      </p:sp>
    </p:spTree>
    <p:extLst>
      <p:ext uri="{BB962C8B-B14F-4D97-AF65-F5344CB8AC3E}">
        <p14:creationId xmlns:p14="http://schemas.microsoft.com/office/powerpoint/2010/main" val="3053227659"/>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 id="2147483877" r:id="rId25"/>
    <p:sldLayoutId id="2147483878" r:id="rId26"/>
    <p:sldLayoutId id="2147483879" r:id="rId27"/>
    <p:sldLayoutId id="2147483880" r:id="rId28"/>
    <p:sldLayoutId id="2147483881" r:id="rId29"/>
    <p:sldLayoutId id="2147483882" r:id="rId30"/>
    <p:sldLayoutId id="2147483883" r:id="rId31"/>
    <p:sldLayoutId id="2147483884" r:id="rId32"/>
    <p:sldLayoutId id="2147483885" r:id="rId33"/>
    <p:sldLayoutId id="2147483886" r:id="rId34"/>
    <p:sldLayoutId id="2147483887" r:id="rId35"/>
    <p:sldLayoutId id="2147483888" r:id="rId36"/>
    <p:sldLayoutId id="2147483889" r:id="rId37"/>
    <p:sldLayoutId id="2147483890" r:id="rId38"/>
    <p:sldLayoutId id="2147483891" r:id="rId39"/>
    <p:sldLayoutId id="2147483892" r:id="rId40"/>
    <p:sldLayoutId id="2147483893" r:id="rId41"/>
    <p:sldLayoutId id="2147483894" r:id="rId42"/>
    <p:sldLayoutId id="2147483895" r:id="rId43"/>
    <p:sldLayoutId id="2147483896" r:id="rId44"/>
    <p:sldLayoutId id="2147483897" r:id="rId45"/>
    <p:sldLayoutId id="2147483898" r:id="rId46"/>
    <p:sldLayoutId id="2147483899" r:id="rId47"/>
    <p:sldLayoutId id="2147483900" r:id="rId48"/>
    <p:sldLayoutId id="2147483901" r:id="rId49"/>
    <p:sldLayoutId id="2147483902" r:id="rId50"/>
    <p:sldLayoutId id="2147483903" r:id="rId51"/>
    <p:sldLayoutId id="2147483904" r:id="rId52"/>
    <p:sldLayoutId id="2147483905" r:id="rId53"/>
    <p:sldLayoutId id="2147483906" r:id="rId54"/>
    <p:sldLayoutId id="2147483907" r:id="rId55"/>
    <p:sldLayoutId id="2147483908" r:id="rId56"/>
    <p:sldLayoutId id="2147483909" r:id="rId57"/>
  </p:sldLayoutIdLst>
  <p:hf hdr="0" ftr="0" dt="0"/>
  <p:txStyles>
    <p:titleStyle>
      <a:lvl1pPr algn="l" defTabSz="914400" rtl="0" eaLnBrk="1" latinLnBrk="0" hangingPunct="1">
        <a:lnSpc>
          <a:spcPct val="100000"/>
        </a:lnSpc>
        <a:spcBef>
          <a:spcPct val="0"/>
        </a:spcBef>
        <a:buNone/>
        <a:defRPr sz="4400" b="1" kern="1200">
          <a:solidFill>
            <a:schemeClr val="accent1"/>
          </a:solidFill>
          <a:latin typeface="+mj-lt"/>
          <a:ea typeface="+mj-ea"/>
          <a:cs typeface="+mj-cs"/>
        </a:defRPr>
      </a:lvl1pPr>
    </p:titleStyle>
    <p:bodyStyle>
      <a:lvl1pPr marL="216000" indent="-216000" algn="l" defTabSz="914400" rtl="0" eaLnBrk="1" latinLnBrk="0" hangingPunct="1">
        <a:lnSpc>
          <a:spcPct val="117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000" indent="-180000" algn="l" defTabSz="914400" rtl="0" eaLnBrk="1" latinLnBrk="0" hangingPunct="1">
        <a:lnSpc>
          <a:spcPct val="117000"/>
        </a:lnSpc>
        <a:spcBef>
          <a:spcPts val="0"/>
        </a:spcBef>
        <a:buClr>
          <a:schemeClr val="accent1"/>
        </a:buClr>
        <a:buFont typeface="Arial" panose="020B0604020202020204" pitchFamily="34" charset="0"/>
        <a:buChar char="-"/>
        <a:defRPr sz="1800" kern="1200" baseline="0">
          <a:solidFill>
            <a:schemeClr val="tx1"/>
          </a:solidFill>
          <a:latin typeface="+mn-lt"/>
          <a:ea typeface="+mn-ea"/>
          <a:cs typeface="+mn-cs"/>
        </a:defRPr>
      </a:lvl2pPr>
      <a:lvl3pPr marL="180000" indent="-180000" algn="l" defTabSz="914400" rtl="0" eaLnBrk="1" latinLnBrk="0" hangingPunct="1">
        <a:lnSpc>
          <a:spcPct val="117000"/>
        </a:lnSpc>
        <a:spcBef>
          <a:spcPts val="2500"/>
        </a:spcBef>
        <a:buClr>
          <a:schemeClr val="accent1"/>
        </a:buClr>
        <a:buFont typeface="Arial" panose="020B0604020202020204" pitchFamily="34" charset="0"/>
        <a:buChar char="•"/>
        <a:defRPr sz="1800" kern="1200" baseline="0">
          <a:solidFill>
            <a:schemeClr val="tx1"/>
          </a:solidFill>
          <a:latin typeface="+mn-lt"/>
          <a:ea typeface="+mn-ea"/>
          <a:cs typeface="+mn-cs"/>
        </a:defRPr>
      </a:lvl3pPr>
      <a:lvl4pPr marL="0" indent="0" algn="l" defTabSz="914400" rtl="0" eaLnBrk="1" latinLnBrk="0" hangingPunct="1">
        <a:lnSpc>
          <a:spcPct val="117000"/>
        </a:lnSpc>
        <a:spcBef>
          <a:spcPts val="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5pPr>
      <a:lvl6pPr marL="18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6pPr>
      <a:lvl7pPr marL="36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7pPr>
      <a:lvl8pPr marL="54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8pPr>
      <a:lvl9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nl-NL"/>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000" kern="1200">
          <a:solidFill>
            <a:schemeClr val="tx1"/>
          </a:solidFill>
          <a:latin typeface="+mn-lt"/>
          <a:ea typeface="+mn-ea"/>
          <a:cs typeface="+mn-cs"/>
        </a:defRPr>
      </a:lvl4pPr>
      <a:lvl5pPr marL="1828800" algn="l" defTabSz="914400" rtl="0" eaLnBrk="1" latinLnBrk="0" hangingPunct="1">
        <a:defRPr sz="1000" kern="1200">
          <a:solidFill>
            <a:schemeClr val="tx1"/>
          </a:solidFill>
          <a:latin typeface="+mn-lt"/>
          <a:ea typeface="+mn-ea"/>
          <a:cs typeface="+mn-cs"/>
        </a:defRPr>
      </a:lvl5pPr>
      <a:lvl6pPr marL="2286000" algn="l" defTabSz="914400" rtl="0" eaLnBrk="1" latinLnBrk="0" hangingPunct="1">
        <a:defRPr sz="1000" kern="1200">
          <a:solidFill>
            <a:schemeClr val="tx1"/>
          </a:solidFill>
          <a:latin typeface="+mn-lt"/>
          <a:ea typeface="+mn-ea"/>
          <a:cs typeface="+mn-cs"/>
        </a:defRPr>
      </a:lvl6pPr>
      <a:lvl7pPr marL="2743200" algn="l" defTabSz="914400" rtl="0" eaLnBrk="1" latinLnBrk="0" hangingPunct="1">
        <a:defRPr sz="1000" kern="1200">
          <a:solidFill>
            <a:schemeClr val="tx1"/>
          </a:solidFill>
          <a:latin typeface="+mn-lt"/>
          <a:ea typeface="+mn-ea"/>
          <a:cs typeface="+mn-cs"/>
        </a:defRPr>
      </a:lvl7pPr>
      <a:lvl8pPr marL="3200400" algn="l" defTabSz="914400" rtl="0" eaLnBrk="1" latinLnBrk="0" hangingPunct="1">
        <a:defRPr sz="1000" kern="1200">
          <a:solidFill>
            <a:schemeClr val="tx1"/>
          </a:solidFill>
          <a:latin typeface="+mn-lt"/>
          <a:ea typeface="+mn-ea"/>
          <a:cs typeface="+mn-cs"/>
        </a:defRPr>
      </a:lvl8pPr>
      <a:lvl9pPr marL="3657600" algn="l" defTabSz="914400" rtl="0" eaLnBrk="1" latinLnBrk="0" hangingPunct="1">
        <a:defRPr sz="10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48591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16" imgH="216" progId="TCLayout.ActiveDocument.1">
                  <p:embed/>
                </p:oleObj>
              </mc:Choice>
              <mc:Fallback>
                <p:oleObj name="think-cell Slide" r:id="rId18" imgW="216" imgH="216" progId="TCLayout.ActiveDocument.1">
                  <p:embed/>
                  <p:pic>
                    <p:nvPicPr>
                      <p:cNvPr id="7" name="Object 6"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hthoek 3"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nl-NL" sz="3000" b="1" i="0" baseline="0">
              <a:latin typeface="Arial"/>
              <a:ea typeface="+mj-ea"/>
              <a:cs typeface="+mj-cs"/>
              <a:sym typeface="Arial"/>
            </a:endParaRPr>
          </a:p>
        </p:txBody>
      </p:sp>
      <p:sp>
        <p:nvSpPr>
          <p:cNvPr id="2" name="Tijdelijke aanduiding voor titel 1"/>
          <p:cNvSpPr>
            <a:spLocks noGrp="1"/>
          </p:cNvSpPr>
          <p:nvPr>
            <p:ph type="title"/>
          </p:nvPr>
        </p:nvSpPr>
        <p:spPr>
          <a:xfrm>
            <a:off x="515941" y="517525"/>
            <a:ext cx="11155352" cy="488950"/>
          </a:xfrm>
          <a:prstGeom prst="rect">
            <a:avLst/>
          </a:prstGeom>
        </p:spPr>
        <p:txBody>
          <a:bodyPr vert="horz" lIns="0" tIns="0" rIns="0" bIns="0" rtlCol="0" anchor="t">
            <a:noAutofit/>
          </a:bodyPr>
          <a:lstStyle/>
          <a:p>
            <a:r>
              <a:rPr lang="nl-NL"/>
              <a:t>Plaats hier je titel</a:t>
            </a:r>
          </a:p>
        </p:txBody>
      </p:sp>
      <p:sp>
        <p:nvSpPr>
          <p:cNvPr id="3" name="Tijdelijke aanduiding voor tekst 2"/>
          <p:cNvSpPr>
            <a:spLocks noGrp="1"/>
          </p:cNvSpPr>
          <p:nvPr>
            <p:ph type="body" idx="1"/>
          </p:nvPr>
        </p:nvSpPr>
        <p:spPr>
          <a:xfrm>
            <a:off x="515940" y="1350710"/>
            <a:ext cx="11155359" cy="4985004"/>
          </a:xfrm>
          <a:prstGeom prst="rect">
            <a:avLst/>
          </a:prstGeom>
        </p:spPr>
        <p:txBody>
          <a:bodyPr vert="horz" lIns="0" tIns="0" rIns="0" bIns="0" rtlCol="0">
            <a:noAutofit/>
          </a:bodyPr>
          <a:lstStyle/>
          <a:p>
            <a:pPr lvl="0"/>
            <a:r>
              <a:rPr lang="nl-NL"/>
              <a:t>Bullets </a:t>
            </a:r>
          </a:p>
          <a:p>
            <a:pPr lvl="1"/>
            <a:r>
              <a:rPr lang="nl-NL"/>
              <a:t>Sub-bullets</a:t>
            </a:r>
          </a:p>
          <a:p>
            <a:pPr lvl="2"/>
            <a:r>
              <a:rPr lang="nl-NL"/>
              <a:t>Leestekst</a:t>
            </a:r>
          </a:p>
          <a:p>
            <a:pPr lvl="3"/>
            <a:r>
              <a:rPr lang="nl-NL"/>
              <a:t>Subtitels</a:t>
            </a:r>
          </a:p>
          <a:p>
            <a:pPr lvl="4"/>
            <a:r>
              <a:rPr lang="nl-NL"/>
              <a:t>Numerieke bullets</a:t>
            </a:r>
          </a:p>
          <a:p>
            <a:pPr lvl="5"/>
            <a:r>
              <a:rPr lang="nl-NL"/>
              <a:t>Alfabet onder opsommingen</a:t>
            </a:r>
          </a:p>
          <a:p>
            <a:pPr lvl="6"/>
            <a:r>
              <a:rPr lang="nl-NL"/>
              <a:t>Sub-bullets onder opsommingen</a:t>
            </a:r>
          </a:p>
          <a:p>
            <a:pPr lvl="7"/>
            <a:r>
              <a:rPr lang="nl-NL"/>
              <a:t>Leestekst</a:t>
            </a:r>
          </a:p>
          <a:p>
            <a:pPr lvl="8"/>
            <a:r>
              <a:rPr lang="nl-NL"/>
              <a:t>Subtitels</a:t>
            </a:r>
          </a:p>
        </p:txBody>
      </p:sp>
      <p:sp>
        <p:nvSpPr>
          <p:cNvPr id="5" name="Tijdelijke aanduiding voor voettekst 4"/>
          <p:cNvSpPr>
            <a:spLocks noGrp="1"/>
          </p:cNvSpPr>
          <p:nvPr>
            <p:ph type="ftr" sz="quarter" idx="3"/>
          </p:nvPr>
        </p:nvSpPr>
        <p:spPr>
          <a:xfrm>
            <a:off x="521553" y="6472835"/>
            <a:ext cx="6273800" cy="225817"/>
          </a:xfrm>
          <a:prstGeom prst="rect">
            <a:avLst/>
          </a:prstGeom>
        </p:spPr>
        <p:txBody>
          <a:bodyPr vert="horz" lIns="0" tIns="45720" rIns="91440" bIns="45720" rtlCol="0" anchor="ctr">
            <a:noAutofit/>
          </a:bodyPr>
          <a:lstStyle>
            <a:lvl1pPr algn="l">
              <a:defRPr sz="900">
                <a:solidFill>
                  <a:schemeClr val="bg2"/>
                </a:solidFill>
              </a:defRPr>
            </a:lvl1pPr>
          </a:lstStyle>
          <a:p>
            <a:r>
              <a:rPr lang="nl-NL"/>
              <a:t>Zilveren Kruis | Interne verhaallijn Inkoopbeleid MSZ 2023</a:t>
            </a:r>
          </a:p>
        </p:txBody>
      </p:sp>
      <p:sp>
        <p:nvSpPr>
          <p:cNvPr id="6" name="Tijdelijke aanduiding voor dianummer 5"/>
          <p:cNvSpPr>
            <a:spLocks noGrp="1"/>
          </p:cNvSpPr>
          <p:nvPr>
            <p:ph type="sldNum" sz="quarter" idx="4"/>
          </p:nvPr>
        </p:nvSpPr>
        <p:spPr>
          <a:xfrm>
            <a:off x="11017541" y="6472835"/>
            <a:ext cx="652906" cy="225817"/>
          </a:xfrm>
          <a:prstGeom prst="rect">
            <a:avLst/>
          </a:prstGeom>
        </p:spPr>
        <p:txBody>
          <a:bodyPr vert="horz" lIns="0" tIns="0" rIns="0" bIns="0" rtlCol="0" anchor="ctr">
            <a:noAutofit/>
          </a:bodyPr>
          <a:lstStyle>
            <a:lvl1pPr algn="r">
              <a:defRPr sz="900" b="0">
                <a:solidFill>
                  <a:schemeClr val="bg2"/>
                </a:solidFill>
                <a:latin typeface="+mn-lt"/>
              </a:defRPr>
            </a:lvl1pPr>
          </a:lstStyle>
          <a:p>
            <a:fld id="{B502C9A5-716F-45E6-800B-D4D02CE26F90}" type="slidenum">
              <a:rPr lang="nl-NL" smtClean="0"/>
              <a:pPr/>
              <a:t>‹nr.›</a:t>
            </a:fld>
            <a:endParaRPr lang="nl-NL"/>
          </a:p>
        </p:txBody>
      </p:sp>
      <p:sp>
        <p:nvSpPr>
          <p:cNvPr id="9" name="Rechthoek 8" hidden="1">
            <a:extLst>
              <a:ext uri="{FF2B5EF4-FFF2-40B4-BE49-F238E27FC236}">
                <a16:creationId xmlns:a16="http://schemas.microsoft.com/office/drawing/2014/main" id="{9C9CC18B-FEF8-4FC3-81CB-7FD4FB2A4EED}"/>
              </a:ext>
            </a:extLst>
          </p:cNvPr>
          <p:cNvSpPr/>
          <p:nvPr userDrawn="1"/>
        </p:nvSpPr>
        <p:spPr>
          <a:xfrm>
            <a:off x="0" y="0"/>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hthoek 54" hidden="1">
            <a:extLst>
              <a:ext uri="{FF2B5EF4-FFF2-40B4-BE49-F238E27FC236}">
                <a16:creationId xmlns:a16="http://schemas.microsoft.com/office/drawing/2014/main" id="{A36DAB26-0B1F-4D69-A58E-93CCC6F97AA5}"/>
              </a:ext>
            </a:extLst>
          </p:cNvPr>
          <p:cNvSpPr/>
          <p:nvPr userDrawn="1"/>
        </p:nvSpPr>
        <p:spPr>
          <a:xfrm>
            <a:off x="0" y="6337738"/>
            <a:ext cx="1219200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hthoek 55" hidden="1">
            <a:extLst>
              <a:ext uri="{FF2B5EF4-FFF2-40B4-BE49-F238E27FC236}">
                <a16:creationId xmlns:a16="http://schemas.microsoft.com/office/drawing/2014/main" id="{CB514C29-7AB6-45D5-BC8C-4D6816E6A118}"/>
              </a:ext>
            </a:extLst>
          </p:cNvPr>
          <p:cNvSpPr/>
          <p:nvPr userDrawn="1"/>
        </p:nvSpPr>
        <p:spPr>
          <a:xfrm rot="16200000">
            <a:off x="-3174107" y="3176122"/>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Rechthoek 56" hidden="1">
            <a:extLst>
              <a:ext uri="{FF2B5EF4-FFF2-40B4-BE49-F238E27FC236}">
                <a16:creationId xmlns:a16="http://schemas.microsoft.com/office/drawing/2014/main" id="{0B787679-7AD8-41D5-8C9E-37BE56291207}"/>
              </a:ext>
            </a:extLst>
          </p:cNvPr>
          <p:cNvSpPr/>
          <p:nvPr userDrawn="1"/>
        </p:nvSpPr>
        <p:spPr>
          <a:xfrm rot="16200000">
            <a:off x="8502886" y="3176123"/>
            <a:ext cx="6869770" cy="517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8535907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400" rtl="0" eaLnBrk="1" latinLnBrk="0" hangingPunct="1">
        <a:lnSpc>
          <a:spcPct val="90000"/>
        </a:lnSpc>
        <a:spcBef>
          <a:spcPct val="0"/>
        </a:spcBef>
        <a:buNone/>
        <a:tabLst>
          <a:tab pos="1255713" algn="l"/>
        </a:tabLst>
        <a:defRPr sz="3000" b="1" kern="1200">
          <a:solidFill>
            <a:schemeClr val="tx2"/>
          </a:solidFill>
          <a:latin typeface="+mj-lt"/>
          <a:ea typeface="+mj-ea"/>
          <a:cs typeface="+mj-cs"/>
        </a:defRPr>
      </a:lvl1pPr>
    </p:titleStyle>
    <p:bodyStyle>
      <a:lvl1pPr marL="263525" indent="-263525" algn="l" defTabSz="719138" rtl="0" eaLnBrk="1" latinLnBrk="0" hangingPunct="1">
        <a:lnSpc>
          <a:spcPct val="110000"/>
        </a:lnSpc>
        <a:spcBef>
          <a:spcPts val="0"/>
        </a:spcBef>
        <a:spcAft>
          <a:spcPts val="1100"/>
        </a:spcAft>
        <a:buClr>
          <a:schemeClr val="tx2"/>
        </a:buClr>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634">
          <p15:clr>
            <a:srgbClr val="F26B43"/>
          </p15:clr>
        </p15:guide>
        <p15:guide id="3" orient="horz" pos="845">
          <p15:clr>
            <a:srgbClr val="F26B43"/>
          </p15:clr>
        </p15:guide>
        <p15:guide id="5" orient="horz" pos="3991">
          <p15:clr>
            <a:srgbClr val="F26B43"/>
          </p15:clr>
        </p15:guide>
        <p15:guide id="8" orient="horz" pos="326">
          <p15:clr>
            <a:srgbClr val="F26B43"/>
          </p15:clr>
        </p15:guide>
        <p15:guide id="10" pos="735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55.jpeg"/><Relationship Id="rId7" Type="http://schemas.openxmlformats.org/officeDocument/2006/relationships/image" Target="../media/image66.tiff"/><Relationship Id="rId2" Type="http://schemas.openxmlformats.org/officeDocument/2006/relationships/image" Target="../media/image54.png"/><Relationship Id="rId1" Type="http://schemas.openxmlformats.org/officeDocument/2006/relationships/slideLayout" Target="../slideLayouts/slideLayout30.xml"/><Relationship Id="rId6" Type="http://schemas.openxmlformats.org/officeDocument/2006/relationships/image" Target="../media/image65.tiff"/><Relationship Id="rId5" Type="http://schemas.openxmlformats.org/officeDocument/2006/relationships/image" Target="../media/image64.jpg"/><Relationship Id="rId10" Type="http://schemas.openxmlformats.org/officeDocument/2006/relationships/image" Target="../media/image69.png"/><Relationship Id="rId4" Type="http://schemas.openxmlformats.org/officeDocument/2006/relationships/image" Target="../media/image63.tiff"/><Relationship Id="rId9"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29.xml"/><Relationship Id="rId5" Type="http://schemas.openxmlformats.org/officeDocument/2006/relationships/image" Target="../media/image70.png"/><Relationship Id="rId4" Type="http://schemas.openxmlformats.org/officeDocument/2006/relationships/image" Target="../media/image57.png"/></Relationships>
</file>

<file path=ppt/slides/_rels/slide1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55.jpe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jpeg"/><Relationship Id="rId2" Type="http://schemas.openxmlformats.org/officeDocument/2006/relationships/image" Target="../media/image73.png"/><Relationship Id="rId1" Type="http://schemas.openxmlformats.org/officeDocument/2006/relationships/slideLayout" Target="../slideLayouts/slideLayout25.xml"/><Relationship Id="rId6" Type="http://schemas.openxmlformats.org/officeDocument/2006/relationships/image" Target="../media/image77.jpe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jpeg"/><Relationship Id="rId9" Type="http://schemas.openxmlformats.org/officeDocument/2006/relationships/image" Target="../media/image8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6.svg"/></Relationships>
</file>

<file path=ppt/slides/_rels/slide3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9.xml"/><Relationship Id="rId1" Type="http://schemas.openxmlformats.org/officeDocument/2006/relationships/slideLayout" Target="../slideLayouts/slideLayout38.xml"/><Relationship Id="rId4" Type="http://schemas.openxmlformats.org/officeDocument/2006/relationships/image" Target="../media/image94.png"/></Relationships>
</file>

<file path=ppt/slides/_rels/slide31.xml.rels><?xml version="1.0" encoding="UTF-8" standalone="yes"?>
<Relationships xmlns="http://schemas.openxmlformats.org/package/2006/relationships"><Relationship Id="rId8" Type="http://schemas.openxmlformats.org/officeDocument/2006/relationships/image" Target="../media/image98.png"/><Relationship Id="rId13" Type="http://schemas.microsoft.com/office/2007/relationships/hdphoto" Target="../media/hdphoto4.wdp"/><Relationship Id="rId3" Type="http://schemas.openxmlformats.org/officeDocument/2006/relationships/notesSlide" Target="../notesSlides/notesSlide10.xml"/><Relationship Id="rId7" Type="http://schemas.openxmlformats.org/officeDocument/2006/relationships/image" Target="../media/image97.svg"/><Relationship Id="rId12" Type="http://schemas.openxmlformats.org/officeDocument/2006/relationships/image" Target="../media/image102.png"/><Relationship Id="rId2" Type="http://schemas.openxmlformats.org/officeDocument/2006/relationships/slideLayout" Target="../slideLayouts/slideLayout213.xml"/><Relationship Id="rId16" Type="http://schemas.openxmlformats.org/officeDocument/2006/relationships/image" Target="../media/image105.png"/><Relationship Id="rId1" Type="http://schemas.openxmlformats.org/officeDocument/2006/relationships/tags" Target="../tags/tag123.xml"/><Relationship Id="rId6" Type="http://schemas.openxmlformats.org/officeDocument/2006/relationships/image" Target="../media/image96.png"/><Relationship Id="rId11" Type="http://schemas.openxmlformats.org/officeDocument/2006/relationships/image" Target="../media/image101.png"/><Relationship Id="rId5" Type="http://schemas.openxmlformats.org/officeDocument/2006/relationships/image" Target="../media/image95.emf"/><Relationship Id="rId15" Type="http://schemas.openxmlformats.org/officeDocument/2006/relationships/image" Target="../media/image104.png"/><Relationship Id="rId10" Type="http://schemas.openxmlformats.org/officeDocument/2006/relationships/image" Target="../media/image100.svg"/><Relationship Id="rId4" Type="http://schemas.openxmlformats.org/officeDocument/2006/relationships/oleObject" Target="../embeddings/oleObject55.bin"/><Relationship Id="rId9" Type="http://schemas.openxmlformats.org/officeDocument/2006/relationships/image" Target="../media/image99.png"/><Relationship Id="rId14" Type="http://schemas.openxmlformats.org/officeDocument/2006/relationships/image" Target="../media/image103.png"/></Relationships>
</file>

<file path=ppt/slides/_rels/slide32.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2.png"/><Relationship Id="rId3" Type="http://schemas.openxmlformats.org/officeDocument/2006/relationships/notesSlide" Target="../notesSlides/notesSlide12.xml"/><Relationship Id="rId7" Type="http://schemas.openxmlformats.org/officeDocument/2006/relationships/image" Target="../media/image108.png"/><Relationship Id="rId12" Type="http://schemas.microsoft.com/office/2007/relationships/hdphoto" Target="../media/hdphoto6.wdp"/><Relationship Id="rId2" Type="http://schemas.openxmlformats.org/officeDocument/2006/relationships/slideLayout" Target="../slideLayouts/slideLayout88.xml"/><Relationship Id="rId16" Type="http://schemas.microsoft.com/office/2007/relationships/hdphoto" Target="../media/hdphoto8.wdp"/><Relationship Id="rId1" Type="http://schemas.openxmlformats.org/officeDocument/2006/relationships/tags" Target="../tags/tag124.xml"/><Relationship Id="rId6" Type="http://schemas.openxmlformats.org/officeDocument/2006/relationships/image" Target="../media/image107.png"/><Relationship Id="rId11" Type="http://schemas.openxmlformats.org/officeDocument/2006/relationships/image" Target="../media/image111.png"/><Relationship Id="rId5" Type="http://schemas.openxmlformats.org/officeDocument/2006/relationships/image" Target="../media/image30.emf"/><Relationship Id="rId15" Type="http://schemas.openxmlformats.org/officeDocument/2006/relationships/image" Target="../media/image113.png"/><Relationship Id="rId10" Type="http://schemas.microsoft.com/office/2007/relationships/hdphoto" Target="../media/hdphoto5.wdp"/><Relationship Id="rId4" Type="http://schemas.openxmlformats.org/officeDocument/2006/relationships/oleObject" Target="../embeddings/oleObject56.bin"/><Relationship Id="rId9" Type="http://schemas.openxmlformats.org/officeDocument/2006/relationships/image" Target="../media/image110.png"/><Relationship Id="rId14" Type="http://schemas.microsoft.com/office/2007/relationships/hdphoto" Target="../media/hdphoto7.wdp"/></Relationships>
</file>

<file path=ppt/slides/_rels/slide34.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notesSlide" Target="../notesSlides/notesSlide13.xml"/><Relationship Id="rId1" Type="http://schemas.openxmlformats.org/officeDocument/2006/relationships/slideLayout" Target="../slideLayouts/slideLayout2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3.xml"/></Relationships>
</file>

<file path=ppt/slides/_rels/slide3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5.xml"/><Relationship Id="rId1" Type="http://schemas.openxmlformats.org/officeDocument/2006/relationships/slideLayout" Target="../slideLayouts/slideLayout172.xml"/></Relationships>
</file>

<file path=ppt/slides/_rels/slide3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6.xml"/><Relationship Id="rId1" Type="http://schemas.openxmlformats.org/officeDocument/2006/relationships/slideLayout" Target="../slideLayouts/slideLayout15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7.xml"/><Relationship Id="rId1" Type="http://schemas.openxmlformats.org/officeDocument/2006/relationships/slideLayout" Target="../slideLayouts/slideLayout175.xml"/><Relationship Id="rId4" Type="http://schemas.openxmlformats.org/officeDocument/2006/relationships/image" Target="../media/image118.png"/></Relationships>
</file>

<file path=ppt/slides/_rels/slide4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8.xml"/><Relationship Id="rId1" Type="http://schemas.openxmlformats.org/officeDocument/2006/relationships/slideLayout" Target="../slideLayouts/slideLayout18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s://puc.overheid.nl/nza/doc/PUC_309616_22/1/" TargetMode="External"/><Relationship Id="rId1" Type="http://schemas.openxmlformats.org/officeDocument/2006/relationships/slideLayout" Target="../slideLayouts/slideLayout179.xml"/></Relationships>
</file>

<file path=ppt/slides/_rels/slide4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121.png"/><Relationship Id="rId1" Type="http://schemas.openxmlformats.org/officeDocument/2006/relationships/slideLayout" Target="../slideLayouts/slideLayout168.xml"/><Relationship Id="rId5" Type="http://schemas.openxmlformats.org/officeDocument/2006/relationships/image" Target="../media/image123.png"/><Relationship Id="rId4" Type="http://schemas.openxmlformats.org/officeDocument/2006/relationships/hyperlink" Target="https://puc.overheid.nl/nza/doc/PUC_694076_22/1/"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0.png"/><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0.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a:extLst>
              <a:ext uri="{FF2B5EF4-FFF2-40B4-BE49-F238E27FC236}">
                <a16:creationId xmlns:a16="http://schemas.microsoft.com/office/drawing/2014/main" id="{CC28B12B-1517-456D-9857-B43A076E6613}"/>
              </a:ext>
            </a:extLst>
          </p:cNvPr>
          <p:cNvSpPr>
            <a:spLocks noGrp="1" noChangeArrowheads="1"/>
          </p:cNvSpPr>
          <p:nvPr>
            <p:ph type="ctrTitle"/>
          </p:nvPr>
        </p:nvSpPr>
        <p:spPr bwMode="auto">
          <a:xfrm>
            <a:off x="1214438" y="3429000"/>
            <a:ext cx="9144000" cy="1909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nl-NL" altLang="nl-NL" dirty="0"/>
              <a:t>Masterclass 5</a:t>
            </a:r>
            <a:br>
              <a:rPr lang="nl-NL" altLang="nl-NL" dirty="0"/>
            </a:br>
            <a:r>
              <a:rPr lang="nl-NL" altLang="nl-NL" dirty="0"/>
              <a:t>Hoe financier ik mijn zorgidee</a:t>
            </a:r>
            <a:br>
              <a:rPr lang="nl-NL" altLang="nl-NL" dirty="0"/>
            </a:br>
            <a:endParaRPr lang="nl-NL" altLang="nl-NL" dirty="0"/>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a:extLst>
              <a:ext uri="{FF2B5EF4-FFF2-40B4-BE49-F238E27FC236}">
                <a16:creationId xmlns:a16="http://schemas.microsoft.com/office/drawing/2014/main" id="{581BA50C-3B76-4118-824D-487F61E98173}"/>
              </a:ext>
            </a:extLst>
          </p:cNvPr>
          <p:cNvGrpSpPr/>
          <p:nvPr/>
        </p:nvGrpSpPr>
        <p:grpSpPr>
          <a:xfrm>
            <a:off x="1676634" y="5733257"/>
            <a:ext cx="8838732" cy="1031781"/>
            <a:chOff x="152634" y="5733256"/>
            <a:chExt cx="8838732" cy="1031781"/>
          </a:xfrm>
        </p:grpSpPr>
        <p:pic>
          <p:nvPicPr>
            <p:cNvPr id="3" name="Afbeelding 2">
              <a:extLst>
                <a:ext uri="{FF2B5EF4-FFF2-40B4-BE49-F238E27FC236}">
                  <a16:creationId xmlns:a16="http://schemas.microsoft.com/office/drawing/2014/main" id="{94B262A4-BB9F-42E6-A9C5-64625EC55D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17530" y="5733256"/>
              <a:ext cx="773836" cy="1031781"/>
            </a:xfrm>
            <a:prstGeom prst="rect">
              <a:avLst/>
            </a:prstGeom>
          </p:spPr>
        </p:pic>
        <p:pic>
          <p:nvPicPr>
            <p:cNvPr id="4" name="Picture 4" descr="http://intranet.umcg.nl/huisstijl/images/Huisstijl/logoos/Logokortnaampluskikker.jpg">
              <a:extLst>
                <a:ext uri="{FF2B5EF4-FFF2-40B4-BE49-F238E27FC236}">
                  <a16:creationId xmlns:a16="http://schemas.microsoft.com/office/drawing/2014/main" id="{DD963D75-D733-4387-8C47-C53757B3B8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634" y="5939154"/>
              <a:ext cx="1547664" cy="82588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ep 4">
              <a:extLst>
                <a:ext uri="{FF2B5EF4-FFF2-40B4-BE49-F238E27FC236}">
                  <a16:creationId xmlns:a16="http://schemas.microsoft.com/office/drawing/2014/main" id="{F3050A3F-B26E-4171-9555-31E857E8C320}"/>
                </a:ext>
              </a:extLst>
            </p:cNvPr>
            <p:cNvGrpSpPr/>
            <p:nvPr/>
          </p:nvGrpSpPr>
          <p:grpSpPr>
            <a:xfrm>
              <a:off x="1723946" y="6306375"/>
              <a:ext cx="6520224" cy="45719"/>
              <a:chOff x="1723946" y="6306375"/>
              <a:chExt cx="6520224" cy="45719"/>
            </a:xfrm>
          </p:grpSpPr>
          <p:sp>
            <p:nvSpPr>
              <p:cNvPr id="6" name="Rechthoek 5">
                <a:extLst>
                  <a:ext uri="{FF2B5EF4-FFF2-40B4-BE49-F238E27FC236}">
                    <a16:creationId xmlns:a16="http://schemas.microsoft.com/office/drawing/2014/main" id="{F2136290-7441-4D12-805A-04973BF761EE}"/>
                  </a:ext>
                </a:extLst>
              </p:cNvPr>
              <p:cNvSpPr/>
              <p:nvPr/>
            </p:nvSpPr>
            <p:spPr>
              <a:xfrm flipV="1">
                <a:off x="1723946" y="6306375"/>
                <a:ext cx="2991832" cy="45719"/>
              </a:xfrm>
              <a:prstGeom prst="rect">
                <a:avLst/>
              </a:prstGeom>
              <a:solidFill>
                <a:srgbClr val="5D8BB8"/>
              </a:solidFill>
              <a:ln>
                <a:solidFill>
                  <a:srgbClr val="5D8B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 name="Rechte verbindingslijn 6">
                <a:extLst>
                  <a:ext uri="{FF2B5EF4-FFF2-40B4-BE49-F238E27FC236}">
                    <a16:creationId xmlns:a16="http://schemas.microsoft.com/office/drawing/2014/main" id="{E527908A-C76B-4478-A4E8-63896B147B7B}"/>
                  </a:ext>
                </a:extLst>
              </p:cNvPr>
              <p:cNvCxnSpPr>
                <a:cxnSpLocks/>
              </p:cNvCxnSpPr>
              <p:nvPr/>
            </p:nvCxnSpPr>
            <p:spPr>
              <a:xfrm>
                <a:off x="4715778" y="6320635"/>
                <a:ext cx="3528392" cy="22860"/>
              </a:xfrm>
              <a:prstGeom prst="line">
                <a:avLst/>
              </a:prstGeom>
              <a:ln>
                <a:solidFill>
                  <a:srgbClr val="5D8BB8"/>
                </a:solidFill>
              </a:ln>
            </p:spPr>
            <p:style>
              <a:lnRef idx="1">
                <a:schemeClr val="accent1"/>
              </a:lnRef>
              <a:fillRef idx="0">
                <a:schemeClr val="accent1"/>
              </a:fillRef>
              <a:effectRef idx="0">
                <a:schemeClr val="accent1"/>
              </a:effectRef>
              <a:fontRef idx="minor">
                <a:schemeClr val="tx1"/>
              </a:fontRef>
            </p:style>
          </p:cxnSp>
        </p:grpSp>
      </p:grpSp>
      <p:sp>
        <p:nvSpPr>
          <p:cNvPr id="9" name="Tekstvak 8">
            <a:extLst>
              <a:ext uri="{FF2B5EF4-FFF2-40B4-BE49-F238E27FC236}">
                <a16:creationId xmlns:a16="http://schemas.microsoft.com/office/drawing/2014/main" id="{F05A2CA5-8285-43DB-BB2B-14078257F36F}"/>
              </a:ext>
            </a:extLst>
          </p:cNvPr>
          <p:cNvSpPr txBox="1"/>
          <p:nvPr/>
        </p:nvSpPr>
        <p:spPr>
          <a:xfrm>
            <a:off x="2279576" y="404665"/>
            <a:ext cx="784887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dirty="0">
                <a:ln>
                  <a:noFill/>
                </a:ln>
                <a:solidFill>
                  <a:srgbClr val="4472C4">
                    <a:lumMod val="50000"/>
                  </a:srgbClr>
                </a:solidFill>
                <a:effectLst/>
                <a:uLnTx/>
                <a:uFillTx/>
                <a:latin typeface="Calibri Light" panose="020F0302020204030204"/>
                <a:ea typeface="+mn-ea"/>
                <a:cs typeface="+mn-cs"/>
              </a:rPr>
              <a:t>Model Passend behandelplan in de praktijk</a:t>
            </a:r>
          </a:p>
        </p:txBody>
      </p:sp>
      <p:grpSp>
        <p:nvGrpSpPr>
          <p:cNvPr id="10" name="Groep 9">
            <a:extLst>
              <a:ext uri="{FF2B5EF4-FFF2-40B4-BE49-F238E27FC236}">
                <a16:creationId xmlns:a16="http://schemas.microsoft.com/office/drawing/2014/main" id="{67EE1851-ACC6-48AC-88B4-7603F4E4AE15}"/>
              </a:ext>
            </a:extLst>
          </p:cNvPr>
          <p:cNvGrpSpPr/>
          <p:nvPr/>
        </p:nvGrpSpPr>
        <p:grpSpPr>
          <a:xfrm>
            <a:off x="1991544" y="1299235"/>
            <a:ext cx="8208912" cy="4777915"/>
            <a:chOff x="395536" y="1471210"/>
            <a:chExt cx="8208912" cy="4777915"/>
          </a:xfrm>
        </p:grpSpPr>
        <p:grpSp>
          <p:nvGrpSpPr>
            <p:cNvPr id="11" name="Groep 10">
              <a:extLst>
                <a:ext uri="{FF2B5EF4-FFF2-40B4-BE49-F238E27FC236}">
                  <a16:creationId xmlns:a16="http://schemas.microsoft.com/office/drawing/2014/main" id="{0605B5A1-4D26-4442-9295-BAF67B3F157D}"/>
                </a:ext>
              </a:extLst>
            </p:cNvPr>
            <p:cNvGrpSpPr/>
            <p:nvPr/>
          </p:nvGrpSpPr>
          <p:grpSpPr>
            <a:xfrm>
              <a:off x="395536" y="2364594"/>
              <a:ext cx="8208912" cy="1861257"/>
              <a:chOff x="125314" y="3645071"/>
              <a:chExt cx="10507553" cy="2246406"/>
            </a:xfrm>
          </p:grpSpPr>
          <p:cxnSp>
            <p:nvCxnSpPr>
              <p:cNvPr id="21" name="Rechte verbindingslijn met pijl 20">
                <a:extLst>
                  <a:ext uri="{FF2B5EF4-FFF2-40B4-BE49-F238E27FC236}">
                    <a16:creationId xmlns:a16="http://schemas.microsoft.com/office/drawing/2014/main" id="{52731A73-4428-4F16-AAA3-C63FE25560AA}"/>
                  </a:ext>
                </a:extLst>
              </p:cNvPr>
              <p:cNvCxnSpPr/>
              <p:nvPr/>
            </p:nvCxnSpPr>
            <p:spPr>
              <a:xfrm>
                <a:off x="1573000" y="4224862"/>
                <a:ext cx="533291"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nvGrpSpPr>
              <p:cNvPr id="22" name="Groep 21">
                <a:extLst>
                  <a:ext uri="{FF2B5EF4-FFF2-40B4-BE49-F238E27FC236}">
                    <a16:creationId xmlns:a16="http://schemas.microsoft.com/office/drawing/2014/main" id="{0AB5A893-8C19-467F-A869-34FF1D175EA4}"/>
                  </a:ext>
                </a:extLst>
              </p:cNvPr>
              <p:cNvGrpSpPr/>
              <p:nvPr/>
            </p:nvGrpSpPr>
            <p:grpSpPr>
              <a:xfrm>
                <a:off x="6672031" y="3884890"/>
                <a:ext cx="1975922" cy="2006587"/>
                <a:chOff x="6672031" y="3884890"/>
                <a:chExt cx="1975922" cy="2006587"/>
              </a:xfrm>
            </p:grpSpPr>
            <p:pic>
              <p:nvPicPr>
                <p:cNvPr id="38" name="Afbeelding 37">
                  <a:extLst>
                    <a:ext uri="{FF2B5EF4-FFF2-40B4-BE49-F238E27FC236}">
                      <a16:creationId xmlns:a16="http://schemas.microsoft.com/office/drawing/2014/main" id="{C90D2F1E-167A-4716-8813-5652EF8B5202}"/>
                    </a:ext>
                  </a:extLst>
                </p:cNvPr>
                <p:cNvPicPr>
                  <a:picLocks noChangeAspect="1"/>
                </p:cNvPicPr>
                <p:nvPr/>
              </p:nvPicPr>
              <p:blipFill rotWithShape="1">
                <a:blip r:embed="rId4"/>
                <a:srcRect l="6577" t="6600" r="6859" b="23400"/>
                <a:stretch/>
              </p:blipFill>
              <p:spPr>
                <a:xfrm>
                  <a:off x="6930826" y="3884890"/>
                  <a:ext cx="926222" cy="708531"/>
                </a:xfrm>
                <a:prstGeom prst="rect">
                  <a:avLst/>
                </a:prstGeom>
              </p:spPr>
            </p:pic>
            <p:sp>
              <p:nvSpPr>
                <p:cNvPr id="39" name="Tekstvak 38">
                  <a:extLst>
                    <a:ext uri="{FF2B5EF4-FFF2-40B4-BE49-F238E27FC236}">
                      <a16:creationId xmlns:a16="http://schemas.microsoft.com/office/drawing/2014/main" id="{A25C256B-1A3E-4DED-B168-93876B69BC37}"/>
                    </a:ext>
                  </a:extLst>
                </p:cNvPr>
                <p:cNvSpPr txBox="1"/>
                <p:nvPr/>
              </p:nvSpPr>
              <p:spPr>
                <a:xfrm>
                  <a:off x="6672031" y="4999962"/>
                  <a:ext cx="1975922" cy="8915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Trebuchet MS"/>
                      <a:ea typeface="+mn-ea"/>
                      <a:cs typeface="+mn-cs"/>
                    </a:rPr>
                    <a:t>Bespreking behandeladvies </a:t>
                  </a:r>
                  <a:r>
                    <a:rPr kumimoji="0" lang="nl-NL" sz="1400" b="0" i="0" u="none" strike="noStrike" kern="1200" cap="none" spc="0" normalizeH="0" baseline="0" noProof="0">
                      <a:ln>
                        <a:noFill/>
                      </a:ln>
                      <a:solidFill>
                        <a:prstClr val="black"/>
                      </a:solidFill>
                      <a:effectLst/>
                      <a:uLnTx/>
                      <a:uFillTx/>
                      <a:latin typeface="Trebuchet MS"/>
                      <a:ea typeface="+mn-ea"/>
                      <a:cs typeface="+mn-cs"/>
                    </a:rPr>
                    <a:t>en keuze (SDM)</a:t>
                  </a:r>
                  <a:endParaRPr kumimoji="0" lang="nl-NL" sz="1400" b="0" i="0" u="none" strike="noStrike" kern="1200" cap="none" spc="0" normalizeH="0" baseline="0" noProof="0" dirty="0">
                    <a:ln>
                      <a:noFill/>
                    </a:ln>
                    <a:solidFill>
                      <a:prstClr val="black"/>
                    </a:solidFill>
                    <a:effectLst/>
                    <a:uLnTx/>
                    <a:uFillTx/>
                    <a:latin typeface="Trebuchet MS"/>
                    <a:ea typeface="+mn-ea"/>
                    <a:cs typeface="+mn-cs"/>
                  </a:endParaRPr>
                </a:p>
              </p:txBody>
            </p:sp>
          </p:grpSp>
          <p:grpSp>
            <p:nvGrpSpPr>
              <p:cNvPr id="23" name="Groep 22">
                <a:extLst>
                  <a:ext uri="{FF2B5EF4-FFF2-40B4-BE49-F238E27FC236}">
                    <a16:creationId xmlns:a16="http://schemas.microsoft.com/office/drawing/2014/main" id="{5F3009E6-1422-4AE1-AF5C-E64919BF4D8D}"/>
                  </a:ext>
                </a:extLst>
              </p:cNvPr>
              <p:cNvGrpSpPr/>
              <p:nvPr/>
            </p:nvGrpSpPr>
            <p:grpSpPr>
              <a:xfrm>
                <a:off x="8947050" y="3645071"/>
                <a:ext cx="1685817" cy="1784371"/>
                <a:chOff x="8947050" y="3645071"/>
                <a:chExt cx="1685817" cy="1784371"/>
              </a:xfrm>
            </p:grpSpPr>
            <p:pic>
              <p:nvPicPr>
                <p:cNvPr id="36" name="Afbeelding 35">
                  <a:extLst>
                    <a:ext uri="{FF2B5EF4-FFF2-40B4-BE49-F238E27FC236}">
                      <a16:creationId xmlns:a16="http://schemas.microsoft.com/office/drawing/2014/main" id="{DF0C249F-F578-4F84-BFC9-8A00D25B0AA9}"/>
                    </a:ext>
                  </a:extLst>
                </p:cNvPr>
                <p:cNvPicPr>
                  <a:picLocks noChangeAspect="1"/>
                </p:cNvPicPr>
                <p:nvPr/>
              </p:nvPicPr>
              <p:blipFill rotWithShape="1">
                <a:blip r:embed="rId5"/>
                <a:srcRect b="11029"/>
                <a:stretch/>
              </p:blipFill>
              <p:spPr>
                <a:xfrm>
                  <a:off x="8947050" y="3645071"/>
                  <a:ext cx="1296194" cy="1068460"/>
                </a:xfrm>
                <a:prstGeom prst="rect">
                  <a:avLst/>
                </a:prstGeom>
              </p:spPr>
            </p:pic>
            <p:sp>
              <p:nvSpPr>
                <p:cNvPr id="37" name="Tekstvak 36">
                  <a:extLst>
                    <a:ext uri="{FF2B5EF4-FFF2-40B4-BE49-F238E27FC236}">
                      <a16:creationId xmlns:a16="http://schemas.microsoft.com/office/drawing/2014/main" id="{C1CBFC4A-1B82-4417-AC6E-B0F720246E53}"/>
                    </a:ext>
                  </a:extLst>
                </p:cNvPr>
                <p:cNvSpPr txBox="1"/>
                <p:nvPr/>
              </p:nvSpPr>
              <p:spPr>
                <a:xfrm>
                  <a:off x="8947051" y="5060110"/>
                  <a:ext cx="16858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Trebuchet MS"/>
                      <a:ea typeface="+mn-ea"/>
                      <a:cs typeface="+mn-cs"/>
                    </a:rPr>
                    <a:t>Behandeling</a:t>
                  </a:r>
                </a:p>
              </p:txBody>
            </p:sp>
          </p:grpSp>
          <p:cxnSp>
            <p:nvCxnSpPr>
              <p:cNvPr id="24" name="Rechte verbindingslijn met pijl 23">
                <a:extLst>
                  <a:ext uri="{FF2B5EF4-FFF2-40B4-BE49-F238E27FC236}">
                    <a16:creationId xmlns:a16="http://schemas.microsoft.com/office/drawing/2014/main" id="{966A09FC-2483-4A80-B5CD-14D5DBA8ABCC}"/>
                  </a:ext>
                </a:extLst>
              </p:cNvPr>
              <p:cNvCxnSpPr/>
              <p:nvPr/>
            </p:nvCxnSpPr>
            <p:spPr>
              <a:xfrm>
                <a:off x="8114662" y="4190177"/>
                <a:ext cx="533291"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5" name="Rechte verbindingslijn met pijl 24">
                <a:extLst>
                  <a:ext uri="{FF2B5EF4-FFF2-40B4-BE49-F238E27FC236}">
                    <a16:creationId xmlns:a16="http://schemas.microsoft.com/office/drawing/2014/main" id="{B28E677F-1251-4762-AD86-51A999490296}"/>
                  </a:ext>
                </a:extLst>
              </p:cNvPr>
              <p:cNvCxnSpPr/>
              <p:nvPr/>
            </p:nvCxnSpPr>
            <p:spPr>
              <a:xfrm>
                <a:off x="6138738" y="4239151"/>
                <a:ext cx="533291"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26" name="Rechte verbindingslijn met pijl 25">
                <a:extLst>
                  <a:ext uri="{FF2B5EF4-FFF2-40B4-BE49-F238E27FC236}">
                    <a16:creationId xmlns:a16="http://schemas.microsoft.com/office/drawing/2014/main" id="{3FF9241D-05D0-4E5C-B89D-6374CD795D48}"/>
                  </a:ext>
                </a:extLst>
              </p:cNvPr>
              <p:cNvCxnSpPr/>
              <p:nvPr/>
            </p:nvCxnSpPr>
            <p:spPr>
              <a:xfrm>
                <a:off x="3877218" y="4250890"/>
                <a:ext cx="533291"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nvGrpSpPr>
              <p:cNvPr id="27" name="Groep 26">
                <a:extLst>
                  <a:ext uri="{FF2B5EF4-FFF2-40B4-BE49-F238E27FC236}">
                    <a16:creationId xmlns:a16="http://schemas.microsoft.com/office/drawing/2014/main" id="{9943BEE4-53AD-4BEB-9E55-A932FC9EFFBA}"/>
                  </a:ext>
                </a:extLst>
              </p:cNvPr>
              <p:cNvGrpSpPr/>
              <p:nvPr/>
            </p:nvGrpSpPr>
            <p:grpSpPr>
              <a:xfrm>
                <a:off x="2237308" y="3889967"/>
                <a:ext cx="1639911" cy="1721412"/>
                <a:chOff x="3880070" y="3950188"/>
                <a:chExt cx="1639911" cy="1721412"/>
              </a:xfrm>
            </p:grpSpPr>
            <p:sp>
              <p:nvSpPr>
                <p:cNvPr id="34" name="Tekstvak 33">
                  <a:extLst>
                    <a:ext uri="{FF2B5EF4-FFF2-40B4-BE49-F238E27FC236}">
                      <a16:creationId xmlns:a16="http://schemas.microsoft.com/office/drawing/2014/main" id="{42561993-4713-40B8-92D4-68EBBF8C6E7E}"/>
                    </a:ext>
                  </a:extLst>
                </p:cNvPr>
                <p:cNvSpPr txBox="1"/>
                <p:nvPr/>
              </p:nvSpPr>
              <p:spPr>
                <a:xfrm>
                  <a:off x="3880070" y="5040110"/>
                  <a:ext cx="1639911" cy="63149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Trebuchet MS"/>
                      <a:ea typeface="+mn-ea"/>
                      <a:cs typeface="+mn-cs"/>
                    </a:rPr>
                    <a:t>Aanvullende diagnostiek</a:t>
                  </a:r>
                </a:p>
              </p:txBody>
            </p:sp>
            <p:pic>
              <p:nvPicPr>
                <p:cNvPr id="35" name="Afbeelding 34">
                  <a:extLst>
                    <a:ext uri="{FF2B5EF4-FFF2-40B4-BE49-F238E27FC236}">
                      <a16:creationId xmlns:a16="http://schemas.microsoft.com/office/drawing/2014/main" id="{869662DF-71AD-4A92-84DC-B5FBDD20F7B5}"/>
                    </a:ext>
                  </a:extLst>
                </p:cNvPr>
                <p:cNvPicPr>
                  <a:picLocks noChangeAspect="1"/>
                </p:cNvPicPr>
                <p:nvPr/>
              </p:nvPicPr>
              <p:blipFill rotWithShape="1">
                <a:blip r:embed="rId6"/>
                <a:srcRect b="11814"/>
                <a:stretch/>
              </p:blipFill>
              <p:spPr>
                <a:xfrm>
                  <a:off x="4193901" y="3950188"/>
                  <a:ext cx="882368" cy="650504"/>
                </a:xfrm>
                <a:prstGeom prst="rect">
                  <a:avLst/>
                </a:prstGeom>
              </p:spPr>
            </p:pic>
          </p:grpSp>
          <p:grpSp>
            <p:nvGrpSpPr>
              <p:cNvPr id="28" name="Groep 27">
                <a:extLst>
                  <a:ext uri="{FF2B5EF4-FFF2-40B4-BE49-F238E27FC236}">
                    <a16:creationId xmlns:a16="http://schemas.microsoft.com/office/drawing/2014/main" id="{676D17C0-F6AF-4706-BDB4-5A20CE52122E}"/>
                  </a:ext>
                </a:extLst>
              </p:cNvPr>
              <p:cNvGrpSpPr/>
              <p:nvPr/>
            </p:nvGrpSpPr>
            <p:grpSpPr>
              <a:xfrm>
                <a:off x="4641706" y="3716792"/>
                <a:ext cx="1319847" cy="1722148"/>
                <a:chOff x="6592706" y="3782680"/>
                <a:chExt cx="1319848" cy="1722148"/>
              </a:xfrm>
            </p:grpSpPr>
            <p:pic>
              <p:nvPicPr>
                <p:cNvPr id="32" name="Afbeelding 31">
                  <a:extLst>
                    <a:ext uri="{FF2B5EF4-FFF2-40B4-BE49-F238E27FC236}">
                      <a16:creationId xmlns:a16="http://schemas.microsoft.com/office/drawing/2014/main" id="{B3DC96FA-E8BF-4466-9755-5C7F5AB0CEF9}"/>
                    </a:ext>
                  </a:extLst>
                </p:cNvPr>
                <p:cNvPicPr>
                  <a:picLocks noChangeAspect="1"/>
                </p:cNvPicPr>
                <p:nvPr/>
              </p:nvPicPr>
              <p:blipFill rotWithShape="1">
                <a:blip r:embed="rId7"/>
                <a:srcRect b="13443"/>
                <a:stretch/>
              </p:blipFill>
              <p:spPr>
                <a:xfrm>
                  <a:off x="6592706" y="3782680"/>
                  <a:ext cx="1319848" cy="932978"/>
                </a:xfrm>
                <a:prstGeom prst="rect">
                  <a:avLst/>
                </a:prstGeom>
              </p:spPr>
            </p:pic>
            <p:sp>
              <p:nvSpPr>
                <p:cNvPr id="33" name="Tekstvak 32">
                  <a:extLst>
                    <a:ext uri="{FF2B5EF4-FFF2-40B4-BE49-F238E27FC236}">
                      <a16:creationId xmlns:a16="http://schemas.microsoft.com/office/drawing/2014/main" id="{603A9B34-1784-4390-98C1-54A85BC90B73}"/>
                    </a:ext>
                  </a:extLst>
                </p:cNvPr>
                <p:cNvSpPr txBox="1"/>
                <p:nvPr/>
              </p:nvSpPr>
              <p:spPr>
                <a:xfrm>
                  <a:off x="6859693" y="5135496"/>
                  <a:ext cx="8882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Trebuchet MS"/>
                      <a:ea typeface="+mn-ea"/>
                      <a:cs typeface="+mn-cs"/>
                    </a:rPr>
                    <a:t>MDO</a:t>
                  </a:r>
                </a:p>
              </p:txBody>
            </p:sp>
          </p:grpSp>
          <p:grpSp>
            <p:nvGrpSpPr>
              <p:cNvPr id="29" name="Groep 28">
                <a:extLst>
                  <a:ext uri="{FF2B5EF4-FFF2-40B4-BE49-F238E27FC236}">
                    <a16:creationId xmlns:a16="http://schemas.microsoft.com/office/drawing/2014/main" id="{D4510769-377C-4CF6-A5C7-A38786157D6D}"/>
                  </a:ext>
                </a:extLst>
              </p:cNvPr>
              <p:cNvGrpSpPr/>
              <p:nvPr/>
            </p:nvGrpSpPr>
            <p:grpSpPr>
              <a:xfrm>
                <a:off x="125314" y="3854536"/>
                <a:ext cx="1703527" cy="1791758"/>
                <a:chOff x="154810" y="3957772"/>
                <a:chExt cx="1703527" cy="1791758"/>
              </a:xfrm>
            </p:grpSpPr>
            <p:pic>
              <p:nvPicPr>
                <p:cNvPr id="30" name="Afbeelding 29">
                  <a:extLst>
                    <a:ext uri="{FF2B5EF4-FFF2-40B4-BE49-F238E27FC236}">
                      <a16:creationId xmlns:a16="http://schemas.microsoft.com/office/drawing/2014/main" id="{5380D58C-D6A5-4D43-B307-74DC80A6F978}"/>
                    </a:ext>
                  </a:extLst>
                </p:cNvPr>
                <p:cNvPicPr>
                  <a:picLocks noChangeAspect="1"/>
                </p:cNvPicPr>
                <p:nvPr/>
              </p:nvPicPr>
              <p:blipFill rotWithShape="1">
                <a:blip r:embed="rId4"/>
                <a:srcRect l="6577" t="6600" r="6859" b="23400"/>
                <a:stretch/>
              </p:blipFill>
              <p:spPr>
                <a:xfrm>
                  <a:off x="483066" y="3957772"/>
                  <a:ext cx="936104" cy="708531"/>
                </a:xfrm>
                <a:prstGeom prst="rect">
                  <a:avLst/>
                </a:prstGeom>
              </p:spPr>
            </p:pic>
            <p:sp>
              <p:nvSpPr>
                <p:cNvPr id="31" name="Tekstvak 30">
                  <a:extLst>
                    <a:ext uri="{FF2B5EF4-FFF2-40B4-BE49-F238E27FC236}">
                      <a16:creationId xmlns:a16="http://schemas.microsoft.com/office/drawing/2014/main" id="{EBFF1F46-9777-47E8-A28D-AA6B9B5F8C22}"/>
                    </a:ext>
                  </a:extLst>
                </p:cNvPr>
                <p:cNvSpPr txBox="1"/>
                <p:nvPr/>
              </p:nvSpPr>
              <p:spPr>
                <a:xfrm>
                  <a:off x="154810" y="5103199"/>
                  <a:ext cx="17035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Trebuchet MS"/>
                      <a:ea typeface="+mn-ea"/>
                      <a:cs typeface="+mn-cs"/>
                    </a:rPr>
                    <a:t>Verdenking maligniteit</a:t>
                  </a:r>
                </a:p>
              </p:txBody>
            </p:sp>
          </p:grpSp>
        </p:grpSp>
        <p:grpSp>
          <p:nvGrpSpPr>
            <p:cNvPr id="12" name="Groep 11">
              <a:extLst>
                <a:ext uri="{FF2B5EF4-FFF2-40B4-BE49-F238E27FC236}">
                  <a16:creationId xmlns:a16="http://schemas.microsoft.com/office/drawing/2014/main" id="{025C1ACA-43F9-407D-9560-B565897F223C}"/>
                </a:ext>
              </a:extLst>
            </p:cNvPr>
            <p:cNvGrpSpPr/>
            <p:nvPr/>
          </p:nvGrpSpPr>
          <p:grpSpPr>
            <a:xfrm>
              <a:off x="2426478" y="4597788"/>
              <a:ext cx="4485227" cy="1651337"/>
              <a:chOff x="1796990" y="4758591"/>
              <a:chExt cx="4485227" cy="1651337"/>
            </a:xfrm>
          </p:grpSpPr>
          <p:pic>
            <p:nvPicPr>
              <p:cNvPr id="19" name="Afbeelding 18">
                <a:extLst>
                  <a:ext uri="{FF2B5EF4-FFF2-40B4-BE49-F238E27FC236}">
                    <a16:creationId xmlns:a16="http://schemas.microsoft.com/office/drawing/2014/main" id="{C43EABD3-02E3-44D7-9483-FF07E342E0A2}"/>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8205" t="5264" r="2352" b="5264"/>
              <a:stretch/>
            </p:blipFill>
            <p:spPr>
              <a:xfrm>
                <a:off x="1796990" y="4758591"/>
                <a:ext cx="1659694" cy="1651337"/>
              </a:xfrm>
              <a:prstGeom prst="rect">
                <a:avLst/>
              </a:prstGeom>
            </p:spPr>
          </p:pic>
          <p:sp>
            <p:nvSpPr>
              <p:cNvPr id="20" name="Tekstvak 19">
                <a:extLst>
                  <a:ext uri="{FF2B5EF4-FFF2-40B4-BE49-F238E27FC236}">
                    <a16:creationId xmlns:a16="http://schemas.microsoft.com/office/drawing/2014/main" id="{F4027480-CEAE-419B-9D53-E95CE5933F50}"/>
                  </a:ext>
                </a:extLst>
              </p:cNvPr>
              <p:cNvSpPr txBox="1"/>
              <p:nvPr/>
            </p:nvSpPr>
            <p:spPr>
              <a:xfrm>
                <a:off x="3478979" y="5168760"/>
                <a:ext cx="280323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black"/>
                    </a:solidFill>
                    <a:effectLst/>
                    <a:uLnTx/>
                    <a:uFillTx/>
                    <a:latin typeface="Trebuchet MS"/>
                    <a:ea typeface="+mn-ea"/>
                    <a:cs typeface="+mn-cs"/>
                  </a:rPr>
                  <a:t>Expliciet vergaren info doelen en voorkeuren en gezondheids-situatie</a:t>
                </a:r>
              </a:p>
            </p:txBody>
          </p:sp>
        </p:grpSp>
        <p:pic>
          <p:nvPicPr>
            <p:cNvPr id="13" name="Picture 2">
              <a:extLst>
                <a:ext uri="{FF2B5EF4-FFF2-40B4-BE49-F238E27FC236}">
                  <a16:creationId xmlns:a16="http://schemas.microsoft.com/office/drawing/2014/main" id="{A2129DC8-566F-492C-BE97-0F8CA0FA7A1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87730" y="1471210"/>
              <a:ext cx="1169469" cy="109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Rechte verbindingslijn met pijl 13">
              <a:extLst>
                <a:ext uri="{FF2B5EF4-FFF2-40B4-BE49-F238E27FC236}">
                  <a16:creationId xmlns:a16="http://schemas.microsoft.com/office/drawing/2014/main" id="{C418CA7F-E763-4DC9-B97D-0AC237693083}"/>
                </a:ext>
              </a:extLst>
            </p:cNvPr>
            <p:cNvCxnSpPr/>
            <p:nvPr/>
          </p:nvCxnSpPr>
          <p:spPr>
            <a:xfrm flipH="1" flipV="1">
              <a:off x="1907704" y="3487188"/>
              <a:ext cx="615965" cy="11106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BC0F8954-98C0-4D16-AD62-3059354DAD80}"/>
                </a:ext>
              </a:extLst>
            </p:cNvPr>
            <p:cNvCxnSpPr/>
            <p:nvPr/>
          </p:nvCxnSpPr>
          <p:spPr>
            <a:xfrm flipV="1">
              <a:off x="3352789" y="3360468"/>
              <a:ext cx="29309" cy="108082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6" name="Rechte verbindingslijn met pijl 15">
              <a:extLst>
                <a:ext uri="{FF2B5EF4-FFF2-40B4-BE49-F238E27FC236}">
                  <a16:creationId xmlns:a16="http://schemas.microsoft.com/office/drawing/2014/main" id="{5A541FD3-4206-40E9-A526-2626FB2416B5}"/>
                </a:ext>
              </a:extLst>
            </p:cNvPr>
            <p:cNvCxnSpPr/>
            <p:nvPr/>
          </p:nvCxnSpPr>
          <p:spPr>
            <a:xfrm flipV="1">
              <a:off x="4195255" y="3748025"/>
              <a:ext cx="764862" cy="884661"/>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17" name="Afbeelding 16">
              <a:extLst>
                <a:ext uri="{FF2B5EF4-FFF2-40B4-BE49-F238E27FC236}">
                  <a16:creationId xmlns:a16="http://schemas.microsoft.com/office/drawing/2014/main" id="{93C21169-0E22-4E6C-B824-51019AC86220}"/>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532" r="32393" b="24414"/>
            <a:stretch/>
          </p:blipFill>
          <p:spPr>
            <a:xfrm>
              <a:off x="4055499" y="1608093"/>
              <a:ext cx="767953" cy="764624"/>
            </a:xfrm>
            <a:prstGeom prst="rect">
              <a:avLst/>
            </a:prstGeom>
          </p:spPr>
        </p:pic>
        <p:pic>
          <p:nvPicPr>
            <p:cNvPr id="18" name="Afbeelding 17">
              <a:extLst>
                <a:ext uri="{FF2B5EF4-FFF2-40B4-BE49-F238E27FC236}">
                  <a16:creationId xmlns:a16="http://schemas.microsoft.com/office/drawing/2014/main" id="{011AF6EC-EF11-4529-A8EA-038164280AE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532" r="32393" b="24414"/>
            <a:stretch/>
          </p:blipFill>
          <p:spPr>
            <a:xfrm>
              <a:off x="615350" y="1638394"/>
              <a:ext cx="767953" cy="764624"/>
            </a:xfrm>
            <a:prstGeom prst="rect">
              <a:avLst/>
            </a:prstGeom>
          </p:spPr>
        </p:pic>
      </p:grpSp>
    </p:spTree>
    <p:extLst>
      <p:ext uri="{BB962C8B-B14F-4D97-AF65-F5344CB8AC3E}">
        <p14:creationId xmlns:p14="http://schemas.microsoft.com/office/powerpoint/2010/main" val="2291231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txBox="1">
            <a:spLocks/>
          </p:cNvSpPr>
          <p:nvPr/>
        </p:nvSpPr>
        <p:spPr bwMode="auto">
          <a:xfrm>
            <a:off x="2009775" y="436670"/>
            <a:ext cx="8229600" cy="1143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nl-NL" altLang="en-US" sz="3600" b="1" i="0" u="none" strike="noStrike" kern="1200" cap="none" spc="0" normalizeH="0" baseline="0" noProof="0" dirty="0">
                <a:ln>
                  <a:noFill/>
                </a:ln>
                <a:solidFill>
                  <a:srgbClr val="4472C4">
                    <a:lumMod val="50000"/>
                  </a:srgbClr>
                </a:solidFill>
                <a:effectLst/>
                <a:uLnTx/>
                <a:uFillTx/>
                <a:latin typeface="Calibri Light" panose="020F0302020204030204"/>
                <a:ea typeface="+mj-ea"/>
                <a:cs typeface="+mj-cs"/>
              </a:rPr>
              <a:t>Resultaten: behandeladviezen</a:t>
            </a:r>
          </a:p>
        </p:txBody>
      </p:sp>
      <p:grpSp>
        <p:nvGrpSpPr>
          <p:cNvPr id="19" name="Groep 18">
            <a:extLst>
              <a:ext uri="{FF2B5EF4-FFF2-40B4-BE49-F238E27FC236}">
                <a16:creationId xmlns:a16="http://schemas.microsoft.com/office/drawing/2014/main" id="{CBEB4B52-B6D9-4A60-9EA7-DD6F2CD01E13}"/>
              </a:ext>
            </a:extLst>
          </p:cNvPr>
          <p:cNvGrpSpPr/>
          <p:nvPr/>
        </p:nvGrpSpPr>
        <p:grpSpPr>
          <a:xfrm>
            <a:off x="3297969" y="1374857"/>
            <a:ext cx="5653212" cy="4486803"/>
            <a:chOff x="1681857" y="1606443"/>
            <a:chExt cx="5653212" cy="4486803"/>
          </a:xfrm>
        </p:grpSpPr>
        <p:sp>
          <p:nvSpPr>
            <p:cNvPr id="3" name="Afgeronde rechthoek 2"/>
            <p:cNvSpPr/>
            <p:nvPr/>
          </p:nvSpPr>
          <p:spPr>
            <a:xfrm>
              <a:off x="3158356" y="1606443"/>
              <a:ext cx="1533525" cy="857250"/>
            </a:xfrm>
            <a:prstGeom prst="roundRect">
              <a:avLst/>
            </a:prstGeom>
            <a:ln>
              <a:solidFill>
                <a:schemeClr val="tx2"/>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nl-NL" sz="2000" b="1" i="0" u="none" strike="noStrike" kern="1200" cap="none" spc="0" normalizeH="0" baseline="0" noProof="0" dirty="0">
                  <a:ln>
                    <a:noFill/>
                  </a:ln>
                  <a:solidFill>
                    <a:prstClr val="black"/>
                  </a:solidFill>
                  <a:effectLst/>
                  <a:uLnTx/>
                  <a:uFillTx/>
                  <a:latin typeface="Calibri" panose="020F0502020204030204"/>
                  <a:ea typeface="Calibri"/>
                  <a:cs typeface="Times New Roman"/>
                </a:rPr>
                <a:t>250</a:t>
              </a:r>
              <a:r>
                <a:rPr kumimoji="0" lang="nl-NL" sz="1600" b="1" i="0" u="none" strike="noStrike" kern="1200" cap="none" spc="0" normalizeH="0" baseline="0" noProof="0" dirty="0">
                  <a:ln>
                    <a:noFill/>
                  </a:ln>
                  <a:solidFill>
                    <a:prstClr val="black"/>
                  </a:solidFill>
                  <a:effectLst/>
                  <a:uLnTx/>
                  <a:uFillTx/>
                  <a:latin typeface="Calibri" panose="020F0502020204030204"/>
                  <a:ea typeface="Calibri"/>
                  <a:cs typeface="Times New Roman"/>
                </a:rPr>
                <a:t> </a:t>
              </a:r>
              <a:r>
                <a:rPr kumimoji="0" lang="nl-NL" sz="2000" b="1" i="0" u="none" strike="noStrike" kern="1200" cap="none" spc="0" normalizeH="0" baseline="0" noProof="0" dirty="0">
                  <a:ln>
                    <a:noFill/>
                  </a:ln>
                  <a:solidFill>
                    <a:prstClr val="black"/>
                  </a:solidFill>
                  <a:effectLst/>
                  <a:uLnTx/>
                  <a:uFillTx/>
                  <a:latin typeface="Calibri" panose="020F0502020204030204"/>
                  <a:ea typeface="Calibri"/>
                  <a:cs typeface="Times New Roman"/>
                </a:rPr>
                <a:t>patiënten</a:t>
              </a:r>
              <a:endParaRPr kumimoji="0" lang="nl-NL" sz="1600" b="0" i="0" u="none" strike="noStrike" kern="1200" cap="none" spc="0" normalizeH="0" baseline="0" noProof="0" dirty="0">
                <a:ln>
                  <a:noFill/>
                </a:ln>
                <a:solidFill>
                  <a:prstClr val="black"/>
                </a:solidFill>
                <a:effectLst/>
                <a:uLnTx/>
                <a:uFillTx/>
                <a:latin typeface="Calibri" panose="020F0502020204030204"/>
                <a:ea typeface="Calibri"/>
                <a:cs typeface="Times New Roman"/>
              </a:endParaRPr>
            </a:p>
          </p:txBody>
        </p:sp>
        <p:sp>
          <p:nvSpPr>
            <p:cNvPr id="4" name="Afgeronde rechthoek 3"/>
            <p:cNvSpPr/>
            <p:nvPr/>
          </p:nvSpPr>
          <p:spPr>
            <a:xfrm>
              <a:off x="4283968" y="5085184"/>
              <a:ext cx="1784350" cy="1008062"/>
            </a:xfrm>
            <a:prstGeom prst="roundRect">
              <a:avLst/>
            </a:prstGeom>
            <a:ln>
              <a:solidFill>
                <a:schemeClr val="tx2"/>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nl-NL" sz="1400" b="1" i="0" u="none" strike="noStrike" kern="1200" cap="none" spc="0" normalizeH="0" baseline="0" noProof="0" dirty="0">
                  <a:ln>
                    <a:noFill/>
                  </a:ln>
                  <a:solidFill>
                    <a:prstClr val="black"/>
                  </a:solidFill>
                  <a:effectLst/>
                  <a:uLnTx/>
                  <a:uFillTx/>
                  <a:latin typeface="Calibri" panose="020F0502020204030204"/>
                  <a:ea typeface="Calibri"/>
                  <a:cs typeface="Times New Roman"/>
                </a:rPr>
                <a:t>153 (73%) onveranderd</a:t>
              </a:r>
              <a:r>
                <a:rPr kumimoji="0" lang="nl-NL" sz="1400" b="0" i="0" u="none" strike="noStrike" kern="1200" cap="none" spc="0" normalizeH="0" baseline="0" noProof="0" dirty="0">
                  <a:ln>
                    <a:noFill/>
                  </a:ln>
                  <a:solidFill>
                    <a:prstClr val="black"/>
                  </a:solidFill>
                  <a:effectLst/>
                  <a:uLnTx/>
                  <a:uFillTx/>
                  <a:latin typeface="Calibri" panose="020F0502020204030204"/>
                  <a:ea typeface="Calibri"/>
                  <a:cs typeface="Times New Roman"/>
                </a:rPr>
                <a:t> advies t.o.v. tumorwerkgroep</a:t>
              </a:r>
            </a:p>
          </p:txBody>
        </p:sp>
        <p:sp>
          <p:nvSpPr>
            <p:cNvPr id="5" name="Afgeronde rechthoek 4"/>
            <p:cNvSpPr/>
            <p:nvPr/>
          </p:nvSpPr>
          <p:spPr>
            <a:xfrm>
              <a:off x="1681857" y="5085184"/>
              <a:ext cx="1717675" cy="1008062"/>
            </a:xfrm>
            <a:prstGeom prst="roundRect">
              <a:avLst/>
            </a:prstGeom>
            <a:ln>
              <a:solidFill>
                <a:schemeClr val="tx2"/>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nl-NL" sz="1400" b="1" i="0" u="none" strike="noStrike" kern="1200" cap="none" spc="0" normalizeH="0" baseline="0" noProof="0" dirty="0">
                  <a:ln>
                    <a:noFill/>
                  </a:ln>
                  <a:solidFill>
                    <a:prstClr val="black"/>
                  </a:solidFill>
                  <a:effectLst/>
                  <a:uLnTx/>
                  <a:uFillTx/>
                  <a:latin typeface="Calibri" panose="020F0502020204030204"/>
                  <a:ea typeface="Calibri"/>
                  <a:cs typeface="Times New Roman"/>
                </a:rPr>
                <a:t>56 (27%) aangepast advies </a:t>
              </a:r>
              <a:r>
                <a:rPr kumimoji="0" lang="nl-NL" sz="1400" b="0" i="0" u="none" strike="noStrike" kern="1200" cap="none" spc="0" normalizeH="0" baseline="0" noProof="0" dirty="0">
                  <a:ln>
                    <a:noFill/>
                  </a:ln>
                  <a:solidFill>
                    <a:prstClr val="black"/>
                  </a:solidFill>
                  <a:effectLst/>
                  <a:uLnTx/>
                  <a:uFillTx/>
                  <a:latin typeface="Calibri" panose="020F0502020204030204"/>
                  <a:ea typeface="Calibri"/>
                  <a:cs typeface="Times New Roman"/>
                </a:rPr>
                <a:t>t.o.v. tumorwerkgroep</a:t>
              </a:r>
            </a:p>
          </p:txBody>
        </p:sp>
        <p:cxnSp>
          <p:nvCxnSpPr>
            <p:cNvPr id="6" name="Rechte verbindingslijn 5"/>
            <p:cNvCxnSpPr>
              <a:stCxn id="9" idx="2"/>
              <a:endCxn id="5" idx="0"/>
            </p:cNvCxnSpPr>
            <p:nvPr/>
          </p:nvCxnSpPr>
          <p:spPr>
            <a:xfrm flipH="1">
              <a:off x="2540695" y="4612022"/>
              <a:ext cx="1196082" cy="47316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Rechte verbindingslijn 6"/>
            <p:cNvCxnSpPr>
              <a:stCxn id="9" idx="2"/>
              <a:endCxn id="4" idx="0"/>
            </p:cNvCxnSpPr>
            <p:nvPr/>
          </p:nvCxnSpPr>
          <p:spPr>
            <a:xfrm>
              <a:off x="3736777" y="4612022"/>
              <a:ext cx="1439366" cy="47316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 name="Afgeronde rechthoek 7"/>
            <p:cNvSpPr/>
            <p:nvPr/>
          </p:nvSpPr>
          <p:spPr>
            <a:xfrm>
              <a:off x="5076056" y="2463693"/>
              <a:ext cx="2259013" cy="1008063"/>
            </a:xfrm>
            <a:prstGeom prst="roundRect">
              <a:avLst/>
            </a:prstGeom>
            <a:ln>
              <a:solidFill>
                <a:schemeClr val="tx2"/>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nl-NL" sz="1400" b="1" i="0" u="none" strike="noStrike" kern="1200" cap="none" spc="0" normalizeH="0" baseline="0" noProof="0" dirty="0">
                  <a:ln>
                    <a:noFill/>
                  </a:ln>
                  <a:solidFill>
                    <a:prstClr val="black"/>
                  </a:solidFill>
                  <a:effectLst/>
                  <a:uLnTx/>
                  <a:uFillTx/>
                  <a:latin typeface="Calibri" panose="020F0502020204030204"/>
                  <a:ea typeface="Calibri"/>
                  <a:cs typeface="Times New Roman"/>
                </a:rPr>
                <a:t>37 primair ingebracht,        </a:t>
              </a:r>
            </a:p>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Calibri" panose="020F0502020204030204"/>
                  <a:ea typeface="Calibri"/>
                  <a:cs typeface="Times New Roman"/>
                </a:rPr>
                <a:t>1 weigerde behandeling,   </a:t>
              </a:r>
            </a:p>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nl-NL" sz="1400" b="0" i="0" u="none" strike="noStrike" kern="1200" cap="none" spc="0" normalizeH="0" baseline="0" noProof="0" dirty="0">
                  <a:ln>
                    <a:noFill/>
                  </a:ln>
                  <a:solidFill>
                    <a:prstClr val="black"/>
                  </a:solidFill>
                  <a:effectLst/>
                  <a:uLnTx/>
                  <a:uFillTx/>
                  <a:latin typeface="Calibri" panose="020F0502020204030204"/>
                  <a:ea typeface="Calibri"/>
                  <a:cs typeface="Times New Roman"/>
                </a:rPr>
                <a:t>3 missing data</a:t>
              </a:r>
            </a:p>
          </p:txBody>
        </p:sp>
        <p:sp>
          <p:nvSpPr>
            <p:cNvPr id="9" name="Afgeronde rechthoek 8"/>
            <p:cNvSpPr/>
            <p:nvPr/>
          </p:nvSpPr>
          <p:spPr>
            <a:xfrm>
              <a:off x="2843808" y="3754772"/>
              <a:ext cx="1785937" cy="857250"/>
            </a:xfrm>
            <a:prstGeom prst="roundRect">
              <a:avLst/>
            </a:prstGeom>
            <a:ln>
              <a:solidFill>
                <a:schemeClr val="tx2"/>
              </a:solidFill>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auto" latinLnBrk="0" hangingPunct="1">
                <a:lnSpc>
                  <a:spcPct val="115000"/>
                </a:lnSpc>
                <a:spcBef>
                  <a:spcPts val="0"/>
                </a:spcBef>
                <a:spcAft>
                  <a:spcPts val="1000"/>
                </a:spcAft>
                <a:buClrTx/>
                <a:buSzTx/>
                <a:buFontTx/>
                <a:buNone/>
                <a:tabLst/>
                <a:defRPr/>
              </a:pPr>
              <a:r>
                <a:rPr kumimoji="0" lang="nl-NL" sz="1400" b="1" i="0" u="none" strike="noStrike" kern="1200" cap="none" spc="0" normalizeH="0" baseline="0" noProof="0" dirty="0">
                  <a:ln>
                    <a:noFill/>
                  </a:ln>
                  <a:solidFill>
                    <a:prstClr val="black"/>
                  </a:solidFill>
                  <a:effectLst/>
                  <a:uLnTx/>
                  <a:uFillTx/>
                  <a:latin typeface="Calibri" panose="020F0502020204030204"/>
                  <a:ea typeface="Calibri"/>
                  <a:cs typeface="Times New Roman"/>
                </a:rPr>
                <a:t>209 besproken in MDO na TWG</a:t>
              </a:r>
            </a:p>
          </p:txBody>
        </p:sp>
        <p:cxnSp>
          <p:nvCxnSpPr>
            <p:cNvPr id="10" name="Rechte verbindingslijn 9"/>
            <p:cNvCxnSpPr/>
            <p:nvPr/>
          </p:nvCxnSpPr>
          <p:spPr>
            <a:xfrm>
              <a:off x="3920356" y="2463693"/>
              <a:ext cx="4763" cy="1300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Rechte verbindingslijn 10"/>
            <p:cNvCxnSpPr>
              <a:endCxn id="8" idx="1"/>
            </p:cNvCxnSpPr>
            <p:nvPr/>
          </p:nvCxnSpPr>
          <p:spPr>
            <a:xfrm>
              <a:off x="3925119" y="2966931"/>
              <a:ext cx="11509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 name="Groep 12">
            <a:extLst>
              <a:ext uri="{FF2B5EF4-FFF2-40B4-BE49-F238E27FC236}">
                <a16:creationId xmlns:a16="http://schemas.microsoft.com/office/drawing/2014/main" id="{A0D04A23-A396-4CDF-8D44-4F8065DCB7B2}"/>
              </a:ext>
            </a:extLst>
          </p:cNvPr>
          <p:cNvGrpSpPr/>
          <p:nvPr/>
        </p:nvGrpSpPr>
        <p:grpSpPr>
          <a:xfrm>
            <a:off x="1676634" y="5733257"/>
            <a:ext cx="8838732" cy="1031781"/>
            <a:chOff x="152634" y="5733256"/>
            <a:chExt cx="8838732" cy="1031781"/>
          </a:xfrm>
        </p:grpSpPr>
        <p:pic>
          <p:nvPicPr>
            <p:cNvPr id="14" name="Afbeelding 13">
              <a:extLst>
                <a:ext uri="{FF2B5EF4-FFF2-40B4-BE49-F238E27FC236}">
                  <a16:creationId xmlns:a16="http://schemas.microsoft.com/office/drawing/2014/main" id="{61E48C78-4F82-4231-928A-A3A5AA801E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17530" y="5733256"/>
              <a:ext cx="773836" cy="1031781"/>
            </a:xfrm>
            <a:prstGeom prst="rect">
              <a:avLst/>
            </a:prstGeom>
          </p:spPr>
        </p:pic>
        <p:pic>
          <p:nvPicPr>
            <p:cNvPr id="15" name="Picture 4" descr="http://intranet.umcg.nl/huisstijl/images/Huisstijl/logoos/Logokortnaampluskikker.jpg">
              <a:extLst>
                <a:ext uri="{FF2B5EF4-FFF2-40B4-BE49-F238E27FC236}">
                  <a16:creationId xmlns:a16="http://schemas.microsoft.com/office/drawing/2014/main" id="{565D4F3C-8F8C-45EA-A8E3-57CAE2DC993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634" y="5939154"/>
              <a:ext cx="1547664" cy="82588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ep 15">
              <a:extLst>
                <a:ext uri="{FF2B5EF4-FFF2-40B4-BE49-F238E27FC236}">
                  <a16:creationId xmlns:a16="http://schemas.microsoft.com/office/drawing/2014/main" id="{39779187-F23A-411D-87EF-F42643901C08}"/>
                </a:ext>
              </a:extLst>
            </p:cNvPr>
            <p:cNvGrpSpPr/>
            <p:nvPr/>
          </p:nvGrpSpPr>
          <p:grpSpPr>
            <a:xfrm>
              <a:off x="1723946" y="6306375"/>
              <a:ext cx="6520224" cy="45719"/>
              <a:chOff x="1723946" y="6306375"/>
              <a:chExt cx="6520224" cy="45719"/>
            </a:xfrm>
          </p:grpSpPr>
          <p:sp>
            <p:nvSpPr>
              <p:cNvPr id="17" name="Rechthoek 16">
                <a:extLst>
                  <a:ext uri="{FF2B5EF4-FFF2-40B4-BE49-F238E27FC236}">
                    <a16:creationId xmlns:a16="http://schemas.microsoft.com/office/drawing/2014/main" id="{22909765-5ED1-4F2A-B075-DEC7D0B95D51}"/>
                  </a:ext>
                </a:extLst>
              </p:cNvPr>
              <p:cNvSpPr/>
              <p:nvPr/>
            </p:nvSpPr>
            <p:spPr>
              <a:xfrm flipV="1">
                <a:off x="1723946" y="6306375"/>
                <a:ext cx="2991832" cy="45719"/>
              </a:xfrm>
              <a:prstGeom prst="rect">
                <a:avLst/>
              </a:prstGeom>
              <a:solidFill>
                <a:srgbClr val="5D8BB8"/>
              </a:solidFill>
              <a:ln>
                <a:solidFill>
                  <a:srgbClr val="5D8B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Rechte verbindingslijn 17">
                <a:extLst>
                  <a:ext uri="{FF2B5EF4-FFF2-40B4-BE49-F238E27FC236}">
                    <a16:creationId xmlns:a16="http://schemas.microsoft.com/office/drawing/2014/main" id="{6A55AE98-9508-455D-A3B7-C84EA20CABC6}"/>
                  </a:ext>
                </a:extLst>
              </p:cNvPr>
              <p:cNvCxnSpPr>
                <a:cxnSpLocks/>
              </p:cNvCxnSpPr>
              <p:nvPr/>
            </p:nvCxnSpPr>
            <p:spPr>
              <a:xfrm>
                <a:off x="4715778" y="6320635"/>
                <a:ext cx="3528392" cy="22860"/>
              </a:xfrm>
              <a:prstGeom prst="line">
                <a:avLst/>
              </a:prstGeom>
              <a:ln>
                <a:solidFill>
                  <a:srgbClr val="5D8BB8"/>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948916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 y="5972888"/>
            <a:ext cx="817563" cy="81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1">
            <a:extLst>
              <a:ext uri="{FF2B5EF4-FFF2-40B4-BE49-F238E27FC236}">
                <a16:creationId xmlns:a16="http://schemas.microsoft.com/office/drawing/2014/main" id="{F4BEB23C-797B-455E-B8B3-B0FB9B4087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0726" y="5769773"/>
            <a:ext cx="77152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51579" y="1453943"/>
            <a:ext cx="5851748" cy="475069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itel 3"/>
          <p:cNvSpPr>
            <a:spLocks noGrp="1"/>
          </p:cNvSpPr>
          <p:nvPr>
            <p:ph type="title"/>
          </p:nvPr>
        </p:nvSpPr>
        <p:spPr/>
        <p:txBody>
          <a:bodyPr/>
          <a:lstStyle/>
          <a:p>
            <a:pPr algn="l"/>
            <a:r>
              <a:rPr lang="nl-NL" dirty="0">
                <a:solidFill>
                  <a:schemeClr val="accent6">
                    <a:lumMod val="75000"/>
                  </a:schemeClr>
                </a:solidFill>
                <a:effectLst>
                  <a:outerShdw blurRad="38100" dist="38100" dir="2700000" algn="tl">
                    <a:srgbClr val="000000">
                      <a:alpha val="43137"/>
                    </a:srgbClr>
                  </a:outerShdw>
                </a:effectLst>
              </a:rPr>
              <a:t>Geen oversterfte bij terughoudendheid</a:t>
            </a:r>
          </a:p>
        </p:txBody>
      </p:sp>
      <p:sp>
        <p:nvSpPr>
          <p:cNvPr id="10" name="Tekstvak 9"/>
          <p:cNvSpPr txBox="1"/>
          <p:nvPr/>
        </p:nvSpPr>
        <p:spPr>
          <a:xfrm>
            <a:off x="7468411" y="6284124"/>
            <a:ext cx="3312368" cy="461665"/>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black"/>
                </a:solidFill>
                <a:effectLst/>
                <a:uLnTx/>
                <a:uFillTx/>
                <a:latin typeface="Calibri" panose="020F0502020204030204"/>
                <a:ea typeface="+mn-ea"/>
                <a:cs typeface="+mn-cs"/>
              </a:rPr>
              <a:t>Festen et al.  JGO 2021</a:t>
            </a:r>
          </a:p>
        </p:txBody>
      </p:sp>
    </p:spTree>
    <p:extLst>
      <p:ext uri="{BB962C8B-B14F-4D97-AF65-F5344CB8AC3E}">
        <p14:creationId xmlns:p14="http://schemas.microsoft.com/office/powerpoint/2010/main" val="372602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e waarde </a:t>
            </a:r>
          </a:p>
        </p:txBody>
      </p:sp>
      <p:sp>
        <p:nvSpPr>
          <p:cNvPr id="3" name="Tijdelijke aanduiding voor inhoud 2"/>
          <p:cNvSpPr>
            <a:spLocks noGrp="1"/>
          </p:cNvSpPr>
          <p:nvPr>
            <p:ph idx="1"/>
          </p:nvPr>
        </p:nvSpPr>
        <p:spPr/>
        <p:txBody>
          <a:bodyPr/>
          <a:lstStyle/>
          <a:p>
            <a:r>
              <a:rPr lang="nl-NL" dirty="0"/>
              <a:t>Voor meer patiënten de juiste zorg</a:t>
            </a:r>
          </a:p>
          <a:p>
            <a:r>
              <a:rPr lang="nl-NL" dirty="0"/>
              <a:t>Gebruik expertise verpleegkundigen, verminderen afbraak risico</a:t>
            </a:r>
          </a:p>
          <a:p>
            <a:endParaRPr lang="nl-NL" dirty="0"/>
          </a:p>
          <a:p>
            <a:r>
              <a:rPr lang="nl-NL" dirty="0"/>
              <a:t>Optimaal gebruik van mensen en middelen in een schaarste model</a:t>
            </a:r>
          </a:p>
          <a:p>
            <a:pPr marL="0" indent="0">
              <a:buNone/>
            </a:pPr>
            <a:endParaRPr lang="nl-NL"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0493" y="5433632"/>
            <a:ext cx="8839200" cy="1036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71800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sz="4000" b="1" dirty="0"/>
              <a:t>Kosten</a:t>
            </a:r>
            <a:endParaRPr lang="nl-NL" sz="3600" b="1"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7089" y="1604964"/>
            <a:ext cx="5457825" cy="3648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Tabel 4"/>
          <p:cNvGraphicFramePr>
            <a:graphicFrameLocks noGrp="1"/>
          </p:cNvGraphicFramePr>
          <p:nvPr/>
        </p:nvGraphicFramePr>
        <p:xfrm>
          <a:off x="3431704" y="5445224"/>
          <a:ext cx="3240360" cy="762000"/>
        </p:xfrm>
        <a:graphic>
          <a:graphicData uri="http://schemas.openxmlformats.org/drawingml/2006/table">
            <a:tbl>
              <a:tblPr>
                <a:tableStyleId>{5C22544A-7EE6-4342-B048-85BDC9FD1C3A}</a:tableStyleId>
              </a:tblPr>
              <a:tblGrid>
                <a:gridCol w="446946">
                  <a:extLst>
                    <a:ext uri="{9D8B030D-6E8A-4147-A177-3AD203B41FA5}">
                      <a16:colId xmlns:a16="http://schemas.microsoft.com/office/drawing/2014/main" val="20000"/>
                    </a:ext>
                  </a:extLst>
                </a:gridCol>
                <a:gridCol w="2793414">
                  <a:extLst>
                    <a:ext uri="{9D8B030D-6E8A-4147-A177-3AD203B41FA5}">
                      <a16:colId xmlns:a16="http://schemas.microsoft.com/office/drawing/2014/main" val="20001"/>
                    </a:ext>
                  </a:extLst>
                </a:gridCol>
              </a:tblGrid>
              <a:tr h="190500">
                <a:tc>
                  <a:txBody>
                    <a:bodyPr/>
                    <a:lstStyle/>
                    <a:p>
                      <a:pPr algn="l" fontAlgn="b"/>
                      <a:r>
                        <a:rPr lang="nl-NL" sz="1100" u="none" strike="noStrike" dirty="0">
                          <a:effectLst/>
                        </a:rPr>
                        <a:t>-1</a:t>
                      </a:r>
                      <a:endParaRPr lang="nl-NL" sz="1100" b="0" i="0" u="none" strike="noStrike" dirty="0">
                        <a:solidFill>
                          <a:srgbClr val="000000"/>
                        </a:solidFill>
                        <a:effectLst/>
                        <a:latin typeface="Calibri"/>
                      </a:endParaRPr>
                    </a:p>
                  </a:txBody>
                  <a:tcPr marL="9525" marR="9525" marT="9525" marB="0" anchor="b"/>
                </a:tc>
                <a:tc>
                  <a:txBody>
                    <a:bodyPr/>
                    <a:lstStyle/>
                    <a:p>
                      <a:pPr algn="l" fontAlgn="b"/>
                      <a:r>
                        <a:rPr lang="nl-NL" sz="1100" u="none" strike="noStrike" dirty="0">
                          <a:effectLst/>
                        </a:rPr>
                        <a:t>PICNIC cohort (controle)</a:t>
                      </a:r>
                      <a:endParaRPr lang="nl-NL" sz="11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0"/>
                  </a:ext>
                </a:extLst>
              </a:tr>
              <a:tr h="190500">
                <a:tc>
                  <a:txBody>
                    <a:bodyPr/>
                    <a:lstStyle/>
                    <a:p>
                      <a:pPr algn="l" fontAlgn="b"/>
                      <a:r>
                        <a:rPr lang="nl-NL" sz="1100" u="none" strike="noStrike" dirty="0">
                          <a:effectLst/>
                        </a:rPr>
                        <a:t>0</a:t>
                      </a:r>
                      <a:endParaRPr lang="nl-NL" sz="1100" b="0" i="0" u="none" strike="noStrike" dirty="0">
                        <a:solidFill>
                          <a:srgbClr val="000000"/>
                        </a:solidFill>
                        <a:effectLst/>
                        <a:latin typeface="Calibri"/>
                      </a:endParaRPr>
                    </a:p>
                  </a:txBody>
                  <a:tcPr marL="9525" marR="9525" marT="9525" marB="0" anchor="b"/>
                </a:tc>
                <a:tc>
                  <a:txBody>
                    <a:bodyPr/>
                    <a:lstStyle/>
                    <a:p>
                      <a:pPr algn="l" fontAlgn="b"/>
                      <a:r>
                        <a:rPr lang="nl-NL" sz="1100" b="0" i="0" u="none" strike="noStrike" dirty="0">
                          <a:solidFill>
                            <a:schemeClr val="dk1"/>
                          </a:solidFill>
                          <a:effectLst/>
                          <a:latin typeface="+mn-lt"/>
                        </a:rPr>
                        <a:t>MDO</a:t>
                      </a:r>
                      <a:r>
                        <a:rPr lang="nl-NL" sz="1100" b="0" i="0" u="none" strike="noStrike" baseline="0" dirty="0">
                          <a:solidFill>
                            <a:schemeClr val="dk1"/>
                          </a:solidFill>
                          <a:effectLst/>
                          <a:latin typeface="+mn-lt"/>
                        </a:rPr>
                        <a:t> ouderen: behandeladvies niet afwijkend</a:t>
                      </a:r>
                      <a:endParaRPr lang="nl-NL" sz="11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1"/>
                  </a:ext>
                </a:extLst>
              </a:tr>
              <a:tr h="190500">
                <a:tc>
                  <a:txBody>
                    <a:bodyPr/>
                    <a:lstStyle/>
                    <a:p>
                      <a:pPr algn="l" fontAlgn="b"/>
                      <a:r>
                        <a:rPr lang="nl-NL" sz="1100" u="none" strike="noStrike" dirty="0">
                          <a:effectLst/>
                        </a:rPr>
                        <a:t>1</a:t>
                      </a:r>
                      <a:endParaRPr lang="nl-NL" sz="1100" b="0" i="0" u="none" strike="noStrike" dirty="0">
                        <a:solidFill>
                          <a:srgbClr val="000000"/>
                        </a:solidFill>
                        <a:effectLst/>
                        <a:latin typeface="Calibri"/>
                      </a:endParaRPr>
                    </a:p>
                  </a:txBody>
                  <a:tcPr marL="9525" marR="9525" marT="9525" marB="0" anchor="b"/>
                </a:tc>
                <a:tc>
                  <a:txBody>
                    <a:bodyPr/>
                    <a:lstStyle/>
                    <a:p>
                      <a:pPr algn="l" fontAlgn="b"/>
                      <a:r>
                        <a:rPr lang="nl-NL" sz="1100" b="0" i="0" u="none" strike="noStrike" dirty="0">
                          <a:solidFill>
                            <a:schemeClr val="dk1"/>
                          </a:solidFill>
                          <a:effectLst/>
                          <a:latin typeface="+mn-lt"/>
                        </a:rPr>
                        <a:t>MDO</a:t>
                      </a:r>
                      <a:r>
                        <a:rPr lang="nl-NL" sz="1100" b="0" i="0" u="none" strike="noStrike" baseline="0" dirty="0">
                          <a:solidFill>
                            <a:schemeClr val="dk1"/>
                          </a:solidFill>
                          <a:effectLst/>
                          <a:latin typeface="+mn-lt"/>
                        </a:rPr>
                        <a:t> ouderen: behandeladvies afwijkend</a:t>
                      </a:r>
                      <a:endParaRPr lang="nl-NL" sz="1100" b="0" i="0" u="none" strike="noStrike" dirty="0">
                        <a:solidFill>
                          <a:srgbClr val="000000"/>
                        </a:solidFill>
                        <a:effectLst/>
                        <a:latin typeface="+mn-lt"/>
                      </a:endParaRPr>
                    </a:p>
                  </a:txBody>
                  <a:tcPr marL="9525" marR="9525" marT="9525" marB="0" anchor="b"/>
                </a:tc>
                <a:extLst>
                  <a:ext uri="{0D108BD9-81ED-4DB2-BD59-A6C34878D82A}">
                    <a16:rowId xmlns:a16="http://schemas.microsoft.com/office/drawing/2014/main" val="10002"/>
                  </a:ext>
                </a:extLst>
              </a:tr>
              <a:tr h="190500">
                <a:tc>
                  <a:txBody>
                    <a:bodyPr/>
                    <a:lstStyle/>
                    <a:p>
                      <a:pPr algn="l" fontAlgn="b"/>
                      <a:r>
                        <a:rPr lang="nl-NL" sz="1100" u="none" strike="noStrike">
                          <a:effectLst/>
                        </a:rPr>
                        <a:t>3</a:t>
                      </a:r>
                      <a:endParaRPr lang="nl-NL" sz="1100" b="0" i="0" u="none" strike="noStrike">
                        <a:solidFill>
                          <a:srgbClr val="000000"/>
                        </a:solidFill>
                        <a:effectLst/>
                        <a:latin typeface="Calibri"/>
                      </a:endParaRPr>
                    </a:p>
                  </a:txBody>
                  <a:tcPr marL="9525" marR="9525" marT="9525" marB="0" anchor="b"/>
                </a:tc>
                <a:tc>
                  <a:txBody>
                    <a:bodyPr/>
                    <a:lstStyle/>
                    <a:p>
                      <a:pPr algn="l" fontAlgn="b"/>
                      <a:r>
                        <a:rPr lang="nl-NL" sz="1100" u="none" strike="noStrike" dirty="0">
                          <a:effectLst/>
                        </a:rPr>
                        <a:t>Patiënt wil geen behandeling</a:t>
                      </a:r>
                      <a:endParaRPr lang="nl-NL" sz="1100" b="0" i="0" u="none" strike="noStrike" dirty="0">
                        <a:solidFill>
                          <a:srgbClr val="000000"/>
                        </a:solidFill>
                        <a:effectLst/>
                        <a:latin typeface="Calibri"/>
                      </a:endParaRPr>
                    </a:p>
                  </a:txBody>
                  <a:tcPr marL="9525" marR="9525" marT="9525" marB="0" anchor="b"/>
                </a:tc>
                <a:extLst>
                  <a:ext uri="{0D108BD9-81ED-4DB2-BD59-A6C34878D82A}">
                    <a16:rowId xmlns:a16="http://schemas.microsoft.com/office/drawing/2014/main" val="10003"/>
                  </a:ext>
                </a:extLst>
              </a:tr>
            </a:tbl>
          </a:graphicData>
        </a:graphic>
      </p:graphicFrame>
      <p:pic>
        <p:nvPicPr>
          <p:cNvPr id="6" name="Picture 4" descr="http://intranet.umcg.nl/huisstijl/images/Huisstijl/logoos/Logokortnaampluskikker.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0" y="6032118"/>
            <a:ext cx="1547664" cy="825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7130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0" name="Rectangle 1038">
            <a:extLst>
              <a:ext uri="{FF2B5EF4-FFF2-40B4-BE49-F238E27FC236}">
                <a16:creationId xmlns:a16="http://schemas.microsoft.com/office/drawing/2014/main" id="{02D44074-0B69-4F0C-A7B3-5645CE40D8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6" y="0"/>
            <a:ext cx="4657344" cy="6858000"/>
          </a:xfrm>
          <a:prstGeom prst="rect">
            <a:avLst/>
          </a:prstGeom>
          <a:solidFill>
            <a:srgbClr val="679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Afbeelding 5">
            <a:extLst>
              <a:ext uri="{FF2B5EF4-FFF2-40B4-BE49-F238E27FC236}">
                <a16:creationId xmlns:a16="http://schemas.microsoft.com/office/drawing/2014/main" id="{CCB177C1-8296-3175-4354-E1B4D7FFA6F9}"/>
              </a:ext>
            </a:extLst>
          </p:cNvPr>
          <p:cNvPicPr>
            <a:picLocks noChangeAspect="1"/>
          </p:cNvPicPr>
          <p:nvPr/>
        </p:nvPicPr>
        <p:blipFill>
          <a:blip r:embed="rId2"/>
          <a:stretch>
            <a:fillRect/>
          </a:stretch>
        </p:blipFill>
        <p:spPr>
          <a:xfrm>
            <a:off x="659056" y="339231"/>
            <a:ext cx="2420164" cy="1395815"/>
          </a:xfrm>
          <a:prstGeom prst="rect">
            <a:avLst/>
          </a:prstGeom>
        </p:spPr>
      </p:pic>
      <p:pic>
        <p:nvPicPr>
          <p:cNvPr id="5" name="Afbeelding 4">
            <a:extLst>
              <a:ext uri="{FF2B5EF4-FFF2-40B4-BE49-F238E27FC236}">
                <a16:creationId xmlns:a16="http://schemas.microsoft.com/office/drawing/2014/main" id="{32651AAF-910A-EB80-BB8E-19DB2820EBF0}"/>
              </a:ext>
            </a:extLst>
          </p:cNvPr>
          <p:cNvPicPr>
            <a:picLocks noChangeAspect="1"/>
          </p:cNvPicPr>
          <p:nvPr/>
        </p:nvPicPr>
        <p:blipFill>
          <a:blip r:embed="rId3"/>
          <a:stretch>
            <a:fillRect/>
          </a:stretch>
        </p:blipFill>
        <p:spPr>
          <a:xfrm>
            <a:off x="5468937" y="4746624"/>
            <a:ext cx="1555750" cy="787400"/>
          </a:xfrm>
          <a:prstGeom prst="rect">
            <a:avLst/>
          </a:prstGeom>
        </p:spPr>
      </p:pic>
      <p:pic>
        <p:nvPicPr>
          <p:cNvPr id="1030" name="Picture 6" descr="De bronafbeelding bekijken">
            <a:extLst>
              <a:ext uri="{FF2B5EF4-FFF2-40B4-BE49-F238E27FC236}">
                <a16:creationId xmlns:a16="http://schemas.microsoft.com/office/drawing/2014/main" id="{CC355798-DDBB-061F-72AC-6EBF6E6323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0796" y="639763"/>
            <a:ext cx="4047406" cy="919612"/>
          </a:xfrm>
          <a:prstGeom prst="rect">
            <a:avLst/>
          </a:prstGeom>
          <a:extLst>
            <a:ext uri="{909E8E84-426E-40DD-AFC4-6F175D3DCCD1}">
              <a14:hiddenFill xmlns:a14="http://schemas.microsoft.com/office/drawing/2010/main">
                <a:solidFill>
                  <a:srgbClr val="FFFFFF"/>
                </a:solidFill>
              </a14:hiddenFill>
            </a:ext>
          </a:extLst>
        </p:spPr>
      </p:pic>
      <p:pic>
        <p:nvPicPr>
          <p:cNvPr id="1026" name="Picture 2" descr="Het logo van KWF aanvragen | KWF Kankerbestrijding">
            <a:extLst>
              <a:ext uri="{FF2B5EF4-FFF2-40B4-BE49-F238E27FC236}">
                <a16:creationId xmlns:a16="http://schemas.microsoft.com/office/drawing/2014/main" id="{B609BA54-1E6E-F861-EF58-5A4F8C534C6C}"/>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43468" y="1964138"/>
            <a:ext cx="2119313" cy="820738"/>
          </a:xfrm>
          <a:prstGeom prst="rect">
            <a:avLst/>
          </a:prstGeom>
          <a:extLst>
            <a:ext uri="{909E8E84-426E-40DD-AFC4-6F175D3DCCD1}">
              <a14:hiddenFill xmlns:a14="http://schemas.microsoft.com/office/drawing/2010/main">
                <a:solidFill>
                  <a:srgbClr val="FFFFFF"/>
                </a:solidFill>
              </a14:hiddenFill>
            </a:ext>
          </a:extLst>
        </p:spPr>
      </p:pic>
      <p:pic>
        <p:nvPicPr>
          <p:cNvPr id="1034" name="Picture 10" descr="De bronafbeelding bekijken">
            <a:extLst>
              <a:ext uri="{FF2B5EF4-FFF2-40B4-BE49-F238E27FC236}">
                <a16:creationId xmlns:a16="http://schemas.microsoft.com/office/drawing/2014/main" id="{1A1FB4BD-25E9-2900-1B9B-8FCF89226C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9220" y="1960962"/>
            <a:ext cx="4335463" cy="820738"/>
          </a:xfrm>
          <a:prstGeom prst="rect">
            <a:avLst/>
          </a:prstGeom>
          <a:extLst>
            <a:ext uri="{909E8E84-426E-40DD-AFC4-6F175D3DCCD1}">
              <a14:hiddenFill xmlns:a14="http://schemas.microsoft.com/office/drawing/2010/main">
                <a:solidFill>
                  <a:srgbClr val="FFFFFF"/>
                </a:solidFill>
              </a14:hiddenFill>
            </a:ext>
          </a:extLst>
        </p:spPr>
      </p:pic>
      <p:pic>
        <p:nvPicPr>
          <p:cNvPr id="1032" name="Picture 8" descr="De bronafbeelding bekijken">
            <a:extLst>
              <a:ext uri="{FF2B5EF4-FFF2-40B4-BE49-F238E27FC236}">
                <a16:creationId xmlns:a16="http://schemas.microsoft.com/office/drawing/2014/main" id="{F6B1F0C5-7006-9513-8CD7-C1E99C97A3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9275" y="5821163"/>
            <a:ext cx="6523038" cy="863600"/>
          </a:xfrm>
          <a:prstGeom prst="rect">
            <a:avLst/>
          </a:prstGeom>
          <a:extLst>
            <a:ext uri="{909E8E84-426E-40DD-AFC4-6F175D3DCCD1}">
              <a14:hiddenFill xmlns:a14="http://schemas.microsoft.com/office/drawing/2010/main">
                <a:solidFill>
                  <a:srgbClr val="FFFFFF"/>
                </a:solidFill>
              </a14:hiddenFill>
            </a:ext>
          </a:extLst>
        </p:spPr>
      </p:pic>
      <p:pic>
        <p:nvPicPr>
          <p:cNvPr id="7" name="Afbeelding 6">
            <a:extLst>
              <a:ext uri="{FF2B5EF4-FFF2-40B4-BE49-F238E27FC236}">
                <a16:creationId xmlns:a16="http://schemas.microsoft.com/office/drawing/2014/main" id="{D2C0E5A8-013A-28C5-C13B-45A47B5BF385}"/>
              </a:ext>
            </a:extLst>
          </p:cNvPr>
          <p:cNvPicPr>
            <a:picLocks noChangeAspect="1"/>
          </p:cNvPicPr>
          <p:nvPr/>
        </p:nvPicPr>
        <p:blipFill>
          <a:blip r:embed="rId8"/>
          <a:stretch>
            <a:fillRect/>
          </a:stretch>
        </p:blipFill>
        <p:spPr>
          <a:xfrm>
            <a:off x="693739" y="4486669"/>
            <a:ext cx="4473576" cy="1047355"/>
          </a:xfrm>
          <a:prstGeom prst="rect">
            <a:avLst/>
          </a:prstGeom>
        </p:spPr>
      </p:pic>
      <p:pic>
        <p:nvPicPr>
          <p:cNvPr id="4" name="Afbeelding 3">
            <a:extLst>
              <a:ext uri="{FF2B5EF4-FFF2-40B4-BE49-F238E27FC236}">
                <a16:creationId xmlns:a16="http://schemas.microsoft.com/office/drawing/2014/main" id="{F3F76680-6062-BC6C-2F05-C34C5F69ADB4}"/>
              </a:ext>
            </a:extLst>
          </p:cNvPr>
          <p:cNvPicPr>
            <a:picLocks noChangeAspect="1"/>
          </p:cNvPicPr>
          <p:nvPr/>
        </p:nvPicPr>
        <p:blipFill>
          <a:blip r:embed="rId9"/>
          <a:stretch>
            <a:fillRect/>
          </a:stretch>
        </p:blipFill>
        <p:spPr>
          <a:xfrm>
            <a:off x="665163" y="3013967"/>
            <a:ext cx="3105150" cy="1304925"/>
          </a:xfrm>
          <a:prstGeom prst="rect">
            <a:avLst/>
          </a:prstGeom>
        </p:spPr>
      </p:pic>
      <p:pic>
        <p:nvPicPr>
          <p:cNvPr id="1028" name="Picture 4" descr="UMCG intranet">
            <a:extLst>
              <a:ext uri="{FF2B5EF4-FFF2-40B4-BE49-F238E27FC236}">
                <a16:creationId xmlns:a16="http://schemas.microsoft.com/office/drawing/2014/main" id="{3EF8E398-6289-3298-1917-2C8B50FF9E0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80631" y="3040112"/>
            <a:ext cx="3349625" cy="1304925"/>
          </a:xfrm>
          <a:prstGeom prst="rect">
            <a:avLst/>
          </a:prstGeom>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a:xfrm>
            <a:off x="8153399" y="640081"/>
            <a:ext cx="3395133" cy="5574452"/>
          </a:xfrm>
          <a:prstGeom prst="ellipse">
            <a:avLst/>
          </a:prstGeom>
        </p:spPr>
        <p:txBody>
          <a:bodyPr vert="horz" lIns="91440" tIns="45720" rIns="91440" bIns="45720" rtlCol="0" anchor="ctr">
            <a:normAutofit/>
          </a:bodyPr>
          <a:lstStyle/>
          <a:p>
            <a:r>
              <a:rPr lang="en-US" b="1" kern="1200">
                <a:solidFill>
                  <a:srgbClr val="FFFFFF"/>
                </a:solidFill>
                <a:latin typeface="+mj-lt"/>
                <a:ea typeface="+mj-ea"/>
                <a:cs typeface="+mj-cs"/>
              </a:rPr>
              <a:t>Hoe verder?</a:t>
            </a:r>
          </a:p>
        </p:txBody>
      </p:sp>
    </p:spTree>
    <p:extLst>
      <p:ext uri="{BB962C8B-B14F-4D97-AF65-F5344CB8AC3E}">
        <p14:creationId xmlns:p14="http://schemas.microsoft.com/office/powerpoint/2010/main" val="32559821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afbeelding 5"/>
          <p:cNvSpPr>
            <a:spLocks noGrp="1"/>
          </p:cNvSpPr>
          <p:nvPr>
            <p:ph type="pic" sz="quarter" idx="14"/>
          </p:nvPr>
        </p:nvSpPr>
        <p:spPr/>
      </p:sp>
      <p:sp>
        <p:nvSpPr>
          <p:cNvPr id="3" name="Tijdelijke aanduiding voor tekst 2"/>
          <p:cNvSpPr>
            <a:spLocks noGrp="1"/>
          </p:cNvSpPr>
          <p:nvPr>
            <p:ph type="body" sz="quarter" idx="11"/>
          </p:nvPr>
        </p:nvSpPr>
        <p:spPr>
          <a:prstGeom prst="rect">
            <a:avLst/>
          </a:prstGeom>
        </p:spPr>
        <p:txBody>
          <a:bodyPr/>
          <a:lstStyle/>
          <a:p>
            <a:r>
              <a:rPr lang="nl-NL" sz="2116" dirty="0"/>
              <a:t>Hoe financier ik de Intensieve Chronische Zorg Poli?</a:t>
            </a:r>
          </a:p>
        </p:txBody>
      </p:sp>
      <p:sp>
        <p:nvSpPr>
          <p:cNvPr id="4" name="Tijdelijke aanduiding voor datum 3"/>
          <p:cNvSpPr>
            <a:spLocks noGrp="1"/>
          </p:cNvSpPr>
          <p:nvPr>
            <p:ph type="dt" sz="half" idx="2"/>
          </p:nvPr>
        </p:nvSpPr>
        <p:spPr/>
        <p:txBody>
          <a:bodyPr/>
          <a:lstStyle/>
          <a:p>
            <a:pPr algn="l"/>
            <a:fld id="{E7672A57-AC1B-4BFC-954C-4ACF5F26CC59}" type="datetime1">
              <a:rPr lang="nl-NL" smtClean="0"/>
              <a:t>28-9-2022</a:t>
            </a:fld>
            <a:endParaRPr lang="nl-NL" dirty="0"/>
          </a:p>
        </p:txBody>
      </p:sp>
    </p:spTree>
    <p:extLst>
      <p:ext uri="{BB962C8B-B14F-4D97-AF65-F5344CB8AC3E}">
        <p14:creationId xmlns:p14="http://schemas.microsoft.com/office/powerpoint/2010/main" val="251624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tekst 4"/>
          <p:cNvSpPr>
            <a:spLocks noGrp="1"/>
          </p:cNvSpPr>
          <p:nvPr>
            <p:ph type="body" sz="quarter" idx="12"/>
          </p:nvPr>
        </p:nvSpPr>
        <p:spPr/>
        <p:txBody>
          <a:bodyPr/>
          <a:lstStyle/>
          <a:p>
            <a:r>
              <a:rPr lang="nl-NL" dirty="0"/>
              <a:t>Wat ging eraan vooraf?</a:t>
            </a:r>
          </a:p>
        </p:txBody>
      </p:sp>
      <p:sp>
        <p:nvSpPr>
          <p:cNvPr id="4" name="Tijdelijke aanduiding voor datum 3"/>
          <p:cNvSpPr>
            <a:spLocks noGrp="1"/>
          </p:cNvSpPr>
          <p:nvPr>
            <p:ph type="dt" sz="half" idx="4294967295"/>
          </p:nvPr>
        </p:nvSpPr>
        <p:spPr>
          <a:xfrm>
            <a:off x="3731" y="5847101"/>
            <a:ext cx="3546547" cy="366073"/>
          </a:xfrm>
        </p:spPr>
        <p:txBody>
          <a:bodyPr/>
          <a:lstStyle/>
          <a:p>
            <a:pPr algn="l"/>
            <a:fld id="{E7672A57-AC1B-4BFC-954C-4ACF5F26CC59}" type="datetime1">
              <a:rPr lang="nl-NL" smtClean="0"/>
              <a:t>28-9-2022</a:t>
            </a:fld>
            <a:endParaRPr lang="nl-NL" dirty="0"/>
          </a:p>
        </p:txBody>
      </p:sp>
    </p:spTree>
    <p:extLst>
      <p:ext uri="{BB962C8B-B14F-4D97-AF65-F5344CB8AC3E}">
        <p14:creationId xmlns:p14="http://schemas.microsoft.com/office/powerpoint/2010/main" val="113662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sz="quarter" idx="12"/>
          </p:nvPr>
        </p:nvSpPr>
        <p:spPr/>
        <p:txBody>
          <a:bodyPr/>
          <a:lstStyle/>
          <a:p>
            <a:r>
              <a:rPr lang="nl-NL" dirty="0"/>
              <a:t>Droomstrategie </a:t>
            </a:r>
          </a:p>
        </p:txBody>
      </p:sp>
      <p:sp>
        <p:nvSpPr>
          <p:cNvPr id="4" name="Tijdelijke aanduiding voor tekst 3"/>
          <p:cNvSpPr>
            <a:spLocks noGrp="1"/>
          </p:cNvSpPr>
          <p:nvPr>
            <p:ph type="body" sz="quarter" idx="13"/>
          </p:nvPr>
        </p:nvSpPr>
        <p:spPr/>
        <p:txBody>
          <a:bodyPr/>
          <a:lstStyle/>
          <a:p>
            <a:r>
              <a:rPr lang="nl-NL" dirty="0"/>
              <a:t>2015-2020</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Bernhoven had een Droom: Betere Zorg Door Minder Zorg</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Kwaliteit als uitgangspunt</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Invulling geven aan maatschappelijke verantwoordelijkheid</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Zorgkosten verlagen</a:t>
            </a:r>
          </a:p>
          <a:p>
            <a:endParaRPr lang="nl-NL" dirty="0"/>
          </a:p>
          <a:p>
            <a:pPr marL="362720" indent="-362720">
              <a:buFont typeface="Wingdings" panose="05000000000000000000" pitchFamily="2" charset="2"/>
              <a:buChar char="§"/>
            </a:pPr>
            <a:r>
              <a:rPr lang="nl-NL" dirty="0"/>
              <a:t>Borgen continuïteit van zorg in de regio </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18</a:t>
            </a:fld>
            <a:endParaRPr lang="nl-NL" dirty="0"/>
          </a:p>
        </p:txBody>
      </p:sp>
      <p:pic>
        <p:nvPicPr>
          <p:cNvPr id="9" name="Tijdelijke aanduiding voor afbeelding 8"/>
          <p:cNvPicPr>
            <a:picLocks noGrp="1" noChangeAspect="1"/>
          </p:cNvPicPr>
          <p:nvPr>
            <p:ph type="pic" sz="quarter" idx="11"/>
          </p:nvPr>
        </p:nvPicPr>
        <p:blipFill>
          <a:blip r:embed="rId2"/>
          <a:srcRect l="10064" r="10064"/>
          <a:stretch>
            <a:fillRect/>
          </a:stretch>
        </p:blipFill>
        <p:spPr>
          <a:prstGeom prst="rect">
            <a:avLst/>
          </a:prstGeom>
        </p:spPr>
      </p:pic>
    </p:spTree>
    <p:extLst>
      <p:ext uri="{BB962C8B-B14F-4D97-AF65-F5344CB8AC3E}">
        <p14:creationId xmlns:p14="http://schemas.microsoft.com/office/powerpoint/2010/main" val="298318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Droom</a:t>
            </a:r>
          </a:p>
        </p:txBody>
      </p:sp>
      <p:sp>
        <p:nvSpPr>
          <p:cNvPr id="4" name="Tijdelijke aanduiding voor tekst 3"/>
          <p:cNvSpPr>
            <a:spLocks noGrp="1"/>
          </p:cNvSpPr>
          <p:nvPr>
            <p:ph type="body" sz="quarter" idx="13"/>
          </p:nvPr>
        </p:nvSpPr>
        <p:spPr/>
        <p:txBody>
          <a:bodyPr/>
          <a:lstStyle/>
          <a:p>
            <a:r>
              <a:rPr lang="nl-NL" dirty="0"/>
              <a:t>Zinnige Zorg</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100 kwaliteitsinitiatieven</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Dienstverband voor dokters met eigenaarschap</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Meerjarenafspraken met grote zorgverzekeraars</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r>
              <a:rPr lang="nl-NL" dirty="0"/>
              <a:t>Organisatie transformeren volgens 3 kernactiviteiten zodat patiënten-pad beter gevolg wordt</a:t>
            </a:r>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19</a:t>
            </a:fld>
            <a:endParaRPr lang="nl-NL" dirty="0"/>
          </a:p>
        </p:txBody>
      </p:sp>
      <p:pic>
        <p:nvPicPr>
          <p:cNvPr id="7" name="Afbeelding 6"/>
          <p:cNvPicPr>
            <a:picLocks noChangeAspect="1"/>
          </p:cNvPicPr>
          <p:nvPr/>
        </p:nvPicPr>
        <p:blipFill>
          <a:blip r:embed="rId2"/>
          <a:stretch>
            <a:fillRect/>
          </a:stretch>
        </p:blipFill>
        <p:spPr>
          <a:xfrm>
            <a:off x="6857691" y="1816934"/>
            <a:ext cx="4722482" cy="3964574"/>
          </a:xfrm>
          <a:prstGeom prst="rect">
            <a:avLst/>
          </a:prstGeom>
        </p:spPr>
      </p:pic>
      <p:sp>
        <p:nvSpPr>
          <p:cNvPr id="8" name="Ovaal 7"/>
          <p:cNvSpPr/>
          <p:nvPr/>
        </p:nvSpPr>
        <p:spPr>
          <a:xfrm>
            <a:off x="8735312" y="4495367"/>
            <a:ext cx="1092975" cy="14472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Ovaal 8"/>
          <p:cNvSpPr/>
          <p:nvPr/>
        </p:nvSpPr>
        <p:spPr>
          <a:xfrm>
            <a:off x="7238538" y="2029238"/>
            <a:ext cx="1496774" cy="125525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Ovaal 9"/>
          <p:cNvSpPr/>
          <p:nvPr/>
        </p:nvSpPr>
        <p:spPr>
          <a:xfrm>
            <a:off x="6857690" y="3419927"/>
            <a:ext cx="1728932" cy="96724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Ovaal 10"/>
          <p:cNvSpPr/>
          <p:nvPr/>
        </p:nvSpPr>
        <p:spPr>
          <a:xfrm>
            <a:off x="9702551" y="4214901"/>
            <a:ext cx="1344439" cy="13831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293451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anim calcmode="lin" valueType="num">
                                      <p:cBhvr additive="base">
                                        <p:cTn id="19"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txEl>
                                              <p:pRg st="2" end="2"/>
                                            </p:txEl>
                                          </p:spTgt>
                                        </p:tgtEl>
                                        <p:attrNameLst>
                                          <p:attrName>style.visibility</p:attrName>
                                        </p:attrNameLst>
                                      </p:cBhvr>
                                      <p:to>
                                        <p:strVal val="visible"/>
                                      </p:to>
                                    </p:set>
                                    <p:anim calcmode="lin" valueType="num">
                                      <p:cBhvr additive="base">
                                        <p:cTn id="31"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 calcmode="lin" valueType="num">
                                      <p:cBhvr additive="base">
                                        <p:cTn id="37" dur="500" fill="hold"/>
                                        <p:tgtEl>
                                          <p:spTgt spid="10"/>
                                        </p:tgtEl>
                                        <p:attrNameLst>
                                          <p:attrName>ppt_x</p:attrName>
                                        </p:attrNameLst>
                                      </p:cBhvr>
                                      <p:tavLst>
                                        <p:tav tm="0">
                                          <p:val>
                                            <p:strVal val="#ppt_x"/>
                                          </p:val>
                                        </p:tav>
                                        <p:tav tm="100000">
                                          <p:val>
                                            <p:strVal val="#ppt_x"/>
                                          </p:val>
                                        </p:tav>
                                      </p:tavLst>
                                    </p:anim>
                                    <p:anim calcmode="lin" valueType="num">
                                      <p:cBhvr additive="base">
                                        <p:cTn id="3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
                                            <p:txEl>
                                              <p:pRg st="4" end="4"/>
                                            </p:txEl>
                                          </p:spTgt>
                                        </p:tgtEl>
                                        <p:attrNameLst>
                                          <p:attrName>style.visibility</p:attrName>
                                        </p:attrNameLst>
                                      </p:cBhvr>
                                      <p:to>
                                        <p:strVal val="visible"/>
                                      </p:to>
                                    </p:set>
                                    <p:anim calcmode="lin" valueType="num">
                                      <p:cBhvr additive="base">
                                        <p:cTn id="43"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 calcmode="lin" valueType="num">
                                      <p:cBhvr additive="base">
                                        <p:cTn id="49" dur="500" fill="hold"/>
                                        <p:tgtEl>
                                          <p:spTgt spid="11"/>
                                        </p:tgtEl>
                                        <p:attrNameLst>
                                          <p:attrName>ppt_x</p:attrName>
                                        </p:attrNameLst>
                                      </p:cBhvr>
                                      <p:tavLst>
                                        <p:tav tm="0">
                                          <p:val>
                                            <p:strVal val="#ppt_x"/>
                                          </p:val>
                                        </p:tav>
                                        <p:tav tm="100000">
                                          <p:val>
                                            <p:strVal val="#ppt_x"/>
                                          </p:val>
                                        </p:tav>
                                      </p:tavLst>
                                    </p:anim>
                                    <p:anim calcmode="lin" valueType="num">
                                      <p:cBhvr additive="base">
                                        <p:cTn id="5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5">
                                            <p:txEl>
                                              <p:pRg st="6" end="6"/>
                                            </p:txEl>
                                          </p:spTgt>
                                        </p:tgtEl>
                                        <p:attrNameLst>
                                          <p:attrName>style.visibility</p:attrName>
                                        </p:attrNameLst>
                                      </p:cBhvr>
                                      <p:to>
                                        <p:strVal val="visible"/>
                                      </p:to>
                                    </p:set>
                                    <p:anim calcmode="lin" valueType="num">
                                      <p:cBhvr additive="base">
                                        <p:cTn id="5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P spid="8" grpId="0" animBg="1"/>
      <p:bldP spid="9" grpId="0" animBg="1"/>
      <p:bldP spid="10" grpId="0" animBg="1"/>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AEF927-3A23-D9D5-2D8F-DEFCC644C9B8}"/>
              </a:ext>
            </a:extLst>
          </p:cNvPr>
          <p:cNvSpPr>
            <a:spLocks noGrp="1"/>
          </p:cNvSpPr>
          <p:nvPr>
            <p:ph type="title"/>
          </p:nvPr>
        </p:nvSpPr>
        <p:spPr>
          <a:xfrm>
            <a:off x="838200" y="681037"/>
            <a:ext cx="10515600" cy="1009651"/>
          </a:xfrm>
        </p:spPr>
        <p:txBody>
          <a:bodyPr>
            <a:normAutofit/>
          </a:bodyPr>
          <a:lstStyle/>
          <a:p>
            <a:endParaRPr lang="nl-NL" dirty="0"/>
          </a:p>
        </p:txBody>
      </p:sp>
      <p:graphicFrame>
        <p:nvGraphicFramePr>
          <p:cNvPr id="5" name="Tijdelijke aanduiding voor inhoud 2">
            <a:extLst>
              <a:ext uri="{FF2B5EF4-FFF2-40B4-BE49-F238E27FC236}">
                <a16:creationId xmlns:a16="http://schemas.microsoft.com/office/drawing/2014/main" id="{6334F0C0-2AEE-12C0-23BB-8073DEC91665}"/>
              </a:ext>
            </a:extLst>
          </p:cNvPr>
          <p:cNvGraphicFramePr>
            <a:graphicFrameLocks noGrp="1"/>
          </p:cNvGraphicFramePr>
          <p:nvPr>
            <p:ph idx="1"/>
            <p:extLst>
              <p:ext uri="{D42A27DB-BD31-4B8C-83A1-F6EECF244321}">
                <p14:modId xmlns:p14="http://schemas.microsoft.com/office/powerpoint/2010/main" val="191378192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0046768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2"/>
          </p:nvPr>
        </p:nvSpPr>
        <p:spPr/>
        <p:txBody>
          <a:bodyPr/>
          <a:lstStyle/>
          <a:p>
            <a:r>
              <a:rPr lang="nl-NL" dirty="0"/>
              <a:t>Initiatief voor betere zorg: ICZP</a:t>
            </a:r>
          </a:p>
        </p:txBody>
      </p:sp>
    </p:spTree>
    <p:extLst>
      <p:ext uri="{BB962C8B-B14F-4D97-AF65-F5344CB8AC3E}">
        <p14:creationId xmlns:p14="http://schemas.microsoft.com/office/powerpoint/2010/main" val="2175617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Intensieve Chronische Zorg Poli</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Groot deel ziekenhuiszorg (20%) wordt gebruikt door een klein aantal patiënten (1%)</a:t>
            </a:r>
          </a:p>
          <a:p>
            <a:pPr marL="362720" indent="-362720">
              <a:buFont typeface="Wingdings" panose="05000000000000000000" pitchFamily="2" charset="2"/>
              <a:buChar char="§"/>
            </a:pPr>
            <a:r>
              <a:rPr lang="nl-NL" dirty="0"/>
              <a:t>Bernhoven: 65-85 </a:t>
            </a:r>
            <a:r>
              <a:rPr lang="nl-NL" dirty="0" err="1"/>
              <a:t>jr</a:t>
            </a:r>
            <a:r>
              <a:rPr lang="nl-NL" dirty="0"/>
              <a:t>; &gt;3 specialismen; veel herhaalbezoeken en opnames</a:t>
            </a:r>
          </a:p>
          <a:p>
            <a:pPr marL="362720" indent="-362720">
              <a:buFont typeface="Wingdings" panose="05000000000000000000" pitchFamily="2" charset="2"/>
              <a:buChar char="§"/>
            </a:pPr>
            <a:r>
              <a:rPr lang="nl-NL" dirty="0"/>
              <a:t>Dossieranalyse: oververtegenwoordiging van patiënten met COPD en Decomp cordis</a:t>
            </a:r>
          </a:p>
          <a:p>
            <a:pPr marL="362720" indent="-362720">
              <a:buFont typeface="Wingdings" panose="05000000000000000000" pitchFamily="2" charset="2"/>
              <a:buChar char="§"/>
            </a:pPr>
            <a:r>
              <a:rPr lang="nl-NL" dirty="0"/>
              <a:t>Onvoldoende afstemming, monitoring, coördinatie zorgvragen bij multimorbide patiënten</a:t>
            </a:r>
          </a:p>
          <a:p>
            <a:pPr marL="362720" indent="-362720">
              <a:buFont typeface="Wingdings" panose="05000000000000000000" pitchFamily="2" charset="2"/>
              <a:buChar char="§"/>
            </a:pPr>
            <a:r>
              <a:rPr lang="nl-NL" dirty="0"/>
              <a:t>Onvoldoende aandacht voor sociale context, angst, onzekerheid</a:t>
            </a:r>
          </a:p>
          <a:p>
            <a:endParaRPr lang="nl-NL" dirty="0"/>
          </a:p>
          <a:p>
            <a:r>
              <a:rPr lang="nl-NL" dirty="0"/>
              <a:t> </a:t>
            </a:r>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1</a:t>
            </a:fld>
            <a:endParaRPr lang="nl-NL" dirty="0"/>
          </a:p>
        </p:txBody>
      </p:sp>
      <p:pic>
        <p:nvPicPr>
          <p:cNvPr id="7" name="Afbeelding 6"/>
          <p:cNvPicPr>
            <a:picLocks noChangeAspect="1"/>
          </p:cNvPicPr>
          <p:nvPr/>
        </p:nvPicPr>
        <p:blipFill>
          <a:blip r:embed="rId2"/>
          <a:stretch>
            <a:fillRect/>
          </a:stretch>
        </p:blipFill>
        <p:spPr>
          <a:xfrm>
            <a:off x="6248338" y="1981787"/>
            <a:ext cx="5837837" cy="3861181"/>
          </a:xfrm>
          <a:prstGeom prst="rect">
            <a:avLst/>
          </a:prstGeom>
        </p:spPr>
      </p:pic>
    </p:spTree>
    <p:extLst>
      <p:ext uri="{BB962C8B-B14F-4D97-AF65-F5344CB8AC3E}">
        <p14:creationId xmlns:p14="http://schemas.microsoft.com/office/powerpoint/2010/main" val="37259733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Aanpak samen met huisartsen, zorgverzekeraars en cliëntenraad</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Poli met generalistische dokters (internisten en geriaters) en gespecialiseerde verpleegkundigen of verpleegkundig specialisten</a:t>
            </a:r>
          </a:p>
          <a:p>
            <a:pPr marL="362720" indent="-362720">
              <a:buFont typeface="Wingdings" panose="05000000000000000000" pitchFamily="2" charset="2"/>
              <a:buChar char="§"/>
            </a:pPr>
            <a:r>
              <a:rPr lang="nl-NL" dirty="0"/>
              <a:t>Uitgebreide intake patiënt, verzamelen aanvullende informatie, overleg behandelaars en huisarts, voorstel voor zorgplan en eventueel begeleiding</a:t>
            </a:r>
          </a:p>
          <a:p>
            <a:pPr marL="362720" indent="-362720">
              <a:buFont typeface="Wingdings" panose="05000000000000000000" pitchFamily="2" charset="2"/>
              <a:buChar char="§"/>
            </a:pPr>
            <a:r>
              <a:rPr lang="nl-NL" dirty="0"/>
              <a:t>Wetenschappelijk onderzoek door IQ Healthcare Radboud</a:t>
            </a:r>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2</a:t>
            </a:fld>
            <a:endParaRPr lang="nl-NL" dirty="0"/>
          </a:p>
        </p:txBody>
      </p:sp>
      <p:pic>
        <p:nvPicPr>
          <p:cNvPr id="7" name="Afbeelding 6"/>
          <p:cNvPicPr>
            <a:picLocks noChangeAspect="1"/>
          </p:cNvPicPr>
          <p:nvPr/>
        </p:nvPicPr>
        <p:blipFill>
          <a:blip r:embed="rId2"/>
          <a:stretch>
            <a:fillRect/>
          </a:stretch>
        </p:blipFill>
        <p:spPr>
          <a:xfrm>
            <a:off x="6337810" y="2082723"/>
            <a:ext cx="5507571" cy="3645298"/>
          </a:xfrm>
          <a:prstGeom prst="rect">
            <a:avLst/>
          </a:prstGeom>
        </p:spPr>
      </p:pic>
    </p:spTree>
    <p:extLst>
      <p:ext uri="{BB962C8B-B14F-4D97-AF65-F5344CB8AC3E}">
        <p14:creationId xmlns:p14="http://schemas.microsoft.com/office/powerpoint/2010/main" val="1892960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Voorbeeld</a:t>
            </a:r>
          </a:p>
        </p:txBody>
      </p:sp>
      <p:sp>
        <p:nvSpPr>
          <p:cNvPr id="5" name="Tijdelijke aanduiding voor tekst 4"/>
          <p:cNvSpPr>
            <a:spLocks noGrp="1"/>
          </p:cNvSpPr>
          <p:nvPr>
            <p:ph type="body" sz="quarter" idx="14"/>
          </p:nvPr>
        </p:nvSpPr>
        <p:spPr>
          <a:xfrm>
            <a:off x="453767" y="1448604"/>
            <a:ext cx="5642233" cy="4149439"/>
          </a:xfrm>
        </p:spPr>
        <p:txBody>
          <a:bodyPr/>
          <a:lstStyle/>
          <a:p>
            <a:pPr marL="362720" indent="-362720">
              <a:buFont typeface="Wingdings" panose="05000000000000000000" pitchFamily="2" charset="2"/>
              <a:buChar char="§"/>
            </a:pPr>
            <a:r>
              <a:rPr lang="nl-NL" dirty="0"/>
              <a:t>65 jarige vrouw met levercirrhose, chronische nierinsufficiëntie, reuma, diabetes mellitus osteoporose met fracturen heilig- en staartbeen, </a:t>
            </a:r>
            <a:r>
              <a:rPr lang="nl-NL" dirty="0" err="1"/>
              <a:t>heupkop</a:t>
            </a:r>
            <a:r>
              <a:rPr lang="nl-NL" dirty="0"/>
              <a:t> en -hals li, ribben, onderbeen en voet re met veel pijn </a:t>
            </a:r>
          </a:p>
          <a:p>
            <a:pPr marL="362720" indent="-362720">
              <a:buFont typeface="Wingdings" panose="05000000000000000000" pitchFamily="2" charset="2"/>
              <a:buChar char="§"/>
            </a:pPr>
            <a:r>
              <a:rPr lang="nl-NL" dirty="0"/>
              <a:t>Anemie obv angiodysplasieën darm, renaal en bij chronische ziekte</a:t>
            </a:r>
          </a:p>
          <a:p>
            <a:pPr marL="362720" indent="-362720">
              <a:buFont typeface="Wingdings" panose="05000000000000000000" pitchFamily="2" charset="2"/>
              <a:buChar char="§"/>
            </a:pPr>
            <a:r>
              <a:rPr lang="nl-NL" dirty="0"/>
              <a:t>Transfusieproblemen agv irregulaire antistoffen</a:t>
            </a:r>
          </a:p>
          <a:p>
            <a:pPr marL="362720" indent="-362720">
              <a:buFont typeface="Wingdings" panose="05000000000000000000" pitchFamily="2" charset="2"/>
              <a:buChar char="§"/>
            </a:pPr>
            <a:r>
              <a:rPr lang="nl-NL" dirty="0"/>
              <a:t>In 1 jaar tijd 72 poli afspraken, 6 SEH bezoeken en 8 opnames</a:t>
            </a:r>
          </a:p>
          <a:p>
            <a:pPr marL="362720" indent="-362720">
              <a:buFont typeface="Wingdings" panose="05000000000000000000" pitchFamily="2" charset="2"/>
              <a:buChar char="§"/>
            </a:pPr>
            <a:r>
              <a:rPr lang="nl-NL" dirty="0"/>
              <a:t>Over naar palliatieve ondersteunende zorg door huisarts, pijnteam en internist voor consultatie, zonder transfusie, octreotide en talloze bloedonderzoeken </a:t>
            </a:r>
          </a:p>
          <a:p>
            <a:pPr marL="362720" indent="-362720">
              <a:buFont typeface="Wingdings" panose="05000000000000000000" pitchFamily="2" charset="2"/>
              <a:buChar char="§"/>
            </a:pPr>
            <a:endParaRPr lang="nl-NL" dirty="0"/>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3</a:t>
            </a:fld>
            <a:endParaRPr lang="nl-NL" dirty="0"/>
          </a:p>
        </p:txBody>
      </p:sp>
      <p:pic>
        <p:nvPicPr>
          <p:cNvPr id="7" name="Afbeelding 6"/>
          <p:cNvPicPr>
            <a:picLocks noChangeAspect="1"/>
          </p:cNvPicPr>
          <p:nvPr/>
        </p:nvPicPr>
        <p:blipFill>
          <a:blip r:embed="rId2"/>
          <a:stretch>
            <a:fillRect/>
          </a:stretch>
        </p:blipFill>
        <p:spPr>
          <a:xfrm>
            <a:off x="6248338" y="2286464"/>
            <a:ext cx="5642722" cy="3385633"/>
          </a:xfrm>
          <a:prstGeom prst="rect">
            <a:avLst/>
          </a:prstGeom>
        </p:spPr>
      </p:pic>
      <p:pic>
        <p:nvPicPr>
          <p:cNvPr id="10" name="Afbeelding 9"/>
          <p:cNvPicPr>
            <a:picLocks noChangeAspect="1"/>
          </p:cNvPicPr>
          <p:nvPr/>
        </p:nvPicPr>
        <p:blipFill>
          <a:blip r:embed="rId3"/>
          <a:stretch>
            <a:fillRect/>
          </a:stretch>
        </p:blipFill>
        <p:spPr>
          <a:xfrm>
            <a:off x="7543213" y="2139347"/>
            <a:ext cx="3375735" cy="3940038"/>
          </a:xfrm>
          <a:prstGeom prst="rect">
            <a:avLst/>
          </a:prstGeom>
        </p:spPr>
      </p:pic>
    </p:spTree>
    <p:extLst>
      <p:ext uri="{BB962C8B-B14F-4D97-AF65-F5344CB8AC3E}">
        <p14:creationId xmlns:p14="http://schemas.microsoft.com/office/powerpoint/2010/main" val="23072503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a:ln>
            <a:solidFill>
              <a:srgbClr val="811D6C"/>
            </a:solidFill>
          </a:ln>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Evaluatie eerste 28 patiënten</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KPI’s opgesteld voor 12 maanden na inclusie</a:t>
            </a:r>
          </a:p>
          <a:p>
            <a:pPr marL="362720" indent="-362720">
              <a:buFont typeface="Wingdings" panose="05000000000000000000" pitchFamily="2" charset="2"/>
              <a:buChar char="§"/>
            </a:pPr>
            <a:r>
              <a:rPr lang="nl-NL" dirty="0"/>
              <a:t>Evaluatie 6 maanden na inclusie</a:t>
            </a:r>
          </a:p>
          <a:p>
            <a:pPr marL="362720" indent="-362720">
              <a:buFont typeface="Wingdings" panose="05000000000000000000" pitchFamily="2" charset="2"/>
              <a:buChar char="§"/>
            </a:pPr>
            <a:r>
              <a:rPr lang="nl-NL" dirty="0"/>
              <a:t>Vergeleken zijn 6 maanden vóór en 6 maanden ná start ICZP</a:t>
            </a:r>
          </a:p>
          <a:p>
            <a:pPr marL="362720" indent="-362720">
              <a:buFont typeface="Wingdings" panose="05000000000000000000" pitchFamily="2" charset="2"/>
              <a:buChar char="§"/>
            </a:pPr>
            <a:r>
              <a:rPr lang="nl-NL" dirty="0"/>
              <a:t>N=28</a:t>
            </a:r>
          </a:p>
          <a:p>
            <a:pPr marL="362720" indent="-362720">
              <a:buFont typeface="Wingdings" panose="05000000000000000000" pitchFamily="2" charset="2"/>
              <a:buChar char="§"/>
            </a:pPr>
            <a:r>
              <a:rPr lang="nl-NL" dirty="0"/>
              <a:t>Metingen zijn gedaan tijdens de Covid pandemie</a:t>
            </a:r>
          </a:p>
          <a:p>
            <a:pPr marL="362720" indent="-362720">
              <a:buFont typeface="Wingdings" panose="05000000000000000000" pitchFamily="2" charset="2"/>
              <a:buChar char="§"/>
            </a:pPr>
            <a:r>
              <a:rPr lang="nl-NL" dirty="0"/>
              <a:t>Conclusie: zorggebruik neemt over de gehele linie af</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4</a:t>
            </a:fld>
            <a:endParaRPr lang="nl-NL" dirty="0"/>
          </a:p>
        </p:txBody>
      </p:sp>
      <p:pic>
        <p:nvPicPr>
          <p:cNvPr id="7" name="Afbeelding 6"/>
          <p:cNvPicPr>
            <a:picLocks noChangeAspect="1"/>
          </p:cNvPicPr>
          <p:nvPr/>
        </p:nvPicPr>
        <p:blipFill>
          <a:blip r:embed="rId2"/>
          <a:stretch>
            <a:fillRect/>
          </a:stretch>
        </p:blipFill>
        <p:spPr>
          <a:xfrm>
            <a:off x="6008723" y="2658691"/>
            <a:ext cx="6086647" cy="1828057"/>
          </a:xfrm>
          <a:prstGeom prst="rect">
            <a:avLst/>
          </a:prstGeom>
        </p:spPr>
      </p:pic>
      <p:sp>
        <p:nvSpPr>
          <p:cNvPr id="8" name="Ovaal 7"/>
          <p:cNvSpPr/>
          <p:nvPr/>
        </p:nvSpPr>
        <p:spPr>
          <a:xfrm>
            <a:off x="11679321" y="2901038"/>
            <a:ext cx="413229" cy="223286"/>
          </a:xfrm>
          <a:prstGeom prst="ellipse">
            <a:avLst/>
          </a:prstGeom>
          <a:noFill/>
          <a:ln>
            <a:solidFill>
              <a:srgbClr val="811D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Ovaal 8"/>
          <p:cNvSpPr/>
          <p:nvPr/>
        </p:nvSpPr>
        <p:spPr>
          <a:xfrm>
            <a:off x="11633356" y="3570311"/>
            <a:ext cx="444414" cy="468042"/>
          </a:xfrm>
          <a:prstGeom prst="ellipse">
            <a:avLst/>
          </a:prstGeom>
          <a:noFill/>
          <a:ln>
            <a:solidFill>
              <a:srgbClr val="811D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5231455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2"/>
          </p:nvPr>
        </p:nvSpPr>
        <p:spPr/>
        <p:txBody>
          <a:bodyPr/>
          <a:lstStyle/>
          <a:p>
            <a:r>
              <a:rPr lang="nl-NL" dirty="0"/>
              <a:t>Financiering</a:t>
            </a:r>
          </a:p>
        </p:txBody>
      </p:sp>
    </p:spTree>
    <p:extLst>
      <p:ext uri="{BB962C8B-B14F-4D97-AF65-F5344CB8AC3E}">
        <p14:creationId xmlns:p14="http://schemas.microsoft.com/office/powerpoint/2010/main" val="3299206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Financiering</a:t>
            </a:r>
          </a:p>
        </p:txBody>
      </p:sp>
      <p:pic>
        <p:nvPicPr>
          <p:cNvPr id="7" name="Afbeelding 6"/>
          <p:cNvPicPr>
            <a:picLocks noChangeAspect="1"/>
          </p:cNvPicPr>
          <p:nvPr/>
        </p:nvPicPr>
        <p:blipFill>
          <a:blip r:embed="rId3"/>
          <a:stretch>
            <a:fillRect/>
          </a:stretch>
        </p:blipFill>
        <p:spPr>
          <a:xfrm>
            <a:off x="6337811" y="2212703"/>
            <a:ext cx="5594468" cy="3396640"/>
          </a:xfrm>
          <a:prstGeom prst="rect">
            <a:avLst/>
          </a:prstGeom>
        </p:spPr>
      </p:pic>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Tot 2020 budgetfinanciering</a:t>
            </a:r>
          </a:p>
          <a:p>
            <a:pPr marL="362720" indent="-362720">
              <a:buFont typeface="Wingdings" panose="05000000000000000000" pitchFamily="2" charset="2"/>
              <a:buChar char="§"/>
            </a:pPr>
            <a:r>
              <a:rPr lang="nl-NL" dirty="0"/>
              <a:t>Financiëel resultaat Bernhoven kwam in jaren erna door diverse oorzaken onder druk </a:t>
            </a:r>
          </a:p>
          <a:p>
            <a:pPr marL="362720" indent="-362720">
              <a:buFont typeface="Wingdings" panose="05000000000000000000" pitchFamily="2" charset="2"/>
              <a:buChar char="§"/>
            </a:pPr>
            <a:r>
              <a:rPr lang="nl-NL" dirty="0"/>
              <a:t>DBC Multimorbiditeit door algemeen internist wordt door grouper niet geaccepteerd en kan dus niet gedeclareerd worden </a:t>
            </a:r>
          </a:p>
          <a:p>
            <a:pPr marL="362720" indent="-362720">
              <a:buFont typeface="Wingdings" panose="05000000000000000000" pitchFamily="2" charset="2"/>
              <a:buChar char="Ø"/>
            </a:pPr>
            <a:r>
              <a:rPr lang="nl-NL" dirty="0"/>
              <a:t>Onvoldoende verantwoording afleggen over verleende zorg</a:t>
            </a:r>
          </a:p>
          <a:p>
            <a:pPr marL="362720" indent="-362720">
              <a:buFont typeface="Wingdings" panose="05000000000000000000" pitchFamily="2" charset="2"/>
              <a:buChar char="§"/>
            </a:pPr>
            <a:r>
              <a:rPr lang="nl-NL" dirty="0"/>
              <a:t>Er werd besloten dat er in 2022 alleen nog zorg verricht zou worden die betaald werd</a:t>
            </a:r>
          </a:p>
          <a:p>
            <a:pPr marL="362720" indent="-362720">
              <a:buFont typeface="Wingdings" panose="05000000000000000000" pitchFamily="2" charset="2"/>
              <a:buChar char="Ø"/>
            </a:pPr>
            <a:r>
              <a:rPr lang="nl-NL" dirty="0"/>
              <a:t>Poli dreigde opgeheven te worden </a:t>
            </a:r>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6</a:t>
            </a:fld>
            <a:endParaRPr lang="nl-NL" dirty="0"/>
          </a:p>
        </p:txBody>
      </p:sp>
    </p:spTree>
    <p:extLst>
      <p:ext uri="{BB962C8B-B14F-4D97-AF65-F5344CB8AC3E}">
        <p14:creationId xmlns:p14="http://schemas.microsoft.com/office/powerpoint/2010/main" val="9120480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Financiering</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Een subsidieverzoek voor innovatieve zorg werd afgewezen door ZonMW</a:t>
            </a:r>
          </a:p>
          <a:p>
            <a:pPr marL="362720" indent="-362720">
              <a:buFont typeface="Wingdings" panose="05000000000000000000" pitchFamily="2" charset="2"/>
              <a:buChar char="§"/>
            </a:pPr>
            <a:r>
              <a:rPr lang="nl-NL" dirty="0"/>
              <a:t>Overleg met de zorgverzekeraars startte</a:t>
            </a:r>
          </a:p>
          <a:p>
            <a:pPr marL="362720" indent="-362720">
              <a:buFont typeface="Wingdings" panose="05000000000000000000" pitchFamily="2" charset="2"/>
              <a:buChar char="§"/>
            </a:pPr>
            <a:r>
              <a:rPr lang="nl-NL" dirty="0"/>
              <a:t>Gezamenlijk indienen van aanvraag voor innovatieve zorg prestatie bij de NZA </a:t>
            </a:r>
          </a:p>
          <a:p>
            <a:pPr marL="362720" indent="-362720">
              <a:buFont typeface="Wingdings" panose="05000000000000000000" pitchFamily="2" charset="2"/>
              <a:buChar char="§"/>
            </a:pPr>
            <a:r>
              <a:rPr lang="nl-NL" dirty="0"/>
              <a:t>Vergoeding bovenop aanneemsom bij alle zorgverzekeraars</a:t>
            </a:r>
          </a:p>
          <a:p>
            <a:pPr marL="362720" indent="-362720">
              <a:buFont typeface="Wingdings" panose="05000000000000000000" pitchFamily="2" charset="2"/>
              <a:buChar char="§"/>
            </a:pPr>
            <a:r>
              <a:rPr lang="nl-NL" dirty="0"/>
              <a:t>Urgentie voor Bernhoven duidelijk maken vanwege dreigend stopzetten van poli</a:t>
            </a:r>
          </a:p>
          <a:p>
            <a:r>
              <a:rPr lang="nl-NL" dirty="0"/>
              <a:t>	</a:t>
            </a:r>
          </a:p>
          <a:p>
            <a:r>
              <a:rPr lang="nl-NL" dirty="0"/>
              <a:t> </a:t>
            </a:r>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7</a:t>
            </a:fld>
            <a:endParaRPr lang="nl-NL" dirty="0"/>
          </a:p>
        </p:txBody>
      </p:sp>
      <p:pic>
        <p:nvPicPr>
          <p:cNvPr id="7" name="Afbeelding 6"/>
          <p:cNvPicPr>
            <a:picLocks noChangeAspect="1"/>
          </p:cNvPicPr>
          <p:nvPr/>
        </p:nvPicPr>
        <p:blipFill>
          <a:blip r:embed="rId2"/>
          <a:stretch>
            <a:fillRect/>
          </a:stretch>
        </p:blipFill>
        <p:spPr>
          <a:xfrm>
            <a:off x="6337810" y="2236323"/>
            <a:ext cx="5318534" cy="3395119"/>
          </a:xfrm>
          <a:prstGeom prst="rect">
            <a:avLst/>
          </a:prstGeom>
        </p:spPr>
      </p:pic>
    </p:spTree>
    <p:extLst>
      <p:ext uri="{BB962C8B-B14F-4D97-AF65-F5344CB8AC3E}">
        <p14:creationId xmlns:p14="http://schemas.microsoft.com/office/powerpoint/2010/main" val="31447993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sz="quarter" idx="11"/>
          </p:nvPr>
        </p:nvSpPr>
        <p:spPr/>
      </p:sp>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Innovatieve zorgprestatie</a:t>
            </a:r>
          </a:p>
        </p:txBody>
      </p:sp>
      <p:sp>
        <p:nvSpPr>
          <p:cNvPr id="5" name="Tijdelijke aanduiding voor tekst 4"/>
          <p:cNvSpPr>
            <a:spLocks noGrp="1"/>
          </p:cNvSpPr>
          <p:nvPr>
            <p:ph type="body" sz="quarter" idx="14"/>
          </p:nvPr>
        </p:nvSpPr>
        <p:spPr/>
        <p:txBody>
          <a:bodyPr/>
          <a:lstStyle/>
          <a:p>
            <a:pPr marL="362720" indent="-362720">
              <a:buFont typeface="Wingdings" panose="05000000000000000000" pitchFamily="2" charset="2"/>
              <a:buChar char="§"/>
            </a:pPr>
            <a:r>
              <a:rPr lang="nl-NL" dirty="0"/>
              <a:t>Aanvraag samen met VGZ/CZ bij NZA</a:t>
            </a:r>
          </a:p>
          <a:p>
            <a:pPr marL="362720" indent="-362720">
              <a:buFont typeface="Wingdings" panose="05000000000000000000" pitchFamily="2" charset="2"/>
              <a:buChar char="§"/>
            </a:pPr>
            <a:r>
              <a:rPr lang="nl-NL" dirty="0"/>
              <a:t>Beleidsregel: innovatie voor kleinschalige experimenten</a:t>
            </a:r>
          </a:p>
          <a:p>
            <a:pPr marL="362720" indent="-362720">
              <a:buFont typeface="Wingdings" panose="05000000000000000000" pitchFamily="2" charset="2"/>
              <a:buChar char="§"/>
            </a:pPr>
            <a:r>
              <a:rPr lang="nl-NL" dirty="0"/>
              <a:t>Formuleren belang, waarom het niet past binnen bestaande bekostigingssystematiek, wat de doelen zijn, hoe het gemeten wordt, welk tarief wordt voorgesteld en wat looptijd van het experiment is.</a:t>
            </a:r>
          </a:p>
          <a:p>
            <a:pPr marL="362720" indent="-362720">
              <a:buFont typeface="Wingdings" panose="05000000000000000000" pitchFamily="2" charset="2"/>
              <a:buChar char="§"/>
            </a:pPr>
            <a:r>
              <a:rPr lang="nl-NL" dirty="0"/>
              <a:t>Dat doe je niet voor niets =&gt;</a:t>
            </a:r>
          </a:p>
          <a:p>
            <a:pPr marL="362720" indent="-362720">
              <a:buFont typeface="Wingdings" panose="05000000000000000000" pitchFamily="2" charset="2"/>
              <a:buChar char="§"/>
            </a:pPr>
            <a:endParaRPr lang="nl-NL" dirty="0"/>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8</a:t>
            </a:fld>
            <a:endParaRPr lang="nl-NL" dirty="0"/>
          </a:p>
        </p:txBody>
      </p:sp>
      <p:pic>
        <p:nvPicPr>
          <p:cNvPr id="7" name="Afbeelding 6"/>
          <p:cNvPicPr>
            <a:picLocks noChangeAspect="1"/>
          </p:cNvPicPr>
          <p:nvPr/>
        </p:nvPicPr>
        <p:blipFill>
          <a:blip r:embed="rId2"/>
          <a:stretch>
            <a:fillRect/>
          </a:stretch>
        </p:blipFill>
        <p:spPr>
          <a:xfrm>
            <a:off x="5943662" y="2115515"/>
            <a:ext cx="6002504" cy="3293882"/>
          </a:xfrm>
          <a:prstGeom prst="rect">
            <a:avLst/>
          </a:prstGeom>
        </p:spPr>
      </p:pic>
    </p:spTree>
    <p:extLst>
      <p:ext uri="{BB962C8B-B14F-4D97-AF65-F5344CB8AC3E}">
        <p14:creationId xmlns:p14="http://schemas.microsoft.com/office/powerpoint/2010/main" val="4277800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afbeelding 7"/>
          <p:cNvPicPr>
            <a:picLocks noGrp="1" noChangeAspect="1"/>
          </p:cNvPicPr>
          <p:nvPr>
            <p:ph type="pic" sz="quarter" idx="11"/>
          </p:nvPr>
        </p:nvPicPr>
        <p:blipFill>
          <a:blip r:embed="rId2"/>
          <a:srcRect t="2626" b="2626"/>
          <a:stretch>
            <a:fillRect/>
          </a:stretch>
        </p:blipFill>
        <p:spPr>
          <a:prstGeom prst="rect">
            <a:avLst/>
          </a:prstGeom>
        </p:spPr>
      </p:pic>
      <p:sp>
        <p:nvSpPr>
          <p:cNvPr id="3" name="Tijdelijke aanduiding voor tekst 2"/>
          <p:cNvSpPr>
            <a:spLocks noGrp="1"/>
          </p:cNvSpPr>
          <p:nvPr>
            <p:ph type="body" sz="quarter" idx="12"/>
          </p:nvPr>
        </p:nvSpPr>
        <p:spPr/>
        <p:txBody>
          <a:bodyPr/>
          <a:lstStyle/>
          <a:p>
            <a:r>
              <a:rPr lang="nl-NL" dirty="0"/>
              <a:t>ICZP</a:t>
            </a:r>
          </a:p>
        </p:txBody>
      </p:sp>
      <p:sp>
        <p:nvSpPr>
          <p:cNvPr id="4" name="Tijdelijke aanduiding voor tekst 3"/>
          <p:cNvSpPr>
            <a:spLocks noGrp="1"/>
          </p:cNvSpPr>
          <p:nvPr>
            <p:ph type="body" sz="quarter" idx="13"/>
          </p:nvPr>
        </p:nvSpPr>
        <p:spPr/>
        <p:txBody>
          <a:bodyPr/>
          <a:lstStyle/>
          <a:p>
            <a:r>
              <a:rPr lang="nl-NL" dirty="0"/>
              <a:t>Tijdspad NZA aanvraag </a:t>
            </a:r>
          </a:p>
        </p:txBody>
      </p:sp>
      <p:sp>
        <p:nvSpPr>
          <p:cNvPr id="5" name="Tijdelijke aanduiding voor tekst 4"/>
          <p:cNvSpPr>
            <a:spLocks noGrp="1"/>
          </p:cNvSpPr>
          <p:nvPr>
            <p:ph type="body" sz="quarter" idx="14"/>
          </p:nvPr>
        </p:nvSpPr>
        <p:spPr/>
        <p:txBody>
          <a:bodyPr/>
          <a:lstStyle/>
          <a:p>
            <a:endParaRPr lang="nl-NL" dirty="0"/>
          </a:p>
          <a:p>
            <a:pPr marL="362720" indent="-362720">
              <a:buFont typeface="Wingdings" panose="05000000000000000000" pitchFamily="2" charset="2"/>
              <a:buChar char="§"/>
            </a:pPr>
            <a:r>
              <a:rPr lang="nl-NL" dirty="0"/>
              <a:t>December 2020 is eerste aanvraag ingevuld</a:t>
            </a:r>
          </a:p>
          <a:p>
            <a:pPr marL="362720" indent="-362720">
              <a:buFont typeface="Wingdings" panose="05000000000000000000" pitchFamily="2" charset="2"/>
              <a:buChar char="§"/>
            </a:pPr>
            <a:r>
              <a:rPr lang="nl-NL" dirty="0"/>
              <a:t>December 2021 zaten zorgverzekeraar en Bernhoven op één lijn </a:t>
            </a:r>
          </a:p>
          <a:p>
            <a:pPr marL="362720" indent="-362720">
              <a:buFont typeface="Wingdings" panose="05000000000000000000" pitchFamily="2" charset="2"/>
              <a:buChar char="§"/>
            </a:pPr>
            <a:r>
              <a:rPr lang="nl-NL" dirty="0"/>
              <a:t>Eind februari 2022 is aanvraag naar NZA verstuurd</a:t>
            </a:r>
          </a:p>
          <a:p>
            <a:pPr marL="362720" indent="-362720">
              <a:buFont typeface="Wingdings" panose="05000000000000000000" pitchFamily="2" charset="2"/>
              <a:buChar char="§"/>
            </a:pPr>
            <a:r>
              <a:rPr lang="nl-NL" dirty="0"/>
              <a:t>Half juni 2022 zijn er nog aanvullende vragen van de NZA beantwoord</a:t>
            </a:r>
          </a:p>
          <a:p>
            <a:pPr marL="362720" indent="-362720">
              <a:buFont typeface="Wingdings" panose="05000000000000000000" pitchFamily="2" charset="2"/>
              <a:buChar char="§"/>
            </a:pPr>
            <a:r>
              <a:rPr lang="nl-NL" dirty="0"/>
              <a:t>Akkoord 11 juli 2022</a:t>
            </a:r>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a:p>
            <a:pPr marL="362720" indent="-362720">
              <a:buFont typeface="Wingdings" panose="05000000000000000000" pitchFamily="2" charset="2"/>
              <a:buChar char="§"/>
            </a:pPr>
            <a:endParaRPr lang="nl-NL" dirty="0"/>
          </a:p>
        </p:txBody>
      </p:sp>
      <p:sp>
        <p:nvSpPr>
          <p:cNvPr id="6" name="Tijdelijke aanduiding voor dianummer 5"/>
          <p:cNvSpPr>
            <a:spLocks noGrp="1"/>
          </p:cNvSpPr>
          <p:nvPr>
            <p:ph type="sldNum" sz="quarter" idx="4"/>
          </p:nvPr>
        </p:nvSpPr>
        <p:spPr/>
        <p:txBody>
          <a:bodyPr/>
          <a:lstStyle/>
          <a:p>
            <a:fld id="{DEA48755-53D4-44E1-85A2-5F5774932B7A}" type="slidenum">
              <a:rPr lang="nl-NL" smtClean="0"/>
              <a:pPr/>
              <a:t>29</a:t>
            </a:fld>
            <a:endParaRPr lang="nl-NL" dirty="0"/>
          </a:p>
        </p:txBody>
      </p:sp>
    </p:spTree>
    <p:extLst>
      <p:ext uri="{BB962C8B-B14F-4D97-AF65-F5344CB8AC3E}">
        <p14:creationId xmlns:p14="http://schemas.microsoft.com/office/powerpoint/2010/main" val="3683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1F22558B-AD3B-984B-CCC8-EE3D6447EDE9}"/>
              </a:ext>
            </a:extLst>
          </p:cNvPr>
          <p:cNvSpPr/>
          <p:nvPr/>
        </p:nvSpPr>
        <p:spPr>
          <a:xfrm>
            <a:off x="471488" y="1543051"/>
            <a:ext cx="11315700" cy="3062018"/>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kstvak 1">
            <a:extLst>
              <a:ext uri="{FF2B5EF4-FFF2-40B4-BE49-F238E27FC236}">
                <a16:creationId xmlns:a16="http://schemas.microsoft.com/office/drawing/2014/main" id="{CEE2C66F-9C3B-97C5-1388-814D34C1BE1F}"/>
              </a:ext>
            </a:extLst>
          </p:cNvPr>
          <p:cNvSpPr txBox="1"/>
          <p:nvPr/>
        </p:nvSpPr>
        <p:spPr>
          <a:xfrm>
            <a:off x="839788" y="2412340"/>
            <a:ext cx="9929812" cy="1323439"/>
          </a:xfrm>
          <a:prstGeom prst="rect">
            <a:avLst/>
          </a:prstGeom>
          <a:noFill/>
        </p:spPr>
        <p:txBody>
          <a:bodyPr wrap="square" rtlCol="0">
            <a:spAutoFit/>
          </a:bodyPr>
          <a:lstStyle/>
          <a:p>
            <a:r>
              <a:rPr lang="nl-NL" sz="8000" b="1" dirty="0"/>
              <a:t>Wat wil je leren?</a:t>
            </a:r>
          </a:p>
        </p:txBody>
      </p:sp>
      <p:pic>
        <p:nvPicPr>
          <p:cNvPr id="4" name="Graphic 3" descr="Tekenfiguur silhouet">
            <a:extLst>
              <a:ext uri="{FF2B5EF4-FFF2-40B4-BE49-F238E27FC236}">
                <a16:creationId xmlns:a16="http://schemas.microsoft.com/office/drawing/2014/main" id="{68DAB084-B07B-5E58-1F4C-0D00810472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43437" y="1685521"/>
            <a:ext cx="2777075" cy="2777075"/>
          </a:xfrm>
          <a:prstGeom prst="rect">
            <a:avLst/>
          </a:prstGeom>
        </p:spPr>
      </p:pic>
    </p:spTree>
    <p:extLst>
      <p:ext uri="{BB962C8B-B14F-4D97-AF65-F5344CB8AC3E}">
        <p14:creationId xmlns:p14="http://schemas.microsoft.com/office/powerpoint/2010/main" val="1697198988"/>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ndertitel 24">
            <a:extLst>
              <a:ext uri="{FF2B5EF4-FFF2-40B4-BE49-F238E27FC236}">
                <a16:creationId xmlns:a16="http://schemas.microsoft.com/office/drawing/2014/main" id="{62B60BA1-4030-4E5D-8088-2209DAC4863F}"/>
              </a:ext>
            </a:extLst>
          </p:cNvPr>
          <p:cNvSpPr>
            <a:spLocks noGrp="1"/>
          </p:cNvSpPr>
          <p:nvPr>
            <p:ph type="subTitle" idx="15"/>
          </p:nvPr>
        </p:nvSpPr>
        <p:spPr/>
        <p:txBody>
          <a:bodyPr/>
          <a:lstStyle/>
          <a:p>
            <a:r>
              <a:rPr lang="nl-NL" dirty="0"/>
              <a:t>Rutger de Vries – Senior Manager Inkoop regio Noord</a:t>
            </a:r>
          </a:p>
        </p:txBody>
      </p:sp>
      <p:sp>
        <p:nvSpPr>
          <p:cNvPr id="8" name="Titel 7">
            <a:extLst>
              <a:ext uri="{FF2B5EF4-FFF2-40B4-BE49-F238E27FC236}">
                <a16:creationId xmlns:a16="http://schemas.microsoft.com/office/drawing/2014/main" id="{F03DA91A-D3CF-44D7-B7F4-0DB8D21548D2}"/>
              </a:ext>
            </a:extLst>
          </p:cNvPr>
          <p:cNvSpPr>
            <a:spLocks noGrp="1"/>
          </p:cNvSpPr>
          <p:nvPr>
            <p:ph type="title"/>
          </p:nvPr>
        </p:nvSpPr>
        <p:spPr>
          <a:xfrm>
            <a:off x="515938" y="2292718"/>
            <a:ext cx="11456987" cy="2288285"/>
          </a:xfrm>
        </p:spPr>
        <p:txBody>
          <a:bodyPr/>
          <a:lstStyle/>
          <a:p>
            <a:r>
              <a:rPr lang="nl-NL" sz="4000" dirty="0">
                <a:solidFill>
                  <a:schemeClr val="bg1"/>
                </a:solidFill>
              </a:rPr>
              <a:t>Zorg dichterbij voor toekomstbestendige zorg</a:t>
            </a:r>
            <a:endParaRPr lang="en-GB" dirty="0">
              <a:solidFill>
                <a:schemeClr val="bg1"/>
              </a:solidFill>
            </a:endParaRPr>
          </a:p>
        </p:txBody>
      </p:sp>
      <p:pic>
        <p:nvPicPr>
          <p:cNvPr id="12" name="Tijdelijke aanduiding voor afbeelding 10" descr="Afbeelding met persoon, zitten, man, vrouw&#10;&#10;Automatisch gegenereerde beschrijving">
            <a:extLst>
              <a:ext uri="{FF2B5EF4-FFF2-40B4-BE49-F238E27FC236}">
                <a16:creationId xmlns:a16="http://schemas.microsoft.com/office/drawing/2014/main" id="{01E70C44-95E2-430D-A1BA-F2B8E60E825E}"/>
              </a:ext>
            </a:extLst>
          </p:cNvPr>
          <p:cNvPicPr>
            <a:picLocks noGrp="1" noChangeAspect="1"/>
          </p:cNvPicPr>
          <p:nvPr>
            <p:ph type="pic" sz="quarter" idx="14"/>
          </p:nvPr>
        </p:nvPicPr>
        <p:blipFill rotWithShape="1">
          <a:blip r:embed="rId3" cstate="email">
            <a:extLst>
              <a:ext uri="{28A0092B-C50C-407E-A947-70E740481C1C}">
                <a14:useLocalDpi xmlns:a14="http://schemas.microsoft.com/office/drawing/2010/main" val="0"/>
              </a:ext>
            </a:extLst>
          </a:blip>
          <a:srcRect l="35" r="35"/>
          <a:stretch/>
        </p:blipFill>
        <p:spPr>
          <a:xfrm>
            <a:off x="209550" y="219075"/>
            <a:ext cx="11766550" cy="5343525"/>
          </a:xfrm>
        </p:spPr>
      </p:pic>
      <p:sp>
        <p:nvSpPr>
          <p:cNvPr id="7" name="Rechthoek 6">
            <a:extLst>
              <a:ext uri="{FF2B5EF4-FFF2-40B4-BE49-F238E27FC236}">
                <a16:creationId xmlns:a16="http://schemas.microsoft.com/office/drawing/2014/main" id="{3C8DC580-5537-4E4F-A0F9-C2FA8547BEA7}"/>
              </a:ext>
            </a:extLst>
          </p:cNvPr>
          <p:cNvSpPr/>
          <p:nvPr/>
        </p:nvSpPr>
        <p:spPr>
          <a:xfrm>
            <a:off x="497332" y="3002822"/>
            <a:ext cx="9707786" cy="15696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4800" b="1" i="0" u="none" strike="noStrike" kern="1200" cap="none" spc="0" normalizeH="0" baseline="0" noProof="0" dirty="0">
                <a:ln>
                  <a:noFill/>
                </a:ln>
                <a:solidFill>
                  <a:prstClr val="white"/>
                </a:solidFill>
                <a:effectLst/>
                <a:uLnTx/>
                <a:uFillTx/>
                <a:latin typeface="Arial"/>
                <a:ea typeface="+mn-ea"/>
                <a:cs typeface="+mn-cs"/>
              </a:rPr>
              <a:t>Transformatie en innovatie vo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4800" b="1" i="0" u="none" strike="noStrike" kern="1200" cap="none" spc="0" normalizeH="0" baseline="0" noProof="0" dirty="0">
                <a:ln>
                  <a:noFill/>
                </a:ln>
                <a:solidFill>
                  <a:prstClr val="white"/>
                </a:solidFill>
                <a:effectLst/>
                <a:uLnTx/>
                <a:uFillTx/>
                <a:latin typeface="Arial"/>
                <a:ea typeface="+mn-ea"/>
                <a:cs typeface="+mn-cs"/>
              </a:rPr>
              <a:t>toekomstbestendige zorg</a:t>
            </a:r>
          </a:p>
        </p:txBody>
      </p:sp>
      <p:pic>
        <p:nvPicPr>
          <p:cNvPr id="16" name="Afbeelding 15">
            <a:extLst>
              <a:ext uri="{FF2B5EF4-FFF2-40B4-BE49-F238E27FC236}">
                <a16:creationId xmlns:a16="http://schemas.microsoft.com/office/drawing/2014/main" id="{1564C7A2-5BCC-4F4D-879F-FD83D9768A39}"/>
              </a:ext>
            </a:extLst>
          </p:cNvPr>
          <p:cNvPicPr>
            <a:picLocks noChangeAspect="1"/>
          </p:cNvPicPr>
          <p:nvPr/>
        </p:nvPicPr>
        <p:blipFill>
          <a:blip r:embed="rId4"/>
          <a:stretch>
            <a:fillRect/>
          </a:stretch>
        </p:blipFill>
        <p:spPr>
          <a:xfrm>
            <a:off x="515938" y="517525"/>
            <a:ext cx="2213040" cy="701101"/>
          </a:xfrm>
          <a:prstGeom prst="rect">
            <a:avLst/>
          </a:prstGeom>
        </p:spPr>
      </p:pic>
    </p:spTree>
    <p:extLst>
      <p:ext uri="{BB962C8B-B14F-4D97-AF65-F5344CB8AC3E}">
        <p14:creationId xmlns:p14="http://schemas.microsoft.com/office/powerpoint/2010/main" val="60416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9" name="Groep 18">
            <a:extLst>
              <a:ext uri="{FF2B5EF4-FFF2-40B4-BE49-F238E27FC236}">
                <a16:creationId xmlns:a16="http://schemas.microsoft.com/office/drawing/2014/main" id="{1D13D704-E516-4512-A516-C26AC5E5894E}"/>
              </a:ext>
            </a:extLst>
          </p:cNvPr>
          <p:cNvGrpSpPr/>
          <p:nvPr/>
        </p:nvGrpSpPr>
        <p:grpSpPr>
          <a:xfrm rot="21415550">
            <a:off x="1167253" y="1888753"/>
            <a:ext cx="3988579" cy="3257827"/>
            <a:chOff x="6870997" y="597173"/>
            <a:chExt cx="3678516" cy="5257971"/>
          </a:xfrm>
        </p:grpSpPr>
        <p:sp>
          <p:nvSpPr>
            <p:cNvPr id="20" name="Trapezium 19">
              <a:extLst>
                <a:ext uri="{FF2B5EF4-FFF2-40B4-BE49-F238E27FC236}">
                  <a16:creationId xmlns:a16="http://schemas.microsoft.com/office/drawing/2014/main" id="{3324BAE4-4942-4DFA-BCE8-1BCBC40C0A10}"/>
                </a:ext>
              </a:extLst>
            </p:cNvPr>
            <p:cNvSpPr/>
            <p:nvPr/>
          </p:nvSpPr>
          <p:spPr>
            <a:xfrm>
              <a:off x="6870997" y="2344068"/>
              <a:ext cx="3678516" cy="3511076"/>
            </a:xfrm>
            <a:prstGeom prst="trapezoid">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Cirkel: leeg 20">
              <a:extLst>
                <a:ext uri="{FF2B5EF4-FFF2-40B4-BE49-F238E27FC236}">
                  <a16:creationId xmlns:a16="http://schemas.microsoft.com/office/drawing/2014/main" id="{9A6081C2-9FF0-4020-9731-6E88754E4FD2}"/>
                </a:ext>
              </a:extLst>
            </p:cNvPr>
            <p:cNvSpPr/>
            <p:nvPr/>
          </p:nvSpPr>
          <p:spPr>
            <a:xfrm>
              <a:off x="8224803" y="597173"/>
              <a:ext cx="889661" cy="1440002"/>
            </a:xfrm>
            <a:prstGeom prst="donut">
              <a:avLst>
                <a:gd name="adj" fmla="val 18765"/>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Rechthoek 21">
              <a:extLst>
                <a:ext uri="{FF2B5EF4-FFF2-40B4-BE49-F238E27FC236}">
                  <a16:creationId xmlns:a16="http://schemas.microsoft.com/office/drawing/2014/main" id="{7AE81D9A-6B03-4840-8E1B-101374B69485}"/>
                </a:ext>
              </a:extLst>
            </p:cNvPr>
            <p:cNvSpPr/>
            <p:nvPr/>
          </p:nvSpPr>
          <p:spPr>
            <a:xfrm>
              <a:off x="8478285" y="1566863"/>
              <a:ext cx="378816" cy="776276"/>
            </a:xfrm>
            <a:prstGeom prst="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grpSp>
      <p:graphicFrame>
        <p:nvGraphicFramePr>
          <p:cNvPr id="3" name="Object 2" hidden="1">
            <a:extLst>
              <a:ext uri="{FF2B5EF4-FFF2-40B4-BE49-F238E27FC236}">
                <a16:creationId xmlns:a16="http://schemas.microsoft.com/office/drawing/2014/main" id="{1449CB13-22E2-4623-89D9-F00FACA6A0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1449CB13-22E2-4623-89D9-F00FACA6A0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jdelijke aanduiding voor voettekst 10">
            <a:extLst>
              <a:ext uri="{FF2B5EF4-FFF2-40B4-BE49-F238E27FC236}">
                <a16:creationId xmlns:a16="http://schemas.microsoft.com/office/drawing/2014/main" id="{F2A7C3E4-2B3A-4263-A786-FC4289195F4B}"/>
              </a:ext>
            </a:extLst>
          </p:cNvPr>
          <p:cNvSpPr>
            <a:spLocks noGrp="1"/>
          </p:cNvSpPr>
          <p:nvPr>
            <p:ph type="ftr" sz="quarter" idx="11"/>
          </p:nvPr>
        </p:nvSpPr>
        <p:spPr>
          <a:xfrm>
            <a:off x="521553" y="6205854"/>
            <a:ext cx="6273800" cy="22581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002857"/>
                </a:solidFill>
                <a:effectLst/>
                <a:uLnTx/>
                <a:uFillTx/>
                <a:latin typeface="Arial"/>
                <a:ea typeface="+mn-ea"/>
                <a:cs typeface="+mn-cs"/>
              </a:rPr>
              <a:t>1. 46.000 </a:t>
            </a:r>
            <a:r>
              <a:rPr kumimoji="0" lang="nl-NL" sz="1000" b="0" i="0" u="none" strike="noStrike" kern="1200" cap="none" spc="0" normalizeH="0" baseline="0" noProof="0">
                <a:ln>
                  <a:noFill/>
                </a:ln>
                <a:solidFill>
                  <a:srgbClr val="002060"/>
                </a:solidFill>
                <a:effectLst/>
                <a:uLnTx/>
                <a:uFillTx/>
                <a:latin typeface="Arial"/>
                <a:ea typeface="+mn-ea"/>
                <a:cs typeface="+mn-cs"/>
              </a:rPr>
              <a:t>personeelsleden in 2031 (bron: Gupta)</a:t>
            </a:r>
          </a:p>
        </p:txBody>
      </p:sp>
      <p:sp>
        <p:nvSpPr>
          <p:cNvPr id="34" name="Rechthoek 33">
            <a:extLst>
              <a:ext uri="{FF2B5EF4-FFF2-40B4-BE49-F238E27FC236}">
                <a16:creationId xmlns:a16="http://schemas.microsoft.com/office/drawing/2014/main" id="{491EE076-C513-4C11-BB8B-17873162DCAC}"/>
              </a:ext>
            </a:extLst>
          </p:cNvPr>
          <p:cNvSpPr/>
          <p:nvPr/>
        </p:nvSpPr>
        <p:spPr>
          <a:xfrm flipH="1">
            <a:off x="6337849" y="3615578"/>
            <a:ext cx="5332598" cy="2417415"/>
          </a:xfrm>
          <a:prstGeom prst="rect">
            <a:avLst/>
          </a:prstGeom>
          <a:solidFill>
            <a:srgbClr val="DCEBF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itel 7">
            <a:extLst>
              <a:ext uri="{FF2B5EF4-FFF2-40B4-BE49-F238E27FC236}">
                <a16:creationId xmlns:a16="http://schemas.microsoft.com/office/drawing/2014/main" id="{BDFD26FD-D897-45D7-8064-C67F5E685165}"/>
              </a:ext>
            </a:extLst>
          </p:cNvPr>
          <p:cNvSpPr>
            <a:spLocks noGrp="1"/>
          </p:cNvSpPr>
          <p:nvPr>
            <p:ph type="title"/>
          </p:nvPr>
        </p:nvSpPr>
        <p:spPr>
          <a:xfrm>
            <a:off x="515941" y="517525"/>
            <a:ext cx="11091554" cy="488950"/>
          </a:xfrm>
        </p:spPr>
        <p:txBody>
          <a:bodyPr vert="horz"/>
          <a:lstStyle/>
          <a:p>
            <a:r>
              <a:rPr lang="nl-NL" sz="2400"/>
              <a:t>Toegankelijkheid, kwaliteit en betaalbaarheid staan onder druk in 2030</a:t>
            </a:r>
          </a:p>
        </p:txBody>
      </p:sp>
      <p:sp>
        <p:nvSpPr>
          <p:cNvPr id="10" name="Tijdelijke aanduiding voor tekst 9">
            <a:extLst>
              <a:ext uri="{FF2B5EF4-FFF2-40B4-BE49-F238E27FC236}">
                <a16:creationId xmlns:a16="http://schemas.microsoft.com/office/drawing/2014/main" id="{6268DA1C-7A10-4515-B64C-C0AA8B9C54B7}"/>
              </a:ext>
            </a:extLst>
          </p:cNvPr>
          <p:cNvSpPr>
            <a:spLocks noGrp="1"/>
          </p:cNvSpPr>
          <p:nvPr>
            <p:ph type="body" sz="quarter" idx="13"/>
          </p:nvPr>
        </p:nvSpPr>
        <p:spPr>
          <a:xfrm>
            <a:off x="6788253" y="3675667"/>
            <a:ext cx="4226780" cy="2263184"/>
          </a:xfrm>
        </p:spPr>
        <p:txBody>
          <a:bodyPr>
            <a:spAutoFit/>
          </a:bodyPr>
          <a:lstStyle/>
          <a:p>
            <a:r>
              <a:rPr lang="nl-NL" sz="1600"/>
              <a:t>Voor onze verzekerden betekent dit:</a:t>
            </a:r>
          </a:p>
          <a:p>
            <a:pPr marL="285750" indent="-285750">
              <a:lnSpc>
                <a:spcPct val="100000"/>
              </a:lnSpc>
              <a:buFont typeface="Arial" panose="020B0604020202020204" pitchFamily="34" charset="0"/>
              <a:buChar char="•"/>
            </a:pPr>
            <a:r>
              <a:rPr lang="nl-NL" sz="1600" b="0"/>
              <a:t>Lang wachten op zorg</a:t>
            </a:r>
          </a:p>
          <a:p>
            <a:pPr marL="285750" indent="-285750">
              <a:lnSpc>
                <a:spcPct val="100000"/>
              </a:lnSpc>
              <a:buFont typeface="Arial" panose="020B0604020202020204" pitchFamily="34" charset="0"/>
              <a:buChar char="•"/>
            </a:pPr>
            <a:r>
              <a:rPr lang="nl-NL" sz="1600" b="0"/>
              <a:t>Een sterk uitgeklede basisverzekering (als de politiek durft te kiezen)</a:t>
            </a:r>
          </a:p>
          <a:p>
            <a:pPr marL="285750" indent="-285750">
              <a:lnSpc>
                <a:spcPct val="100000"/>
              </a:lnSpc>
              <a:buFont typeface="Arial" panose="020B0604020202020204" pitchFamily="34" charset="0"/>
              <a:buChar char="•"/>
            </a:pPr>
            <a:r>
              <a:rPr lang="nl-NL" sz="1600" b="0"/>
              <a:t>Verschraling van zorg</a:t>
            </a:r>
          </a:p>
          <a:p>
            <a:pPr marL="285750" indent="-285750">
              <a:lnSpc>
                <a:spcPct val="100000"/>
              </a:lnSpc>
              <a:buFont typeface="Arial" panose="020B0604020202020204" pitchFamily="34" charset="0"/>
              <a:buChar char="•"/>
            </a:pPr>
            <a:r>
              <a:rPr lang="nl-NL" sz="1600" b="0"/>
              <a:t>Andere basisvoorzieningen in verdrukking door hoge kosten zorg</a:t>
            </a:r>
          </a:p>
        </p:txBody>
      </p:sp>
      <p:pic>
        <p:nvPicPr>
          <p:cNvPr id="14" name="Graphic 13">
            <a:extLst>
              <a:ext uri="{FF2B5EF4-FFF2-40B4-BE49-F238E27FC236}">
                <a16:creationId xmlns:a16="http://schemas.microsoft.com/office/drawing/2014/main" id="{699688E5-6BEE-4AA4-841E-F86B2E82D7B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36119" y="5451474"/>
            <a:ext cx="687003" cy="687003"/>
          </a:xfrm>
          <a:prstGeom prst="rect">
            <a:avLst/>
          </a:prstGeom>
        </p:spPr>
      </p:pic>
      <p:grpSp>
        <p:nvGrpSpPr>
          <p:cNvPr id="15" name="Groep 14">
            <a:extLst>
              <a:ext uri="{FF2B5EF4-FFF2-40B4-BE49-F238E27FC236}">
                <a16:creationId xmlns:a16="http://schemas.microsoft.com/office/drawing/2014/main" id="{56A3C8DA-C481-41E9-ACEF-2DBC0100F3E2}"/>
              </a:ext>
            </a:extLst>
          </p:cNvPr>
          <p:cNvGrpSpPr/>
          <p:nvPr/>
        </p:nvGrpSpPr>
        <p:grpSpPr>
          <a:xfrm>
            <a:off x="3057345" y="5551648"/>
            <a:ext cx="575423" cy="575423"/>
            <a:chOff x="2022869" y="4045963"/>
            <a:chExt cx="575423" cy="575423"/>
          </a:xfrm>
        </p:grpSpPr>
        <p:pic>
          <p:nvPicPr>
            <p:cNvPr id="16" name="Afbeelding 15">
              <a:extLst>
                <a:ext uri="{FF2B5EF4-FFF2-40B4-BE49-F238E27FC236}">
                  <a16:creationId xmlns:a16="http://schemas.microsoft.com/office/drawing/2014/main" id="{B1F425F1-EB90-4498-B6BB-48BF5489E2B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22869" y="4045963"/>
              <a:ext cx="575423" cy="575423"/>
            </a:xfrm>
            <a:prstGeom prst="rect">
              <a:avLst/>
            </a:prstGeom>
          </p:spPr>
        </p:pic>
        <p:pic>
          <p:nvPicPr>
            <p:cNvPr id="18" name="Graphic 17">
              <a:extLst>
                <a:ext uri="{FF2B5EF4-FFF2-40B4-BE49-F238E27FC236}">
                  <a16:creationId xmlns:a16="http://schemas.microsoft.com/office/drawing/2014/main" id="{C52E559F-3E30-441E-B029-7304233A0E3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30647" t="26023" r="36021" b="43869"/>
            <a:stretch/>
          </p:blipFill>
          <p:spPr>
            <a:xfrm>
              <a:off x="2311162" y="4180630"/>
              <a:ext cx="189257" cy="170941"/>
            </a:xfrm>
            <a:prstGeom prst="rect">
              <a:avLst/>
            </a:prstGeom>
          </p:spPr>
        </p:pic>
      </p:grpSp>
      <p:grpSp>
        <p:nvGrpSpPr>
          <p:cNvPr id="23" name="Groep 22">
            <a:extLst>
              <a:ext uri="{FF2B5EF4-FFF2-40B4-BE49-F238E27FC236}">
                <a16:creationId xmlns:a16="http://schemas.microsoft.com/office/drawing/2014/main" id="{12A66A8F-22E6-458A-9FDA-3787A21EE51E}"/>
              </a:ext>
            </a:extLst>
          </p:cNvPr>
          <p:cNvGrpSpPr/>
          <p:nvPr/>
        </p:nvGrpSpPr>
        <p:grpSpPr>
          <a:xfrm>
            <a:off x="694853" y="4767852"/>
            <a:ext cx="5106460" cy="1583439"/>
            <a:chOff x="320633" y="1974764"/>
            <a:chExt cx="5106460" cy="1583439"/>
          </a:xfrm>
        </p:grpSpPr>
        <p:pic>
          <p:nvPicPr>
            <p:cNvPr id="24" name="Afbeelding 23" descr="Afbeelding met silhouet, donker&#10;&#10;Automatisch gegenereerde beschrijving">
              <a:extLst>
                <a:ext uri="{FF2B5EF4-FFF2-40B4-BE49-F238E27FC236}">
                  <a16:creationId xmlns:a16="http://schemas.microsoft.com/office/drawing/2014/main" id="{8E39D0AF-4EA0-4254-8BF7-955999E6DB7E}"/>
                </a:ext>
              </a:extLst>
            </p:cNvPr>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408024" y="2436866"/>
              <a:ext cx="1121337" cy="1121337"/>
            </a:xfrm>
            <a:prstGeom prst="rect">
              <a:avLst/>
            </a:prstGeom>
          </p:spPr>
        </p:pic>
        <p:grpSp>
          <p:nvGrpSpPr>
            <p:cNvPr id="25" name="Groep 24">
              <a:extLst>
                <a:ext uri="{FF2B5EF4-FFF2-40B4-BE49-F238E27FC236}">
                  <a16:creationId xmlns:a16="http://schemas.microsoft.com/office/drawing/2014/main" id="{BA145CE1-7661-4D65-94B8-D8B96BB50167}"/>
                </a:ext>
              </a:extLst>
            </p:cNvPr>
            <p:cNvGrpSpPr/>
            <p:nvPr/>
          </p:nvGrpSpPr>
          <p:grpSpPr>
            <a:xfrm>
              <a:off x="320633" y="1974764"/>
              <a:ext cx="5106460" cy="1294211"/>
              <a:chOff x="293197" y="1952350"/>
              <a:chExt cx="5106460" cy="1294211"/>
            </a:xfrm>
          </p:grpSpPr>
          <p:pic>
            <p:nvPicPr>
              <p:cNvPr id="26" name="Afbeelding 25" descr="Afbeelding met tekst, nachthemel&#10;&#10;Automatisch gegenereerde beschrijving">
                <a:extLst>
                  <a:ext uri="{FF2B5EF4-FFF2-40B4-BE49-F238E27FC236}">
                    <a16:creationId xmlns:a16="http://schemas.microsoft.com/office/drawing/2014/main" id="{24C95BAE-2747-49BE-8253-32B4DF6932A9}"/>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colorTemperature colorTemp="11200"/>
                        </a14:imgEffect>
                      </a14:imgLayer>
                    </a14:imgProps>
                  </a:ext>
                  <a:ext uri="{28A0092B-C50C-407E-A947-70E740481C1C}">
                    <a14:useLocalDpi xmlns:a14="http://schemas.microsoft.com/office/drawing/2010/main" val="0"/>
                  </a:ext>
                </a:extLst>
              </a:blip>
              <a:stretch>
                <a:fillRect/>
              </a:stretch>
            </p:blipFill>
            <p:spPr>
              <a:xfrm rot="3158824">
                <a:off x="4278320" y="1952350"/>
                <a:ext cx="1121337" cy="1121337"/>
              </a:xfrm>
              <a:prstGeom prst="rect">
                <a:avLst/>
              </a:prstGeom>
            </p:spPr>
          </p:pic>
          <p:pic>
            <p:nvPicPr>
              <p:cNvPr id="27" name="Afbeelding 26" descr="Afbeelding met tekst, nachthemel&#10;&#10;Automatisch gegenereerde beschrijving">
                <a:extLst>
                  <a:ext uri="{FF2B5EF4-FFF2-40B4-BE49-F238E27FC236}">
                    <a16:creationId xmlns:a16="http://schemas.microsoft.com/office/drawing/2014/main" id="{D0D02BA7-2009-4695-95B1-3F432D9FC641}"/>
                  </a:ext>
                </a:extLst>
              </p:cNvPr>
              <p:cNvPicPr>
                <a:picLocks noChangeAspect="1"/>
              </p:cNvPicPr>
              <p:nvPr/>
            </p:nvPicPr>
            <p:blipFill rotWithShape="1">
              <a:blip r:embed="rId14">
                <a:duotone>
                  <a:schemeClr val="accent1">
                    <a:shade val="45000"/>
                    <a:satMod val="135000"/>
                  </a:schemeClr>
                  <a:prstClr val="white"/>
                </a:duotone>
                <a:extLst>
                  <a:ext uri="{28A0092B-C50C-407E-A947-70E740481C1C}">
                    <a14:useLocalDpi xmlns:a14="http://schemas.microsoft.com/office/drawing/2010/main" val="0"/>
                  </a:ext>
                </a:extLst>
              </a:blip>
              <a:srcRect l="48175"/>
              <a:stretch/>
            </p:blipFill>
            <p:spPr>
              <a:xfrm rot="4813740">
                <a:off x="1737621" y="2130618"/>
                <a:ext cx="581132" cy="1121337"/>
              </a:xfrm>
              <a:prstGeom prst="rect">
                <a:avLst/>
              </a:prstGeom>
            </p:spPr>
          </p:pic>
          <p:pic>
            <p:nvPicPr>
              <p:cNvPr id="28" name="Afbeelding 27" descr="Afbeelding met tekst, nachthemel&#10;&#10;Automatisch gegenereerde beschrijving">
                <a:extLst>
                  <a:ext uri="{FF2B5EF4-FFF2-40B4-BE49-F238E27FC236}">
                    <a16:creationId xmlns:a16="http://schemas.microsoft.com/office/drawing/2014/main" id="{A647FDE0-30F3-4223-9E60-878412D4B667}"/>
                  </a:ext>
                </a:extLst>
              </p:cNvPr>
              <p:cNvPicPr>
                <a:picLocks noChangeAspect="1"/>
              </p:cNvPicPr>
              <p:nvPr/>
            </p:nvPicPr>
            <p:blipFill rotWithShape="1">
              <a:blip r:embed="rId14">
                <a:duotone>
                  <a:schemeClr val="accent1">
                    <a:shade val="45000"/>
                    <a:satMod val="135000"/>
                  </a:schemeClr>
                  <a:prstClr val="white"/>
                </a:duotone>
                <a:extLst>
                  <a:ext uri="{28A0092B-C50C-407E-A947-70E740481C1C}">
                    <a14:useLocalDpi xmlns:a14="http://schemas.microsoft.com/office/drawing/2010/main" val="0"/>
                  </a:ext>
                </a:extLst>
              </a:blip>
              <a:srcRect b="44942"/>
              <a:stretch/>
            </p:blipFill>
            <p:spPr>
              <a:xfrm>
                <a:off x="3152796" y="2629175"/>
                <a:ext cx="1121337" cy="617386"/>
              </a:xfrm>
              <a:prstGeom prst="rect">
                <a:avLst/>
              </a:prstGeom>
            </p:spPr>
          </p:pic>
          <p:sp>
            <p:nvSpPr>
              <p:cNvPr id="29" name="Vrije vorm: vorm 28">
                <a:extLst>
                  <a:ext uri="{FF2B5EF4-FFF2-40B4-BE49-F238E27FC236}">
                    <a16:creationId xmlns:a16="http://schemas.microsoft.com/office/drawing/2014/main" id="{F28B6FEE-ECCE-4E26-99B4-3B26C616D8D1}"/>
                  </a:ext>
                </a:extLst>
              </p:cNvPr>
              <p:cNvSpPr/>
              <p:nvPr/>
            </p:nvSpPr>
            <p:spPr>
              <a:xfrm>
                <a:off x="609324" y="2228252"/>
                <a:ext cx="4530436" cy="1018309"/>
              </a:xfrm>
              <a:custGeom>
                <a:avLst/>
                <a:gdLst>
                  <a:gd name="connsiteX0" fmla="*/ 83127 w 4530436"/>
                  <a:gd name="connsiteY0" fmla="*/ 1018309 h 1018309"/>
                  <a:gd name="connsiteX1" fmla="*/ 4530436 w 4530436"/>
                  <a:gd name="connsiteY1" fmla="*/ 1018309 h 1018309"/>
                  <a:gd name="connsiteX2" fmla="*/ 4530436 w 4530436"/>
                  <a:gd name="connsiteY2" fmla="*/ 0 h 1018309"/>
                  <a:gd name="connsiteX3" fmla="*/ 0 w 4530436"/>
                  <a:gd name="connsiteY3" fmla="*/ 249382 h 1018309"/>
                  <a:gd name="connsiteX4" fmla="*/ 83127 w 4530436"/>
                  <a:gd name="connsiteY4" fmla="*/ 1018309 h 1018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0436" h="1018309">
                    <a:moveTo>
                      <a:pt x="83127" y="1018309"/>
                    </a:moveTo>
                    <a:lnTo>
                      <a:pt x="4530436" y="1018309"/>
                    </a:lnTo>
                    <a:lnTo>
                      <a:pt x="4530436" y="0"/>
                    </a:lnTo>
                    <a:lnTo>
                      <a:pt x="0" y="249382"/>
                    </a:lnTo>
                    <a:lnTo>
                      <a:pt x="83127" y="1018309"/>
                    </a:lnTo>
                    <a:close/>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30" name="Groep 29">
                <a:extLst>
                  <a:ext uri="{FF2B5EF4-FFF2-40B4-BE49-F238E27FC236}">
                    <a16:creationId xmlns:a16="http://schemas.microsoft.com/office/drawing/2014/main" id="{B4F363AD-E0B5-48BA-A681-FF6D5F3B3300}"/>
                  </a:ext>
                </a:extLst>
              </p:cNvPr>
              <p:cNvGrpSpPr/>
              <p:nvPr/>
            </p:nvGrpSpPr>
            <p:grpSpPr>
              <a:xfrm rot="21213473">
                <a:off x="293197" y="2513437"/>
                <a:ext cx="696262" cy="696262"/>
                <a:chOff x="517108" y="3524686"/>
                <a:chExt cx="696262" cy="696262"/>
              </a:xfrm>
            </p:grpSpPr>
            <p:sp>
              <p:nvSpPr>
                <p:cNvPr id="31" name="Rechthoek 30">
                  <a:extLst>
                    <a:ext uri="{FF2B5EF4-FFF2-40B4-BE49-F238E27FC236}">
                      <a16:creationId xmlns:a16="http://schemas.microsoft.com/office/drawing/2014/main" id="{992008B6-4464-4957-880B-9E455C97AFC7}"/>
                    </a:ext>
                  </a:extLst>
                </p:cNvPr>
                <p:cNvSpPr/>
                <p:nvPr/>
              </p:nvSpPr>
              <p:spPr>
                <a:xfrm>
                  <a:off x="703990" y="3701511"/>
                  <a:ext cx="302834" cy="33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pic>
              <p:nvPicPr>
                <p:cNvPr id="32" name="Afbeelding 31">
                  <a:extLst>
                    <a:ext uri="{FF2B5EF4-FFF2-40B4-BE49-F238E27FC236}">
                      <a16:creationId xmlns:a16="http://schemas.microsoft.com/office/drawing/2014/main" id="{CB31EF71-CF47-419F-9FC1-F3158636D97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8168796">
                  <a:off x="517108" y="3524686"/>
                  <a:ext cx="696262" cy="696262"/>
                </a:xfrm>
                <a:prstGeom prst="rect">
                  <a:avLst/>
                </a:prstGeom>
              </p:spPr>
            </p:pic>
          </p:grpSp>
        </p:grpSp>
      </p:grpSp>
      <p:sp>
        <p:nvSpPr>
          <p:cNvPr id="33" name="Tekstvak 32">
            <a:extLst>
              <a:ext uri="{FF2B5EF4-FFF2-40B4-BE49-F238E27FC236}">
                <a16:creationId xmlns:a16="http://schemas.microsoft.com/office/drawing/2014/main" id="{112698D7-B4BC-4A97-994B-BB6925254DC8}"/>
              </a:ext>
            </a:extLst>
          </p:cNvPr>
          <p:cNvSpPr txBox="1"/>
          <p:nvPr/>
        </p:nvSpPr>
        <p:spPr>
          <a:xfrm rot="21373254">
            <a:off x="2871756" y="5261936"/>
            <a:ext cx="10346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1" u="none" strike="noStrike" kern="1200" cap="none" spc="0" normalizeH="0" baseline="0" noProof="0">
                <a:ln>
                  <a:noFill/>
                </a:ln>
                <a:solidFill>
                  <a:srgbClr val="002857"/>
                </a:solidFill>
                <a:effectLst/>
                <a:uLnTx/>
                <a:uFillTx/>
                <a:latin typeface="Arial"/>
                <a:ea typeface="+mn-ea"/>
                <a:cs typeface="+mn-cs"/>
              </a:rPr>
              <a:t>Zorg 2030</a:t>
            </a:r>
          </a:p>
        </p:txBody>
      </p:sp>
      <p:grpSp>
        <p:nvGrpSpPr>
          <p:cNvPr id="50" name="Groep 49">
            <a:extLst>
              <a:ext uri="{FF2B5EF4-FFF2-40B4-BE49-F238E27FC236}">
                <a16:creationId xmlns:a16="http://schemas.microsoft.com/office/drawing/2014/main" id="{83245023-D36A-4462-A581-4F14CA1DE8E3}"/>
              </a:ext>
            </a:extLst>
          </p:cNvPr>
          <p:cNvGrpSpPr/>
          <p:nvPr/>
        </p:nvGrpSpPr>
        <p:grpSpPr>
          <a:xfrm>
            <a:off x="4632073" y="5516122"/>
            <a:ext cx="484947" cy="516871"/>
            <a:chOff x="8210438" y="5543005"/>
            <a:chExt cx="484947" cy="516871"/>
          </a:xfrm>
        </p:grpSpPr>
        <p:sp>
          <p:nvSpPr>
            <p:cNvPr id="51" name="Kruis 50">
              <a:extLst>
                <a:ext uri="{FF2B5EF4-FFF2-40B4-BE49-F238E27FC236}">
                  <a16:creationId xmlns:a16="http://schemas.microsoft.com/office/drawing/2014/main" id="{250FB7AC-2956-431A-A01D-83CEF6FF6B38}"/>
                </a:ext>
              </a:extLst>
            </p:cNvPr>
            <p:cNvSpPr/>
            <p:nvPr/>
          </p:nvSpPr>
          <p:spPr>
            <a:xfrm>
              <a:off x="8210438" y="5543005"/>
              <a:ext cx="484947" cy="516871"/>
            </a:xfrm>
            <a:prstGeom prst="plus">
              <a:avLst>
                <a:gd name="adj" fmla="val 34363"/>
              </a:avLst>
            </a:prstGeom>
            <a:solidFill>
              <a:schemeClr val="bg1"/>
            </a:solidFill>
            <a:ln w="190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Ster: 5 punten 51">
              <a:extLst>
                <a:ext uri="{FF2B5EF4-FFF2-40B4-BE49-F238E27FC236}">
                  <a16:creationId xmlns:a16="http://schemas.microsoft.com/office/drawing/2014/main" id="{0400BBF9-5654-4D08-878F-BE943EE501B4}"/>
                </a:ext>
              </a:extLst>
            </p:cNvPr>
            <p:cNvSpPr/>
            <p:nvPr/>
          </p:nvSpPr>
          <p:spPr>
            <a:xfrm>
              <a:off x="8282914" y="5738708"/>
              <a:ext cx="108000" cy="108000"/>
            </a:xfrm>
            <a:prstGeom prst="star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Ster: 5 punten 52">
              <a:extLst>
                <a:ext uri="{FF2B5EF4-FFF2-40B4-BE49-F238E27FC236}">
                  <a16:creationId xmlns:a16="http://schemas.microsoft.com/office/drawing/2014/main" id="{B0E4357F-CED1-463C-8ECC-9699CD689DF6}"/>
                </a:ext>
              </a:extLst>
            </p:cNvPr>
            <p:cNvSpPr/>
            <p:nvPr/>
          </p:nvSpPr>
          <p:spPr>
            <a:xfrm>
              <a:off x="8398629" y="5738708"/>
              <a:ext cx="108000" cy="108000"/>
            </a:xfrm>
            <a:prstGeom prst="star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Ster: 5 punten 53">
              <a:extLst>
                <a:ext uri="{FF2B5EF4-FFF2-40B4-BE49-F238E27FC236}">
                  <a16:creationId xmlns:a16="http://schemas.microsoft.com/office/drawing/2014/main" id="{5C99E8B8-7154-4A37-B273-0ABE836E100D}"/>
                </a:ext>
              </a:extLst>
            </p:cNvPr>
            <p:cNvSpPr/>
            <p:nvPr/>
          </p:nvSpPr>
          <p:spPr>
            <a:xfrm>
              <a:off x="8514344" y="5738708"/>
              <a:ext cx="108000" cy="108000"/>
            </a:xfrm>
            <a:prstGeom prst="star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17" name="Groep 16">
            <a:extLst>
              <a:ext uri="{FF2B5EF4-FFF2-40B4-BE49-F238E27FC236}">
                <a16:creationId xmlns:a16="http://schemas.microsoft.com/office/drawing/2014/main" id="{45513634-3980-485B-9F6B-3A6BDE0C37A6}"/>
              </a:ext>
            </a:extLst>
          </p:cNvPr>
          <p:cNvGrpSpPr/>
          <p:nvPr/>
        </p:nvGrpSpPr>
        <p:grpSpPr>
          <a:xfrm>
            <a:off x="2054959" y="2853658"/>
            <a:ext cx="2185169" cy="2185169"/>
            <a:chOff x="1968895" y="2815779"/>
            <a:chExt cx="2185169" cy="2185169"/>
          </a:xfrm>
        </p:grpSpPr>
        <p:sp>
          <p:nvSpPr>
            <p:cNvPr id="49" name="TextBox 142">
              <a:extLst>
                <a:ext uri="{FF2B5EF4-FFF2-40B4-BE49-F238E27FC236}">
                  <a16:creationId xmlns:a16="http://schemas.microsoft.com/office/drawing/2014/main" id="{995BCB64-080B-4922-9214-539118CDA644}"/>
                </a:ext>
              </a:extLst>
            </p:cNvPr>
            <p:cNvSpPr txBox="1"/>
            <p:nvPr/>
          </p:nvSpPr>
          <p:spPr>
            <a:xfrm rot="21364936">
              <a:off x="2561548" y="4214904"/>
              <a:ext cx="12341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prstClr val="white">
                      <a:lumMod val="85000"/>
                    </a:prstClr>
                  </a:solidFill>
                  <a:effectLst/>
                  <a:uLnTx/>
                  <a:uFillTx/>
                  <a:latin typeface="Arial" panose="020B0604020202020204" pitchFamily="34" charset="0"/>
                  <a:ea typeface="+mn-ea"/>
                  <a:cs typeface="+mn-cs"/>
                </a:rPr>
                <a:t>Zorgvraag</a:t>
              </a:r>
            </a:p>
          </p:txBody>
        </p:sp>
        <p:pic>
          <p:nvPicPr>
            <p:cNvPr id="6" name="Afbeelding 5" descr="Afbeelding met tekst, silhouet, vectorafbeeldingen&#10;&#10;Automatisch gegenereerde beschrijving">
              <a:extLst>
                <a:ext uri="{FF2B5EF4-FFF2-40B4-BE49-F238E27FC236}">
                  <a16:creationId xmlns:a16="http://schemas.microsoft.com/office/drawing/2014/main" id="{F9D71EFF-4D61-4B41-9BA4-88598F338A1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68895" y="2815779"/>
              <a:ext cx="2185169" cy="2185169"/>
            </a:xfrm>
            <a:prstGeom prst="rect">
              <a:avLst/>
            </a:prstGeom>
          </p:spPr>
        </p:pic>
      </p:grpSp>
      <p:sp>
        <p:nvSpPr>
          <p:cNvPr id="37" name="Pijl: vijfhoek 36">
            <a:extLst>
              <a:ext uri="{FF2B5EF4-FFF2-40B4-BE49-F238E27FC236}">
                <a16:creationId xmlns:a16="http://schemas.microsoft.com/office/drawing/2014/main" id="{5B2B5793-83E2-4057-B441-AFCCF53D08BB}"/>
              </a:ext>
            </a:extLst>
          </p:cNvPr>
          <p:cNvSpPr/>
          <p:nvPr/>
        </p:nvSpPr>
        <p:spPr>
          <a:xfrm rot="16200000" flipH="1">
            <a:off x="7880086" y="-201804"/>
            <a:ext cx="2185172" cy="5269646"/>
          </a:xfrm>
          <a:prstGeom prst="homePlate">
            <a:avLst>
              <a:gd name="adj" fmla="val 13175"/>
            </a:avLst>
          </a:prstGeom>
          <a:solidFill>
            <a:schemeClr val="bg1">
              <a:lumMod val="9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Tijdelijke aanduiding voor tekst 9">
            <a:extLst>
              <a:ext uri="{FF2B5EF4-FFF2-40B4-BE49-F238E27FC236}">
                <a16:creationId xmlns:a16="http://schemas.microsoft.com/office/drawing/2014/main" id="{2039398D-EA08-4AC1-A5E9-27A35CCF46CF}"/>
              </a:ext>
            </a:extLst>
          </p:cNvPr>
          <p:cNvSpPr txBox="1">
            <a:spLocks/>
          </p:cNvSpPr>
          <p:nvPr/>
        </p:nvSpPr>
        <p:spPr>
          <a:xfrm>
            <a:off x="6788253" y="1430405"/>
            <a:ext cx="4226780" cy="1531188"/>
          </a:xfrm>
          <a:prstGeom prst="rect">
            <a:avLst/>
          </a:prstGeom>
        </p:spPr>
        <p:txBody>
          <a:bodyPr vert="horz" lIns="0" tIns="0" rIns="0" bIns="0" rtlCol="0" anchor="ctr" anchorCtr="0">
            <a:spAutoFit/>
          </a:bodyPr>
          <a:lstStyle>
            <a:lvl1pPr marL="0" indent="0" algn="l" defTabSz="914400" rtl="0" eaLnBrk="1" latinLnBrk="0" hangingPunct="1">
              <a:lnSpc>
                <a:spcPct val="90000"/>
              </a:lnSpc>
              <a:spcBef>
                <a:spcPct val="0"/>
              </a:spcBef>
              <a:spcAft>
                <a:spcPts val="1100"/>
              </a:spcAft>
              <a:buClr>
                <a:schemeClr val="tx2"/>
              </a:buClr>
              <a:buSzPct val="100000"/>
              <a:buFont typeface="Segoe UI Light" panose="020B0502040204020203" pitchFamily="34" charset="0"/>
              <a:buNone/>
              <a:tabLst>
                <a:tab pos="1255713" algn="l"/>
              </a:tabLst>
              <a:defRPr lang="nl-NL" sz="4800" b="1" kern="1200" dirty="0" smtClean="0">
                <a:solidFill>
                  <a:schemeClr val="tx2"/>
                </a:solidFill>
                <a:latin typeface="+mj-lt"/>
                <a:ea typeface="+mj-ea"/>
                <a:cs typeface="+mj-cs"/>
              </a:defRPr>
            </a:lvl1pPr>
            <a:lvl2pPr marL="263525" indent="0" algn="l" defTabSz="719138" rtl="0" eaLnBrk="1" latinLnBrk="0" hangingPunct="1">
              <a:lnSpc>
                <a:spcPct val="110000"/>
              </a:lnSpc>
              <a:spcBef>
                <a:spcPts val="0"/>
              </a:spcBef>
              <a:spcAft>
                <a:spcPts val="1100"/>
              </a:spcAft>
              <a:buClr>
                <a:schemeClr val="tx2"/>
              </a:buClr>
              <a:buSzPct val="100000"/>
              <a:buFont typeface="Calibri Light" panose="020F0302020204030204" pitchFamily="34" charset="0"/>
              <a:buNone/>
              <a:defRPr sz="1600" i="0" kern="1200">
                <a:solidFill>
                  <a:schemeClr val="tx2"/>
                </a:solidFill>
                <a:latin typeface="+mn-lt"/>
                <a:ea typeface="+mn-ea"/>
                <a:cs typeface="+mn-cs"/>
              </a:defRPr>
            </a:lvl2pPr>
            <a:lvl3pPr marL="0" indent="0" algn="l" defTabSz="719138" rtl="0" eaLnBrk="1" latinLnBrk="0" hangingPunct="1">
              <a:lnSpc>
                <a:spcPct val="11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tx2"/>
                </a:solidFill>
                <a:latin typeface="+mj-lt"/>
                <a:ea typeface="+mn-ea"/>
                <a:cs typeface="Calibri" panose="020F0502020204030204" pitchFamily="34" charset="0"/>
              </a:defRPr>
            </a:lvl4pPr>
            <a:lvl5pPr marL="263525" indent="-263525" algn="l" defTabSz="719138" rtl="0" eaLnBrk="1" latinLnBrk="0" hangingPunct="1">
              <a:lnSpc>
                <a:spcPct val="11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110000"/>
              </a:lnSpc>
              <a:spcBef>
                <a:spcPts val="0"/>
              </a:spcBef>
              <a:spcAft>
                <a:spcPts val="1100"/>
              </a:spcAft>
              <a:buClr>
                <a:schemeClr val="tx2"/>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110000"/>
              </a:lnSpc>
              <a:spcBef>
                <a:spcPts val="0"/>
              </a:spcBef>
              <a:spcAft>
                <a:spcPts val="1100"/>
              </a:spcAft>
              <a:buClr>
                <a:schemeClr val="tx2"/>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11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tx2"/>
                </a:solidFill>
                <a:latin typeface="+mj-lt"/>
                <a:ea typeface="+mn-ea"/>
                <a:cs typeface="+mn-cs"/>
              </a:defRPr>
            </a:lvl9pPr>
          </a:lstStyle>
          <a:p>
            <a:pPr marL="0" marR="0" lvl="0" indent="0" algn="l" defTabSz="914400" rtl="0" eaLnBrk="1" fontAlgn="auto" latinLnBrk="0" hangingPunct="1">
              <a:lnSpc>
                <a:spcPct val="90000"/>
              </a:lnSpc>
              <a:spcBef>
                <a:spcPct val="0"/>
              </a:spcBef>
              <a:spcAft>
                <a:spcPts val="1100"/>
              </a:spcAft>
              <a:buClr>
                <a:srgbClr val="002857"/>
              </a:buClr>
              <a:buSzPct val="100000"/>
              <a:buFont typeface="Segoe UI Light" panose="020B0502040204020203" pitchFamily="34" charset="0"/>
              <a:buNone/>
              <a:tabLst>
                <a:tab pos="1255713" algn="l"/>
              </a:tabLst>
              <a:defRPr/>
            </a:pPr>
            <a:r>
              <a:rPr kumimoji="0" lang="nl-NL" sz="1600" b="1" i="0" u="none" strike="noStrike" kern="1200" cap="none" spc="0" normalizeH="0" baseline="0" noProof="0">
                <a:ln>
                  <a:noFill/>
                </a:ln>
                <a:solidFill>
                  <a:srgbClr val="002857"/>
                </a:solidFill>
                <a:effectLst/>
                <a:uLnTx/>
                <a:uFillTx/>
                <a:latin typeface="Arial"/>
                <a:ea typeface="+mj-ea"/>
                <a:cs typeface="+mj-cs"/>
              </a:rPr>
              <a:t>De stijgende zorgvraag (door vergrijzing en innovatie) zet de zorg onder druk</a:t>
            </a:r>
          </a:p>
          <a:p>
            <a:pPr marL="0" marR="0" lvl="0" indent="0" algn="l" defTabSz="914400" rtl="0" eaLnBrk="1" fontAlgn="auto" latinLnBrk="0" hangingPunct="1">
              <a:lnSpc>
                <a:spcPct val="90000"/>
              </a:lnSpc>
              <a:spcBef>
                <a:spcPct val="0"/>
              </a:spcBef>
              <a:spcAft>
                <a:spcPts val="1100"/>
              </a:spcAft>
              <a:buClr>
                <a:srgbClr val="002857"/>
              </a:buClr>
              <a:buSzPct val="100000"/>
              <a:buFont typeface="Segoe UI Light" panose="020B0502040204020203" pitchFamily="34" charset="0"/>
              <a:buNone/>
              <a:tabLst>
                <a:tab pos="1255713" algn="l"/>
              </a:tabLst>
              <a:defRPr/>
            </a:pPr>
            <a:r>
              <a:rPr kumimoji="0" lang="nl-NL" sz="1600" b="0" i="0" u="none" strike="noStrike" kern="1200" cap="none" spc="0" normalizeH="0" baseline="0" noProof="0">
                <a:ln>
                  <a:noFill/>
                </a:ln>
                <a:solidFill>
                  <a:srgbClr val="002857"/>
                </a:solidFill>
                <a:effectLst/>
                <a:uLnTx/>
                <a:uFillTx/>
                <a:latin typeface="Arial"/>
                <a:ea typeface="+mj-ea"/>
                <a:cs typeface="+mj-cs"/>
              </a:rPr>
              <a:t>Als we niks doen…</a:t>
            </a:r>
          </a:p>
          <a:p>
            <a:pPr marL="0" marR="0" lvl="0" indent="0" algn="l" defTabSz="914400" rtl="0" eaLnBrk="1" fontAlgn="auto" latinLnBrk="0" hangingPunct="1">
              <a:lnSpc>
                <a:spcPct val="90000"/>
              </a:lnSpc>
              <a:spcBef>
                <a:spcPct val="0"/>
              </a:spcBef>
              <a:spcAft>
                <a:spcPts val="1100"/>
              </a:spcAft>
              <a:buClr>
                <a:srgbClr val="002857"/>
              </a:buClr>
              <a:buSzPct val="100000"/>
              <a:buFont typeface="Segoe UI Light" panose="020B0502040204020203" pitchFamily="34" charset="0"/>
              <a:buNone/>
              <a:tabLst>
                <a:tab pos="1255713" algn="l"/>
              </a:tabLst>
              <a:defRPr/>
            </a:pPr>
            <a:r>
              <a:rPr kumimoji="0" lang="nl-NL" sz="1600" b="0" i="0" u="none" strike="noStrike" kern="1200" cap="none" spc="0" normalizeH="0" baseline="0" noProof="0">
                <a:ln>
                  <a:noFill/>
                </a:ln>
                <a:solidFill>
                  <a:srgbClr val="002857"/>
                </a:solidFill>
                <a:effectLst/>
                <a:uLnTx/>
                <a:uFillTx/>
                <a:latin typeface="Arial"/>
                <a:ea typeface="+mj-ea"/>
                <a:cs typeface="+mj-cs"/>
              </a:rPr>
              <a:t>…is er te weinig personeel om zorg te bieden</a:t>
            </a:r>
            <a:endParaRPr kumimoji="0" lang="nl-NL" sz="1600" b="0" i="0" u="none" strike="noStrike" kern="1200" cap="none" spc="0" normalizeH="0" baseline="0" noProof="0">
              <a:ln>
                <a:noFill/>
              </a:ln>
              <a:solidFill>
                <a:srgbClr val="002857"/>
              </a:solidFill>
              <a:effectLst/>
              <a:uLnTx/>
              <a:uFillTx/>
              <a:latin typeface="Arial"/>
              <a:ea typeface="+mj-ea"/>
              <a:cs typeface="Arial"/>
            </a:endParaRPr>
          </a:p>
          <a:p>
            <a:pPr marL="0" marR="0" lvl="0" indent="0" algn="l" defTabSz="914400" rtl="0" eaLnBrk="1" fontAlgn="auto" latinLnBrk="0" hangingPunct="1">
              <a:lnSpc>
                <a:spcPct val="90000"/>
              </a:lnSpc>
              <a:spcBef>
                <a:spcPct val="0"/>
              </a:spcBef>
              <a:spcAft>
                <a:spcPts val="1100"/>
              </a:spcAft>
              <a:buClr>
                <a:srgbClr val="002857"/>
              </a:buClr>
              <a:buSzPct val="100000"/>
              <a:buFont typeface="Segoe UI Light" panose="020B0502040204020203" pitchFamily="34" charset="0"/>
              <a:buNone/>
              <a:tabLst>
                <a:tab pos="1255713" algn="l"/>
              </a:tabLst>
              <a:defRPr/>
            </a:pPr>
            <a:r>
              <a:rPr kumimoji="0" lang="nl-NL" sz="1600" b="0" i="0" u="none" strike="noStrike" kern="1200" cap="none" spc="0" normalizeH="0" baseline="0" noProof="0">
                <a:ln>
                  <a:noFill/>
                </a:ln>
                <a:solidFill>
                  <a:srgbClr val="002857"/>
                </a:solidFill>
                <a:effectLst/>
                <a:uLnTx/>
                <a:uFillTx/>
                <a:latin typeface="Arial"/>
                <a:ea typeface="+mj-ea"/>
                <a:cs typeface="+mj-cs"/>
              </a:rPr>
              <a:t>…stijgen kosten sterk (+35-40% in 2030</a:t>
            </a:r>
            <a:r>
              <a:rPr kumimoji="0" lang="nl-NL" sz="1600" b="0" i="0" u="none" strike="noStrike" kern="1200" cap="none" spc="0" normalizeH="0" baseline="30000" noProof="0">
                <a:ln>
                  <a:noFill/>
                </a:ln>
                <a:solidFill>
                  <a:srgbClr val="002857"/>
                </a:solidFill>
                <a:effectLst/>
                <a:uLnTx/>
                <a:uFillTx/>
                <a:latin typeface="Arial"/>
                <a:ea typeface="+mj-ea"/>
                <a:cs typeface="+mj-cs"/>
              </a:rPr>
              <a:t>1</a:t>
            </a:r>
            <a:r>
              <a:rPr kumimoji="0" lang="nl-NL" sz="1600" b="0" i="0" u="none" strike="noStrike" kern="1200" cap="none" spc="0" normalizeH="0" baseline="0" noProof="0">
                <a:ln>
                  <a:noFill/>
                </a:ln>
                <a:solidFill>
                  <a:srgbClr val="002857"/>
                </a:solidFill>
                <a:effectLst/>
                <a:uLnTx/>
                <a:uFillTx/>
                <a:latin typeface="Arial"/>
                <a:ea typeface="+mj-ea"/>
                <a:cs typeface="+mj-cs"/>
              </a:rPr>
              <a:t>)</a:t>
            </a:r>
          </a:p>
        </p:txBody>
      </p:sp>
      <p:sp>
        <p:nvSpPr>
          <p:cNvPr id="40" name="Tekstvak 39">
            <a:extLst>
              <a:ext uri="{FF2B5EF4-FFF2-40B4-BE49-F238E27FC236}">
                <a16:creationId xmlns:a16="http://schemas.microsoft.com/office/drawing/2014/main" id="{1E41D964-94D4-4E97-BC93-35838165E2DF}"/>
              </a:ext>
            </a:extLst>
          </p:cNvPr>
          <p:cNvSpPr txBox="1">
            <a:spLocks/>
          </p:cNvSpPr>
          <p:nvPr/>
        </p:nvSpPr>
        <p:spPr>
          <a:xfrm>
            <a:off x="-1" y="0"/>
            <a:ext cx="1620000" cy="252000"/>
          </a:xfrm>
          <a:prstGeom prst="rect">
            <a:avLst/>
          </a:prstGeom>
          <a:solidFill>
            <a:srgbClr val="DCEBF3"/>
          </a:solidFill>
          <a:ln w="19050" cap="flat" cmpd="sng" algn="ctr">
            <a:noFill/>
            <a:prstDash val="solid"/>
            <a:miter lim="800000"/>
          </a:ln>
          <a:effectLst/>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1" u="none" strike="noStrike" kern="0" cap="none" spc="0" normalizeH="0" baseline="0" noProof="0">
                <a:ln>
                  <a:noFill/>
                </a:ln>
                <a:solidFill>
                  <a:srgbClr val="002060"/>
                </a:solidFill>
                <a:effectLst/>
                <a:uLnTx/>
                <a:uFillTx/>
                <a:latin typeface="Arial"/>
                <a:ea typeface="+mn-ea"/>
                <a:cs typeface="+mn-cs"/>
              </a:rPr>
              <a:t>Koers MSZ</a:t>
            </a:r>
          </a:p>
        </p:txBody>
      </p:sp>
      <p:sp>
        <p:nvSpPr>
          <p:cNvPr id="2" name="Rechthoek 1">
            <a:extLst>
              <a:ext uri="{FF2B5EF4-FFF2-40B4-BE49-F238E27FC236}">
                <a16:creationId xmlns:a16="http://schemas.microsoft.com/office/drawing/2014/main" id="{990556C0-D7E3-CDE8-07E3-9AFFF3E92AB6}"/>
              </a:ext>
            </a:extLst>
          </p:cNvPr>
          <p:cNvSpPr/>
          <p:nvPr/>
        </p:nvSpPr>
        <p:spPr>
          <a:xfrm>
            <a:off x="-1" y="687"/>
            <a:ext cx="1949123" cy="296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063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B2AA91-D4FC-42F5-9F2A-E76671B42CA8}"/>
              </a:ext>
            </a:extLst>
          </p:cNvPr>
          <p:cNvSpPr>
            <a:spLocks noGrp="1"/>
          </p:cNvSpPr>
          <p:nvPr>
            <p:ph type="title"/>
          </p:nvPr>
        </p:nvSpPr>
        <p:spPr>
          <a:xfrm>
            <a:off x="515938" y="512763"/>
            <a:ext cx="11149004" cy="387798"/>
          </a:xfrm>
        </p:spPr>
        <p:txBody>
          <a:bodyPr/>
          <a:lstStyle/>
          <a:p>
            <a:r>
              <a:rPr lang="nl-NL" dirty="0"/>
              <a:t>Strategie Zilveren Kruis</a:t>
            </a:r>
          </a:p>
        </p:txBody>
      </p:sp>
      <p:pic>
        <p:nvPicPr>
          <p:cNvPr id="4" name="Afbeelding 3" descr="402311-2004_strategisch_bordv7.pdf">
            <a:extLst>
              <a:ext uri="{FF2B5EF4-FFF2-40B4-BE49-F238E27FC236}">
                <a16:creationId xmlns:a16="http://schemas.microsoft.com/office/drawing/2014/main" id="{46666D64-F294-4691-9FCD-23B3272555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703" b="38504"/>
          <a:stretch/>
        </p:blipFill>
        <p:spPr>
          <a:xfrm>
            <a:off x="1262136" y="1350004"/>
            <a:ext cx="9694404" cy="3918468"/>
          </a:xfrm>
          <a:prstGeom prst="rect">
            <a:avLst/>
          </a:prstGeom>
        </p:spPr>
      </p:pic>
      <p:sp>
        <p:nvSpPr>
          <p:cNvPr id="5" name="Rechthoek 4">
            <a:extLst>
              <a:ext uri="{FF2B5EF4-FFF2-40B4-BE49-F238E27FC236}">
                <a16:creationId xmlns:a16="http://schemas.microsoft.com/office/drawing/2014/main" id="{CC011CAE-0F6F-4832-8D87-B8EF13DD390E}"/>
              </a:ext>
            </a:extLst>
          </p:cNvPr>
          <p:cNvSpPr/>
          <p:nvPr/>
        </p:nvSpPr>
        <p:spPr>
          <a:xfrm>
            <a:off x="7929343" y="5257018"/>
            <a:ext cx="2860152" cy="1006499"/>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2857"/>
                </a:solidFill>
                <a:effectLst/>
                <a:uLnTx/>
                <a:uFillTx/>
                <a:latin typeface="Arial"/>
                <a:ea typeface="+mn-ea"/>
                <a:cs typeface="+mn-cs"/>
              </a:rPr>
              <a:t>Gezon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2857"/>
                </a:solidFill>
                <a:effectLst/>
                <a:uLnTx/>
                <a:uFillTx/>
                <a:latin typeface="Arial"/>
                <a:ea typeface="+mn-ea"/>
                <a:cs typeface="+mn-cs"/>
              </a:rPr>
              <a:t>werken en leven</a:t>
            </a:r>
            <a:endParaRPr kumimoji="0" lang="nl-NL" sz="1400" b="0" i="0" u="none" strike="noStrike" kern="1200" cap="none" spc="0" normalizeH="0" baseline="0" noProof="0">
              <a:ln>
                <a:noFill/>
              </a:ln>
              <a:solidFill>
                <a:srgbClr val="002857"/>
              </a:solidFill>
              <a:effectLst/>
              <a:uLnTx/>
              <a:uFillTx/>
              <a:latin typeface="Arial"/>
              <a:ea typeface="+mn-ea"/>
              <a:cs typeface="+mn-cs"/>
            </a:endParaRPr>
          </a:p>
        </p:txBody>
      </p:sp>
      <p:sp>
        <p:nvSpPr>
          <p:cNvPr id="6" name="Rechthoek 5">
            <a:extLst>
              <a:ext uri="{FF2B5EF4-FFF2-40B4-BE49-F238E27FC236}">
                <a16:creationId xmlns:a16="http://schemas.microsoft.com/office/drawing/2014/main" id="{D7A58A9F-7FEC-46EA-8A1A-599F8834173E}"/>
              </a:ext>
            </a:extLst>
          </p:cNvPr>
          <p:cNvSpPr/>
          <p:nvPr/>
        </p:nvSpPr>
        <p:spPr>
          <a:xfrm>
            <a:off x="4689093" y="5257019"/>
            <a:ext cx="2860153" cy="1006498"/>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2857"/>
                </a:solidFill>
                <a:effectLst/>
                <a:uLnTx/>
                <a:uFillTx/>
                <a:latin typeface="Arial"/>
                <a:ea typeface="+mn-ea"/>
                <a:cs typeface="+mn-cs"/>
              </a:rPr>
              <a:t>Zor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a:ln>
                  <a:noFill/>
                </a:ln>
                <a:solidFill>
                  <a:srgbClr val="002857"/>
                </a:solidFill>
                <a:effectLst/>
                <a:uLnTx/>
                <a:uFillTx/>
                <a:latin typeface="Arial"/>
                <a:ea typeface="+mn-ea"/>
                <a:cs typeface="+mn-cs"/>
              </a:rPr>
              <a:t>dichterbij</a:t>
            </a:r>
            <a:endParaRPr kumimoji="0" lang="nl-NL" sz="1400" b="0" i="0" u="none" strike="noStrike" kern="1200" cap="none" spc="0" normalizeH="0" baseline="0" noProof="0">
              <a:ln>
                <a:noFill/>
              </a:ln>
              <a:solidFill>
                <a:srgbClr val="002857"/>
              </a:solidFill>
              <a:effectLst/>
              <a:uLnTx/>
              <a:uFillTx/>
              <a:latin typeface="Arial"/>
              <a:ea typeface="+mn-ea"/>
              <a:cs typeface="+mn-cs"/>
            </a:endParaRPr>
          </a:p>
        </p:txBody>
      </p:sp>
      <p:sp>
        <p:nvSpPr>
          <p:cNvPr id="7" name="Rechthoek 6">
            <a:extLst>
              <a:ext uri="{FF2B5EF4-FFF2-40B4-BE49-F238E27FC236}">
                <a16:creationId xmlns:a16="http://schemas.microsoft.com/office/drawing/2014/main" id="{2EEBDC2A-E5DF-4252-8AED-E4B91699F2D4}"/>
              </a:ext>
            </a:extLst>
          </p:cNvPr>
          <p:cNvSpPr/>
          <p:nvPr/>
        </p:nvSpPr>
        <p:spPr>
          <a:xfrm>
            <a:off x="1448843" y="5257019"/>
            <a:ext cx="2860154" cy="1006498"/>
          </a:xfrm>
          <a:prstGeom prst="rect">
            <a:avLst/>
          </a:prstGeom>
          <a:solidFill>
            <a:srgbClr val="FEE9E0"/>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2857"/>
                </a:solidFill>
                <a:effectLst/>
                <a:uLnTx/>
                <a:uFillTx/>
                <a:latin typeface="Arial"/>
                <a:ea typeface="+mn-ea"/>
                <a:cs typeface="+mn-cs"/>
              </a:rPr>
              <a:t>Betaalbare</a:t>
            </a:r>
            <a:br>
              <a:rPr kumimoji="0" lang="nl-NL" sz="1800" b="1" i="0" u="none" strike="noStrike" kern="1200" cap="none" spc="0" normalizeH="0" baseline="0" noProof="0" dirty="0">
                <a:ln>
                  <a:noFill/>
                </a:ln>
                <a:solidFill>
                  <a:srgbClr val="002857"/>
                </a:solidFill>
                <a:effectLst/>
                <a:uLnTx/>
                <a:uFillTx/>
                <a:latin typeface="Arial"/>
                <a:ea typeface="+mn-ea"/>
                <a:cs typeface="+mn-cs"/>
              </a:rPr>
            </a:br>
            <a:r>
              <a:rPr kumimoji="0" lang="nl-NL" sz="1800" b="1" i="0" u="none" strike="noStrike" kern="1200" cap="none" spc="0" normalizeH="0" baseline="0" noProof="0" dirty="0">
                <a:ln>
                  <a:noFill/>
                </a:ln>
                <a:solidFill>
                  <a:srgbClr val="002857"/>
                </a:solidFill>
                <a:effectLst/>
                <a:uLnTx/>
                <a:uFillTx/>
                <a:latin typeface="Arial"/>
                <a:ea typeface="+mn-ea"/>
                <a:cs typeface="+mn-cs"/>
              </a:rPr>
              <a:t>Zorg</a:t>
            </a:r>
            <a:endParaRPr kumimoji="0" lang="nl-NL" sz="1400" b="0" i="0" u="none" strike="noStrike" kern="1200" cap="none" spc="0" normalizeH="0" baseline="0" noProof="0" dirty="0">
              <a:ln>
                <a:noFill/>
              </a:ln>
              <a:solidFill>
                <a:srgbClr val="002857"/>
              </a:solidFill>
              <a:effectLst/>
              <a:uLnTx/>
              <a:uFillTx/>
              <a:latin typeface="Arial"/>
              <a:ea typeface="+mn-ea"/>
              <a:cs typeface="+mn-cs"/>
            </a:endParaRPr>
          </a:p>
        </p:txBody>
      </p:sp>
    </p:spTree>
    <p:extLst>
      <p:ext uri="{BB962C8B-B14F-4D97-AF65-F5344CB8AC3E}">
        <p14:creationId xmlns:p14="http://schemas.microsoft.com/office/powerpoint/2010/main" val="14733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el 10">
            <a:extLst>
              <a:ext uri="{FF2B5EF4-FFF2-40B4-BE49-F238E27FC236}">
                <a16:creationId xmlns:a16="http://schemas.microsoft.com/office/drawing/2014/main" id="{EF208FF5-9FC3-4771-A2E9-A086F1CB4AFA}"/>
              </a:ext>
            </a:extLst>
          </p:cNvPr>
          <p:cNvSpPr>
            <a:spLocks noGrp="1"/>
          </p:cNvSpPr>
          <p:nvPr>
            <p:ph type="title"/>
          </p:nvPr>
        </p:nvSpPr>
        <p:spPr/>
        <p:txBody>
          <a:bodyPr vert="horz"/>
          <a:lstStyle/>
          <a:p>
            <a:r>
              <a:rPr lang="nl-NL" sz="2400"/>
              <a:t>Via de kerntransities operationaliseren we JZOJP en maken we de beweging naar een duurzaam zorglandschap</a:t>
            </a:r>
          </a:p>
        </p:txBody>
      </p:sp>
      <p:sp>
        <p:nvSpPr>
          <p:cNvPr id="3" name="Text Placeholder 2"/>
          <p:cNvSpPr>
            <a:spLocks noGrp="1"/>
          </p:cNvSpPr>
          <p:nvPr>
            <p:ph type="body" sz="quarter" idx="4294967295"/>
          </p:nvPr>
        </p:nvSpPr>
        <p:spPr>
          <a:xfrm>
            <a:off x="623887" y="1664408"/>
            <a:ext cx="3520800" cy="360000"/>
          </a:xfrm>
        </p:spPr>
        <p:txBody>
          <a:bodyPr anchor="ctr"/>
          <a:lstStyle/>
          <a:p>
            <a:pPr marL="0" indent="0">
              <a:buNone/>
            </a:pPr>
            <a:r>
              <a:rPr lang="nl-NL" b="1">
                <a:solidFill>
                  <a:srgbClr val="002857"/>
                </a:solidFill>
                <a:latin typeface="Arial"/>
                <a:cs typeface="Arial"/>
                <a:sym typeface="Arial"/>
              </a:rPr>
              <a:t>”Waarom</a:t>
            </a:r>
            <a:r>
              <a:rPr lang="nl-NL" b="1">
                <a:solidFill>
                  <a:srgbClr val="002857"/>
                </a:solidFill>
                <a:latin typeface="Arial"/>
                <a:cs typeface="Arial"/>
              </a:rPr>
              <a:t>?”</a:t>
            </a:r>
          </a:p>
        </p:txBody>
      </p:sp>
      <p:sp>
        <p:nvSpPr>
          <p:cNvPr id="5" name="Text Placeholder 4"/>
          <p:cNvSpPr>
            <a:spLocks noGrp="1"/>
          </p:cNvSpPr>
          <p:nvPr>
            <p:ph type="body" sz="quarter" idx="4294967295"/>
          </p:nvPr>
        </p:nvSpPr>
        <p:spPr>
          <a:xfrm>
            <a:off x="4254759" y="1664390"/>
            <a:ext cx="3520800" cy="360000"/>
          </a:xfrm>
          <a:prstGeom prst="rect">
            <a:avLst/>
          </a:prstGeom>
        </p:spPr>
        <p:txBody>
          <a:bodyPr anchor="ctr"/>
          <a:lstStyle/>
          <a:p>
            <a:pPr marL="0" indent="0" defTabSz="914394">
              <a:lnSpc>
                <a:spcPct val="100000"/>
              </a:lnSpc>
              <a:spcBef>
                <a:spcPts val="1001"/>
              </a:spcBef>
              <a:spcAft>
                <a:spcPts val="0"/>
              </a:spcAft>
              <a:buClrTx/>
              <a:buSzTx/>
              <a:buNone/>
            </a:pPr>
            <a:r>
              <a:rPr lang="nl-NL" b="1">
                <a:solidFill>
                  <a:srgbClr val="002857"/>
                </a:solidFill>
                <a:latin typeface="Arial"/>
                <a:cs typeface="Arial"/>
              </a:rPr>
              <a:t>“Hoe?”</a:t>
            </a:r>
          </a:p>
        </p:txBody>
      </p:sp>
      <p:sp>
        <p:nvSpPr>
          <p:cNvPr id="6" name="Text Placeholder 5"/>
          <p:cNvSpPr>
            <a:spLocks noGrp="1"/>
          </p:cNvSpPr>
          <p:nvPr>
            <p:ph type="body" sz="quarter" idx="4294967295"/>
          </p:nvPr>
        </p:nvSpPr>
        <p:spPr>
          <a:xfrm>
            <a:off x="8048148" y="1661214"/>
            <a:ext cx="3520800" cy="360000"/>
          </a:xfrm>
          <a:prstGeom prst="rect">
            <a:avLst/>
          </a:prstGeom>
        </p:spPr>
        <p:txBody>
          <a:bodyPr lIns="432000" anchor="ctr"/>
          <a:lstStyle/>
          <a:p>
            <a:pPr marL="0" indent="0">
              <a:buNone/>
            </a:pPr>
            <a:r>
              <a:rPr lang="nl-NL" b="1" dirty="0">
                <a:solidFill>
                  <a:srgbClr val="002857"/>
                </a:solidFill>
                <a:latin typeface="Arial"/>
                <a:cs typeface="Arial"/>
              </a:rPr>
              <a:t>”Wat?”</a:t>
            </a:r>
            <a:endParaRPr lang="nl-NL" b="1" dirty="0"/>
          </a:p>
        </p:txBody>
      </p:sp>
      <p:sp>
        <p:nvSpPr>
          <p:cNvPr id="8" name="Text Placeholder 15">
            <a:extLst>
              <a:ext uri="{FF2B5EF4-FFF2-40B4-BE49-F238E27FC236}">
                <a16:creationId xmlns:a16="http://schemas.microsoft.com/office/drawing/2014/main" id="{0F36F41A-6AAA-49AB-B7B6-56DAC086ECC5}"/>
              </a:ext>
            </a:extLst>
          </p:cNvPr>
          <p:cNvSpPr txBox="1">
            <a:spLocks/>
          </p:cNvSpPr>
          <p:nvPr/>
        </p:nvSpPr>
        <p:spPr>
          <a:xfrm>
            <a:off x="623887" y="1988840"/>
            <a:ext cx="3519488" cy="423631"/>
          </a:xfrm>
          <a:prstGeom prst="rect">
            <a:avLst/>
          </a:prstGeom>
        </p:spPr>
        <p:txBody>
          <a:bodyPr/>
          <a:lstStyle>
            <a:lvl1pPr marL="0" indent="0" algn="l" defTabSz="914394" rtl="0" eaLnBrk="1" latinLnBrk="0" hangingPunct="1">
              <a:lnSpc>
                <a:spcPct val="100000"/>
              </a:lnSpc>
              <a:spcBef>
                <a:spcPts val="1001"/>
              </a:spcBef>
              <a:buFont typeface="Arial" panose="020B0604020202020204" pitchFamily="34" charset="0"/>
              <a:buNone/>
              <a:defRPr sz="1599" kern="1200">
                <a:solidFill>
                  <a:schemeClr val="accent2"/>
                </a:solidFill>
                <a:latin typeface="Arial"/>
                <a:ea typeface="+mn-ea"/>
                <a:cs typeface="Arial"/>
                <a:sym typeface="Arial"/>
              </a:defRPr>
            </a:lvl1pPr>
            <a:lvl2pPr marL="0" indent="0" algn="l" defTabSz="914394" rtl="0" eaLnBrk="1" latinLnBrk="0" hangingPunct="1">
              <a:lnSpc>
                <a:spcPct val="100000"/>
              </a:lnSpc>
              <a:spcBef>
                <a:spcPts val="500"/>
              </a:spcBef>
              <a:buFont typeface="Arial" panose="020B0604020202020204" pitchFamily="34" charset="0"/>
              <a:buNone/>
              <a:defRPr sz="1599" b="1" kern="1200">
                <a:solidFill>
                  <a:schemeClr val="accent2"/>
                </a:solidFill>
                <a:latin typeface="Arial"/>
                <a:ea typeface="+mn-ea"/>
                <a:cs typeface="Arial"/>
                <a:sym typeface="Arial"/>
              </a:defRPr>
            </a:lvl2pPr>
            <a:lvl3pPr marL="174623" indent="-174623" algn="l" defTabSz="914394" rtl="0" eaLnBrk="1" latinLnBrk="0" hangingPunct="1">
              <a:lnSpc>
                <a:spcPct val="100000"/>
              </a:lnSpc>
              <a:spcBef>
                <a:spcPts val="500"/>
              </a:spcBef>
              <a:buSzPct val="110000"/>
              <a:buFont typeface="Arial" panose="020B0604020202020204" pitchFamily="34" charset="0"/>
              <a:buChar char="•"/>
              <a:defRPr sz="1599" kern="1200">
                <a:solidFill>
                  <a:schemeClr val="accent2"/>
                </a:solidFill>
                <a:latin typeface="Arial"/>
                <a:ea typeface="+mn-ea"/>
                <a:cs typeface="Arial"/>
                <a:sym typeface="Arial"/>
              </a:defRPr>
            </a:lvl3pPr>
            <a:lvl4pPr marL="363535" indent="-188912" algn="l" defTabSz="914394" rtl="0" eaLnBrk="1" latinLnBrk="0" hangingPunct="1">
              <a:lnSpc>
                <a:spcPct val="100000"/>
              </a:lnSpc>
              <a:spcBef>
                <a:spcPts val="500"/>
              </a:spcBef>
              <a:buFont typeface="Arial" panose="020B0604020202020204" pitchFamily="34" charset="0"/>
              <a:buChar char="○"/>
              <a:defRPr sz="1599" kern="1200">
                <a:solidFill>
                  <a:schemeClr val="accent2"/>
                </a:solidFill>
                <a:latin typeface="Arial"/>
                <a:ea typeface="+mn-ea"/>
                <a:cs typeface="Arial"/>
                <a:sym typeface="Arial"/>
              </a:defRPr>
            </a:lvl4pPr>
            <a:lvl5pPr marL="536572" indent="-173036" algn="l" defTabSz="914394" rtl="0" eaLnBrk="1" latinLnBrk="0" hangingPunct="1">
              <a:lnSpc>
                <a:spcPct val="100000"/>
              </a:lnSpc>
              <a:spcBef>
                <a:spcPts val="500"/>
              </a:spcBef>
              <a:buFont typeface="Wingdings" panose="05000000000000000000" pitchFamily="2" charset="2"/>
              <a:buChar char="§"/>
              <a:defRPr sz="1599" kern="1200" baseline="0">
                <a:solidFill>
                  <a:schemeClr val="accent2"/>
                </a:solidFill>
                <a:latin typeface="Arial"/>
                <a:ea typeface="+mn-ea"/>
                <a:cs typeface="Arial"/>
                <a:sym typeface="Arial"/>
              </a:defRPr>
            </a:lvl5pPr>
            <a:lvl6pPr marL="0" indent="0" algn="l" defTabSz="914394" rtl="0" eaLnBrk="1" latinLnBrk="0" hangingPunct="1">
              <a:lnSpc>
                <a:spcPct val="100000"/>
              </a:lnSpc>
              <a:spcBef>
                <a:spcPts val="500"/>
              </a:spcBef>
              <a:buFont typeface="Arial" panose="020B0604020202020204" pitchFamily="34" charset="0"/>
              <a:buNone/>
              <a:defRPr sz="3200" kern="1200">
                <a:solidFill>
                  <a:srgbClr val="232C79"/>
                </a:solidFill>
                <a:latin typeface="Arial"/>
                <a:ea typeface="+mn-ea"/>
                <a:cs typeface="Arial"/>
                <a:sym typeface="Arial"/>
              </a:defRPr>
            </a:lvl6pPr>
            <a:lvl7pPr marL="0" indent="0" algn="l" defTabSz="914394" rtl="0" eaLnBrk="1" latinLnBrk="0" hangingPunct="1">
              <a:lnSpc>
                <a:spcPct val="100000"/>
              </a:lnSpc>
              <a:spcBef>
                <a:spcPts val="500"/>
              </a:spcBef>
              <a:buFont typeface="Arial" panose="020B0604020202020204" pitchFamily="34" charset="0"/>
              <a:buNone/>
              <a:defRPr sz="1800" b="1" kern="1200">
                <a:solidFill>
                  <a:srgbClr val="0069B5"/>
                </a:solidFill>
                <a:latin typeface="Arial"/>
                <a:ea typeface="+mn-ea"/>
                <a:cs typeface="Arial"/>
                <a:sym typeface="Arial"/>
              </a:defRPr>
            </a:lvl7pPr>
            <a:lvl8pPr marL="0" indent="0" algn="l" defTabSz="914394" rtl="0" eaLnBrk="1" latinLnBrk="0" hangingPunct="1">
              <a:lnSpc>
                <a:spcPct val="100000"/>
              </a:lnSpc>
              <a:spcBef>
                <a:spcPts val="500"/>
              </a:spcBef>
              <a:buFont typeface="Arial" panose="020B0604020202020204" pitchFamily="34" charset="0"/>
              <a:buNone/>
              <a:defRPr sz="1599" kern="1200">
                <a:solidFill>
                  <a:srgbClr val="171949"/>
                </a:solidFill>
                <a:latin typeface="Arial"/>
                <a:ea typeface="+mn-ea"/>
                <a:cs typeface="Arial"/>
                <a:sym typeface="Arial"/>
              </a:defRPr>
            </a:lvl8pPr>
            <a:lvl9pPr marL="0" indent="0" algn="l" defTabSz="914394" rtl="0" eaLnBrk="1" latinLnBrk="0" hangingPunct="1">
              <a:lnSpc>
                <a:spcPct val="100000"/>
              </a:lnSpc>
              <a:spcBef>
                <a:spcPts val="500"/>
              </a:spcBef>
              <a:buFont typeface="Arial" panose="020B0604020202020204" pitchFamily="34" charset="0"/>
              <a:buNone/>
              <a:defRPr sz="2000" b="0" i="0" kern="1200">
                <a:solidFill>
                  <a:srgbClr val="0097DE"/>
                </a:solidFill>
                <a:latin typeface="Arial"/>
                <a:ea typeface="+mn-ea"/>
                <a:cs typeface="Arial"/>
                <a:sym typeface="Arial"/>
              </a:defRPr>
            </a:lvl9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Om tot een </a:t>
            </a:r>
            <a:r>
              <a:rPr kumimoji="0" lang="nl-NL" sz="1400" b="1" i="0" u="none" strike="noStrike" kern="1200" cap="none" spc="0" normalizeH="0" baseline="0" noProof="0">
                <a:ln>
                  <a:noFill/>
                </a:ln>
                <a:solidFill>
                  <a:srgbClr val="002857"/>
                </a:solidFill>
                <a:effectLst/>
                <a:uLnTx/>
                <a:uFillTx/>
                <a:latin typeface="Arial"/>
                <a:ea typeface="+mn-ea"/>
                <a:cs typeface="Arial"/>
                <a:sym typeface="Arial"/>
              </a:rPr>
              <a:t>duurzaam</a:t>
            </a: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 </a:t>
            </a:r>
            <a:r>
              <a:rPr kumimoji="0" lang="nl-NL" sz="1400" b="1" i="0" u="none" strike="noStrike" kern="1200" cap="none" spc="0" normalizeH="0" baseline="0" noProof="0">
                <a:ln>
                  <a:noFill/>
                </a:ln>
                <a:solidFill>
                  <a:srgbClr val="002857"/>
                </a:solidFill>
                <a:effectLst/>
                <a:uLnTx/>
                <a:uFillTx/>
                <a:latin typeface="Arial"/>
                <a:ea typeface="+mn-ea"/>
                <a:cs typeface="Arial"/>
                <a:sym typeface="Arial"/>
              </a:rPr>
              <a:t>zorglandschap</a:t>
            </a: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 te komen door regiotransformaties</a:t>
            </a:r>
          </a:p>
        </p:txBody>
      </p:sp>
      <p:sp>
        <p:nvSpPr>
          <p:cNvPr id="10" name="Text Placeholder 15">
            <a:extLst>
              <a:ext uri="{FF2B5EF4-FFF2-40B4-BE49-F238E27FC236}">
                <a16:creationId xmlns:a16="http://schemas.microsoft.com/office/drawing/2014/main" id="{6DE4C250-E976-4474-9DE6-74E61CF7E52A}"/>
              </a:ext>
            </a:extLst>
          </p:cNvPr>
          <p:cNvSpPr txBox="1">
            <a:spLocks/>
          </p:cNvSpPr>
          <p:nvPr/>
        </p:nvSpPr>
        <p:spPr>
          <a:xfrm>
            <a:off x="8048985" y="1988840"/>
            <a:ext cx="3519127" cy="628391"/>
          </a:xfrm>
          <a:prstGeom prst="rect">
            <a:avLst/>
          </a:prstGeom>
        </p:spPr>
        <p:txBody>
          <a:bodyPr/>
          <a:lstStyle>
            <a:lvl1pPr marL="0" indent="0" algn="l" defTabSz="914394" rtl="0" eaLnBrk="1" latinLnBrk="0" hangingPunct="1">
              <a:lnSpc>
                <a:spcPct val="100000"/>
              </a:lnSpc>
              <a:spcBef>
                <a:spcPts val="1001"/>
              </a:spcBef>
              <a:buFont typeface="Arial" panose="020B0604020202020204" pitchFamily="34" charset="0"/>
              <a:buNone/>
              <a:defRPr sz="1599" kern="1200">
                <a:solidFill>
                  <a:schemeClr val="accent2"/>
                </a:solidFill>
                <a:latin typeface="Arial"/>
                <a:ea typeface="+mn-ea"/>
                <a:cs typeface="Arial"/>
                <a:sym typeface="Arial"/>
              </a:defRPr>
            </a:lvl1pPr>
            <a:lvl2pPr marL="0" indent="0" algn="l" defTabSz="914394" rtl="0" eaLnBrk="1" latinLnBrk="0" hangingPunct="1">
              <a:lnSpc>
                <a:spcPct val="100000"/>
              </a:lnSpc>
              <a:spcBef>
                <a:spcPts val="500"/>
              </a:spcBef>
              <a:buFont typeface="Arial" panose="020B0604020202020204" pitchFamily="34" charset="0"/>
              <a:buNone/>
              <a:defRPr sz="1599" b="1" kern="1200">
                <a:solidFill>
                  <a:schemeClr val="accent2"/>
                </a:solidFill>
                <a:latin typeface="Arial"/>
                <a:ea typeface="+mn-ea"/>
                <a:cs typeface="Arial"/>
                <a:sym typeface="Arial"/>
              </a:defRPr>
            </a:lvl2pPr>
            <a:lvl3pPr marL="174623" indent="-174623" algn="l" defTabSz="914394" rtl="0" eaLnBrk="1" latinLnBrk="0" hangingPunct="1">
              <a:lnSpc>
                <a:spcPct val="100000"/>
              </a:lnSpc>
              <a:spcBef>
                <a:spcPts val="500"/>
              </a:spcBef>
              <a:buSzPct val="110000"/>
              <a:buFont typeface="Arial" panose="020B0604020202020204" pitchFamily="34" charset="0"/>
              <a:buChar char="•"/>
              <a:defRPr sz="1599" kern="1200">
                <a:solidFill>
                  <a:schemeClr val="accent2"/>
                </a:solidFill>
                <a:latin typeface="Arial"/>
                <a:ea typeface="+mn-ea"/>
                <a:cs typeface="Arial"/>
                <a:sym typeface="Arial"/>
              </a:defRPr>
            </a:lvl3pPr>
            <a:lvl4pPr marL="363535" indent="-188912" algn="l" defTabSz="914394" rtl="0" eaLnBrk="1" latinLnBrk="0" hangingPunct="1">
              <a:lnSpc>
                <a:spcPct val="100000"/>
              </a:lnSpc>
              <a:spcBef>
                <a:spcPts val="500"/>
              </a:spcBef>
              <a:buFont typeface="Arial" panose="020B0604020202020204" pitchFamily="34" charset="0"/>
              <a:buChar char="○"/>
              <a:defRPr sz="1599" kern="1200">
                <a:solidFill>
                  <a:schemeClr val="accent2"/>
                </a:solidFill>
                <a:latin typeface="Arial"/>
                <a:ea typeface="+mn-ea"/>
                <a:cs typeface="Arial"/>
                <a:sym typeface="Arial"/>
              </a:defRPr>
            </a:lvl4pPr>
            <a:lvl5pPr marL="536572" indent="-173036" algn="l" defTabSz="914394" rtl="0" eaLnBrk="1" latinLnBrk="0" hangingPunct="1">
              <a:lnSpc>
                <a:spcPct val="100000"/>
              </a:lnSpc>
              <a:spcBef>
                <a:spcPts val="500"/>
              </a:spcBef>
              <a:buFont typeface="Wingdings" panose="05000000000000000000" pitchFamily="2" charset="2"/>
              <a:buChar char="§"/>
              <a:defRPr sz="1599" kern="1200" baseline="0">
                <a:solidFill>
                  <a:schemeClr val="accent2"/>
                </a:solidFill>
                <a:latin typeface="Arial"/>
                <a:ea typeface="+mn-ea"/>
                <a:cs typeface="Arial"/>
                <a:sym typeface="Arial"/>
              </a:defRPr>
            </a:lvl5pPr>
            <a:lvl6pPr marL="0" indent="0" algn="l" defTabSz="914394" rtl="0" eaLnBrk="1" latinLnBrk="0" hangingPunct="1">
              <a:lnSpc>
                <a:spcPct val="100000"/>
              </a:lnSpc>
              <a:spcBef>
                <a:spcPts val="500"/>
              </a:spcBef>
              <a:buFont typeface="Arial" panose="020B0604020202020204" pitchFamily="34" charset="0"/>
              <a:buNone/>
              <a:defRPr sz="3200" kern="1200">
                <a:solidFill>
                  <a:srgbClr val="232C79"/>
                </a:solidFill>
                <a:latin typeface="Arial"/>
                <a:ea typeface="+mn-ea"/>
                <a:cs typeface="Arial"/>
                <a:sym typeface="Arial"/>
              </a:defRPr>
            </a:lvl6pPr>
            <a:lvl7pPr marL="0" indent="0" algn="l" defTabSz="914394" rtl="0" eaLnBrk="1" latinLnBrk="0" hangingPunct="1">
              <a:lnSpc>
                <a:spcPct val="100000"/>
              </a:lnSpc>
              <a:spcBef>
                <a:spcPts val="500"/>
              </a:spcBef>
              <a:buFont typeface="Arial" panose="020B0604020202020204" pitchFamily="34" charset="0"/>
              <a:buNone/>
              <a:defRPr sz="1800" b="1" kern="1200">
                <a:solidFill>
                  <a:srgbClr val="0069B5"/>
                </a:solidFill>
                <a:latin typeface="Arial"/>
                <a:ea typeface="+mn-ea"/>
                <a:cs typeface="Arial"/>
                <a:sym typeface="Arial"/>
              </a:defRPr>
            </a:lvl7pPr>
            <a:lvl8pPr marL="0" indent="0" algn="l" defTabSz="914394" rtl="0" eaLnBrk="1" latinLnBrk="0" hangingPunct="1">
              <a:lnSpc>
                <a:spcPct val="100000"/>
              </a:lnSpc>
              <a:spcBef>
                <a:spcPts val="500"/>
              </a:spcBef>
              <a:buFont typeface="Arial" panose="020B0604020202020204" pitchFamily="34" charset="0"/>
              <a:buNone/>
              <a:defRPr sz="1599" kern="1200">
                <a:solidFill>
                  <a:srgbClr val="171949"/>
                </a:solidFill>
                <a:latin typeface="Arial"/>
                <a:ea typeface="+mn-ea"/>
                <a:cs typeface="Arial"/>
                <a:sym typeface="Arial"/>
              </a:defRPr>
            </a:lvl8pPr>
            <a:lvl9pPr marL="0" indent="0" algn="l" defTabSz="914394" rtl="0" eaLnBrk="1" latinLnBrk="0" hangingPunct="1">
              <a:lnSpc>
                <a:spcPct val="100000"/>
              </a:lnSpc>
              <a:spcBef>
                <a:spcPts val="500"/>
              </a:spcBef>
              <a:buFont typeface="Arial" panose="020B0604020202020204" pitchFamily="34" charset="0"/>
              <a:buNone/>
              <a:defRPr sz="2000" b="0" i="0" kern="1200">
                <a:solidFill>
                  <a:srgbClr val="0097DE"/>
                </a:solidFill>
                <a:latin typeface="Arial"/>
                <a:ea typeface="+mn-ea"/>
                <a:cs typeface="Arial"/>
                <a:sym typeface="Arial"/>
              </a:defRPr>
            </a:lvl9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We zetten 5 </a:t>
            </a:r>
            <a:r>
              <a:rPr kumimoji="0" lang="nl-NL" sz="1400" b="1" i="0" u="none" strike="noStrike" kern="1200" cap="none" spc="0" normalizeH="0" baseline="0" noProof="0">
                <a:ln>
                  <a:noFill/>
                </a:ln>
                <a:solidFill>
                  <a:srgbClr val="002857"/>
                </a:solidFill>
                <a:effectLst/>
                <a:uLnTx/>
                <a:uFillTx/>
                <a:latin typeface="Arial"/>
                <a:ea typeface="+mn-ea"/>
                <a:cs typeface="Arial"/>
                <a:sym typeface="Arial"/>
              </a:rPr>
              <a:t>kerntransities</a:t>
            </a: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 in bij regiotransformaties per regio*</a:t>
            </a:r>
          </a:p>
        </p:txBody>
      </p:sp>
      <p:sp>
        <p:nvSpPr>
          <p:cNvPr id="15" name="Text Placeholder 15">
            <a:extLst>
              <a:ext uri="{FF2B5EF4-FFF2-40B4-BE49-F238E27FC236}">
                <a16:creationId xmlns:a16="http://schemas.microsoft.com/office/drawing/2014/main" id="{0F36F41A-6AAA-49AB-B7B6-56DAC086ECC5}"/>
              </a:ext>
            </a:extLst>
          </p:cNvPr>
          <p:cNvSpPr txBox="1">
            <a:spLocks/>
          </p:cNvSpPr>
          <p:nvPr/>
        </p:nvSpPr>
        <p:spPr>
          <a:xfrm>
            <a:off x="4254759" y="1988840"/>
            <a:ext cx="3619241" cy="423631"/>
          </a:xfrm>
          <a:prstGeom prst="rect">
            <a:avLst/>
          </a:prstGeom>
        </p:spPr>
        <p:txBody>
          <a:bodyPr/>
          <a:lstStyle>
            <a:lvl1pPr marL="0" indent="0" algn="l" defTabSz="914394" rtl="0" eaLnBrk="1" latinLnBrk="0" hangingPunct="1">
              <a:lnSpc>
                <a:spcPct val="100000"/>
              </a:lnSpc>
              <a:spcBef>
                <a:spcPts val="1001"/>
              </a:spcBef>
              <a:buFont typeface="Arial" panose="020B0604020202020204" pitchFamily="34" charset="0"/>
              <a:buNone/>
              <a:defRPr sz="1599" kern="1200">
                <a:solidFill>
                  <a:schemeClr val="accent2"/>
                </a:solidFill>
                <a:latin typeface="Arial"/>
                <a:ea typeface="+mn-ea"/>
                <a:cs typeface="Arial"/>
                <a:sym typeface="Arial"/>
              </a:defRPr>
            </a:lvl1pPr>
            <a:lvl2pPr marL="0" indent="0" algn="l" defTabSz="914394" rtl="0" eaLnBrk="1" latinLnBrk="0" hangingPunct="1">
              <a:lnSpc>
                <a:spcPct val="100000"/>
              </a:lnSpc>
              <a:spcBef>
                <a:spcPts val="500"/>
              </a:spcBef>
              <a:buFont typeface="Arial" panose="020B0604020202020204" pitchFamily="34" charset="0"/>
              <a:buNone/>
              <a:defRPr sz="1599" b="1" kern="1200">
                <a:solidFill>
                  <a:schemeClr val="accent2"/>
                </a:solidFill>
                <a:latin typeface="Arial"/>
                <a:ea typeface="+mn-ea"/>
                <a:cs typeface="Arial"/>
                <a:sym typeface="Arial"/>
              </a:defRPr>
            </a:lvl2pPr>
            <a:lvl3pPr marL="174623" indent="-174623" algn="l" defTabSz="914394" rtl="0" eaLnBrk="1" latinLnBrk="0" hangingPunct="1">
              <a:lnSpc>
                <a:spcPct val="100000"/>
              </a:lnSpc>
              <a:spcBef>
                <a:spcPts val="500"/>
              </a:spcBef>
              <a:buSzPct val="110000"/>
              <a:buFont typeface="Arial" panose="020B0604020202020204" pitchFamily="34" charset="0"/>
              <a:buChar char="•"/>
              <a:defRPr sz="1599" kern="1200">
                <a:solidFill>
                  <a:schemeClr val="accent2"/>
                </a:solidFill>
                <a:latin typeface="Arial"/>
                <a:ea typeface="+mn-ea"/>
                <a:cs typeface="Arial"/>
                <a:sym typeface="Arial"/>
              </a:defRPr>
            </a:lvl3pPr>
            <a:lvl4pPr marL="363535" indent="-188912" algn="l" defTabSz="914394" rtl="0" eaLnBrk="1" latinLnBrk="0" hangingPunct="1">
              <a:lnSpc>
                <a:spcPct val="100000"/>
              </a:lnSpc>
              <a:spcBef>
                <a:spcPts val="500"/>
              </a:spcBef>
              <a:buFont typeface="Arial" panose="020B0604020202020204" pitchFamily="34" charset="0"/>
              <a:buChar char="○"/>
              <a:defRPr sz="1599" kern="1200">
                <a:solidFill>
                  <a:schemeClr val="accent2"/>
                </a:solidFill>
                <a:latin typeface="Arial"/>
                <a:ea typeface="+mn-ea"/>
                <a:cs typeface="Arial"/>
                <a:sym typeface="Arial"/>
              </a:defRPr>
            </a:lvl4pPr>
            <a:lvl5pPr marL="536572" indent="-173036" algn="l" defTabSz="914394" rtl="0" eaLnBrk="1" latinLnBrk="0" hangingPunct="1">
              <a:lnSpc>
                <a:spcPct val="100000"/>
              </a:lnSpc>
              <a:spcBef>
                <a:spcPts val="500"/>
              </a:spcBef>
              <a:buFont typeface="Wingdings" panose="05000000000000000000" pitchFamily="2" charset="2"/>
              <a:buChar char="§"/>
              <a:defRPr sz="1599" kern="1200" baseline="0">
                <a:solidFill>
                  <a:schemeClr val="accent2"/>
                </a:solidFill>
                <a:latin typeface="Arial"/>
                <a:ea typeface="+mn-ea"/>
                <a:cs typeface="Arial"/>
                <a:sym typeface="Arial"/>
              </a:defRPr>
            </a:lvl5pPr>
            <a:lvl6pPr marL="0" indent="0" algn="l" defTabSz="914394" rtl="0" eaLnBrk="1" latinLnBrk="0" hangingPunct="1">
              <a:lnSpc>
                <a:spcPct val="100000"/>
              </a:lnSpc>
              <a:spcBef>
                <a:spcPts val="500"/>
              </a:spcBef>
              <a:buFont typeface="Arial" panose="020B0604020202020204" pitchFamily="34" charset="0"/>
              <a:buNone/>
              <a:defRPr sz="3200" kern="1200">
                <a:solidFill>
                  <a:srgbClr val="232C79"/>
                </a:solidFill>
                <a:latin typeface="Arial"/>
                <a:ea typeface="+mn-ea"/>
                <a:cs typeface="Arial"/>
                <a:sym typeface="Arial"/>
              </a:defRPr>
            </a:lvl6pPr>
            <a:lvl7pPr marL="0" indent="0" algn="l" defTabSz="914394" rtl="0" eaLnBrk="1" latinLnBrk="0" hangingPunct="1">
              <a:lnSpc>
                <a:spcPct val="100000"/>
              </a:lnSpc>
              <a:spcBef>
                <a:spcPts val="500"/>
              </a:spcBef>
              <a:buFont typeface="Arial" panose="020B0604020202020204" pitchFamily="34" charset="0"/>
              <a:buNone/>
              <a:defRPr sz="1800" b="1" kern="1200">
                <a:solidFill>
                  <a:srgbClr val="0069B5"/>
                </a:solidFill>
                <a:latin typeface="Arial"/>
                <a:ea typeface="+mn-ea"/>
                <a:cs typeface="Arial"/>
                <a:sym typeface="Arial"/>
              </a:defRPr>
            </a:lvl7pPr>
            <a:lvl8pPr marL="0" indent="0" algn="l" defTabSz="914394" rtl="0" eaLnBrk="1" latinLnBrk="0" hangingPunct="1">
              <a:lnSpc>
                <a:spcPct val="100000"/>
              </a:lnSpc>
              <a:spcBef>
                <a:spcPts val="500"/>
              </a:spcBef>
              <a:buFont typeface="Arial" panose="020B0604020202020204" pitchFamily="34" charset="0"/>
              <a:buNone/>
              <a:defRPr sz="1599" kern="1200">
                <a:solidFill>
                  <a:srgbClr val="171949"/>
                </a:solidFill>
                <a:latin typeface="Arial"/>
                <a:ea typeface="+mn-ea"/>
                <a:cs typeface="Arial"/>
                <a:sym typeface="Arial"/>
              </a:defRPr>
            </a:lvl8pPr>
            <a:lvl9pPr marL="0" indent="0" algn="l" defTabSz="914394" rtl="0" eaLnBrk="1" latinLnBrk="0" hangingPunct="1">
              <a:lnSpc>
                <a:spcPct val="100000"/>
              </a:lnSpc>
              <a:spcBef>
                <a:spcPts val="500"/>
              </a:spcBef>
              <a:buFont typeface="Arial" panose="020B0604020202020204" pitchFamily="34" charset="0"/>
              <a:buNone/>
              <a:defRPr sz="2000" b="0" i="0" kern="1200">
                <a:solidFill>
                  <a:srgbClr val="0097DE"/>
                </a:solidFill>
                <a:latin typeface="Arial"/>
                <a:ea typeface="+mn-ea"/>
                <a:cs typeface="Arial"/>
                <a:sym typeface="Arial"/>
              </a:defRPr>
            </a:lvl9pPr>
          </a:lstStyle>
          <a:p>
            <a:pPr marL="0" marR="0" lvl="0" indent="0" algn="l" defTabSz="914394" rtl="0" eaLnBrk="1" fontAlgn="auto" latinLnBrk="0" hangingPunct="1">
              <a:lnSpc>
                <a:spcPct val="100000"/>
              </a:lnSpc>
              <a:spcBef>
                <a:spcPts val="1001"/>
              </a:spcBef>
              <a:spcAft>
                <a:spcPts val="0"/>
              </a:spcAft>
              <a:buClrTx/>
              <a:buSzTx/>
              <a:buFont typeface="Arial" panose="020B0604020202020204" pitchFamily="34" charset="0"/>
              <a:buNone/>
              <a:tabLst/>
              <a:defRPr/>
            </a:pP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Drie bewegingen brengen de </a:t>
            </a:r>
            <a:r>
              <a:rPr kumimoji="0" lang="nl-NL" sz="1400" b="1" i="0" u="none" strike="noStrike" kern="1200" cap="none" spc="0" normalizeH="0" baseline="0" noProof="0">
                <a:ln>
                  <a:noFill/>
                </a:ln>
                <a:solidFill>
                  <a:srgbClr val="002857"/>
                </a:solidFill>
                <a:effectLst/>
                <a:uLnTx/>
                <a:uFillTx/>
                <a:latin typeface="Arial"/>
                <a:ea typeface="+mn-ea"/>
                <a:cs typeface="Arial"/>
                <a:sym typeface="Arial"/>
              </a:rPr>
              <a:t>juiste zorg naar de juiste plek</a:t>
            </a:r>
            <a:r>
              <a:rPr kumimoji="0" lang="nl-NL" sz="1400" b="0" i="0" u="none" strike="noStrike" kern="1200" cap="none" spc="0" normalizeH="0" baseline="0" noProof="0">
                <a:ln>
                  <a:noFill/>
                </a:ln>
                <a:solidFill>
                  <a:srgbClr val="002857"/>
                </a:solidFill>
                <a:effectLst/>
                <a:uLnTx/>
                <a:uFillTx/>
                <a:latin typeface="Arial"/>
                <a:ea typeface="+mn-ea"/>
                <a:cs typeface="Arial"/>
                <a:sym typeface="Arial"/>
              </a:rPr>
              <a:t> bij regiotransformaties</a:t>
            </a:r>
          </a:p>
        </p:txBody>
      </p:sp>
      <p:grpSp>
        <p:nvGrpSpPr>
          <p:cNvPr id="9" name="Group 8">
            <a:extLst>
              <a:ext uri="{FF2B5EF4-FFF2-40B4-BE49-F238E27FC236}">
                <a16:creationId xmlns:a16="http://schemas.microsoft.com/office/drawing/2014/main" id="{FC19F2D1-B71B-4ADC-9389-315ABB8A9574}"/>
              </a:ext>
            </a:extLst>
          </p:cNvPr>
          <p:cNvGrpSpPr/>
          <p:nvPr/>
        </p:nvGrpSpPr>
        <p:grpSpPr>
          <a:xfrm>
            <a:off x="4520754" y="3013390"/>
            <a:ext cx="2047775" cy="628560"/>
            <a:chOff x="4591418" y="2932694"/>
            <a:chExt cx="2047775" cy="628560"/>
          </a:xfrm>
        </p:grpSpPr>
        <p:sp>
          <p:nvSpPr>
            <p:cNvPr id="35" name="TextBox 34"/>
            <p:cNvSpPr txBox="1"/>
            <p:nvPr/>
          </p:nvSpPr>
          <p:spPr>
            <a:xfrm>
              <a:off x="5199193" y="3088073"/>
              <a:ext cx="1440000" cy="3178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oorkomen</a:t>
              </a:r>
            </a:p>
          </p:txBody>
        </p:sp>
        <p:pic>
          <p:nvPicPr>
            <p:cNvPr id="38" name="Picture 52" descr="C:\Users\AA481158\AppData\Local\Microsoft\Windows\Temporary Internet Files\Content.IE5\LC0HM0HO\noun_prevented document_566616.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651" t="16817" r="22064" b="18289"/>
            <a:stretch/>
          </p:blipFill>
          <p:spPr bwMode="auto">
            <a:xfrm>
              <a:off x="4591418" y="2932694"/>
              <a:ext cx="525815" cy="6285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98A98D46-E185-4CFF-8491-459B15231982}"/>
              </a:ext>
            </a:extLst>
          </p:cNvPr>
          <p:cNvGrpSpPr/>
          <p:nvPr/>
        </p:nvGrpSpPr>
        <p:grpSpPr>
          <a:xfrm>
            <a:off x="4520754" y="4004722"/>
            <a:ext cx="2047775" cy="525676"/>
            <a:chOff x="4591418" y="3977171"/>
            <a:chExt cx="2047775" cy="525676"/>
          </a:xfrm>
        </p:grpSpPr>
        <p:pic>
          <p:nvPicPr>
            <p:cNvPr id="40" name="Picture 54" descr="C:\Users\AA481158\AppData\Local\Microsoft\Windows\Temporary Internet Files\Content.IE5\TCHORQBF\noun_Move_1466592.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650" t="12699" r="12540" b="13743"/>
            <a:stretch/>
          </p:blipFill>
          <p:spPr bwMode="auto">
            <a:xfrm>
              <a:off x="4591418" y="3977171"/>
              <a:ext cx="527474" cy="52567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5253647" y="4086121"/>
              <a:ext cx="138554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erplaatsen</a:t>
              </a:r>
            </a:p>
          </p:txBody>
        </p:sp>
      </p:grpSp>
      <p:grpSp>
        <p:nvGrpSpPr>
          <p:cNvPr id="7" name="Group 6">
            <a:extLst>
              <a:ext uri="{FF2B5EF4-FFF2-40B4-BE49-F238E27FC236}">
                <a16:creationId xmlns:a16="http://schemas.microsoft.com/office/drawing/2014/main" id="{7D79489F-6F1E-4B6D-B9B0-F636340A0B88}"/>
              </a:ext>
            </a:extLst>
          </p:cNvPr>
          <p:cNvGrpSpPr/>
          <p:nvPr/>
        </p:nvGrpSpPr>
        <p:grpSpPr>
          <a:xfrm>
            <a:off x="4520754" y="4893169"/>
            <a:ext cx="2030122" cy="525676"/>
            <a:chOff x="4583768" y="4812473"/>
            <a:chExt cx="2030122" cy="525676"/>
          </a:xfrm>
        </p:grpSpPr>
        <p:pic>
          <p:nvPicPr>
            <p:cNvPr id="39" name="Picture 53" descr="C:\Users\AA481158\AppData\Local\Microsoft\Windows\Temporary Internet Files\Content.IE5\RO1H9KVE\noun_replace_451579.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5236" t="25834" r="25397" b="25520"/>
            <a:stretch/>
          </p:blipFill>
          <p:spPr bwMode="auto">
            <a:xfrm>
              <a:off x="4583768" y="4812473"/>
              <a:ext cx="533465" cy="525676"/>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p:cNvSpPr txBox="1"/>
            <p:nvPr/>
          </p:nvSpPr>
          <p:spPr>
            <a:xfrm>
              <a:off x="5232399" y="4921423"/>
              <a:ext cx="13814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ervangen</a:t>
              </a:r>
            </a:p>
          </p:txBody>
        </p:sp>
      </p:grpSp>
      <p:grpSp>
        <p:nvGrpSpPr>
          <p:cNvPr id="14" name="Group 13">
            <a:extLst>
              <a:ext uri="{FF2B5EF4-FFF2-40B4-BE49-F238E27FC236}">
                <a16:creationId xmlns:a16="http://schemas.microsoft.com/office/drawing/2014/main" id="{CCB2F300-F43A-4215-86CD-80A6C36677E2}"/>
              </a:ext>
            </a:extLst>
          </p:cNvPr>
          <p:cNvGrpSpPr/>
          <p:nvPr/>
        </p:nvGrpSpPr>
        <p:grpSpPr>
          <a:xfrm>
            <a:off x="788698" y="4965164"/>
            <a:ext cx="2619005" cy="360000"/>
            <a:chOff x="811699" y="4056626"/>
            <a:chExt cx="2619005" cy="360000"/>
          </a:xfrm>
        </p:grpSpPr>
        <p:sp>
          <p:nvSpPr>
            <p:cNvPr id="48" name="TextBox 47">
              <a:extLst>
                <a:ext uri="{FF2B5EF4-FFF2-40B4-BE49-F238E27FC236}">
                  <a16:creationId xmlns:a16="http://schemas.microsoft.com/office/drawing/2014/main" id="{38C765C3-A57C-42C9-8818-07379A92AAAE}"/>
                </a:ext>
              </a:extLst>
            </p:cNvPr>
            <p:cNvSpPr txBox="1"/>
            <p:nvPr/>
          </p:nvSpPr>
          <p:spPr>
            <a:xfrm>
              <a:off x="1231663" y="4082737"/>
              <a:ext cx="2199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Bemensbare zorg</a:t>
              </a:r>
            </a:p>
          </p:txBody>
        </p:sp>
        <p:pic>
          <p:nvPicPr>
            <p:cNvPr id="19469" name="Picture 13" descr="businessman icon">
              <a:extLst>
                <a:ext uri="{FF2B5EF4-FFF2-40B4-BE49-F238E27FC236}">
                  <a16:creationId xmlns:a16="http://schemas.microsoft.com/office/drawing/2014/main" id="{BFE6A27C-42AE-4450-9472-25CC806E024E}"/>
                </a:ext>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11699" y="4056626"/>
              <a:ext cx="360000" cy="36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B62A54F2-1011-49DB-A6E8-0BD290A84A07}"/>
              </a:ext>
            </a:extLst>
          </p:cNvPr>
          <p:cNvGrpSpPr/>
          <p:nvPr/>
        </p:nvGrpSpPr>
        <p:grpSpPr>
          <a:xfrm>
            <a:off x="811699" y="3073499"/>
            <a:ext cx="2619005" cy="360000"/>
            <a:chOff x="811699" y="4713168"/>
            <a:chExt cx="2619005" cy="360000"/>
          </a:xfrm>
        </p:grpSpPr>
        <p:sp>
          <p:nvSpPr>
            <p:cNvPr id="49" name="TextBox 48">
              <a:extLst>
                <a:ext uri="{FF2B5EF4-FFF2-40B4-BE49-F238E27FC236}">
                  <a16:creationId xmlns:a16="http://schemas.microsoft.com/office/drawing/2014/main" id="{2AA35A95-86F9-4342-B8C9-344B81AEC287}"/>
                </a:ext>
              </a:extLst>
            </p:cNvPr>
            <p:cNvSpPr txBox="1"/>
            <p:nvPr/>
          </p:nvSpPr>
          <p:spPr>
            <a:xfrm>
              <a:off x="1231663" y="4739280"/>
              <a:ext cx="2199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Betaalbare zorg</a:t>
              </a:r>
            </a:p>
          </p:txBody>
        </p:sp>
        <p:pic>
          <p:nvPicPr>
            <p:cNvPr id="19471" name="Picture 15" descr="banknotes icon">
              <a:extLst>
                <a:ext uri="{FF2B5EF4-FFF2-40B4-BE49-F238E27FC236}">
                  <a16:creationId xmlns:a16="http://schemas.microsoft.com/office/drawing/2014/main" id="{135F4FEC-3D4B-49F6-A15E-91E91E65C0A6}"/>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11699" y="4713168"/>
              <a:ext cx="360000" cy="36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36139A5C-7F2B-47B7-B8FF-8771FD35EDB9}"/>
              </a:ext>
            </a:extLst>
          </p:cNvPr>
          <p:cNvGrpSpPr/>
          <p:nvPr/>
        </p:nvGrpSpPr>
        <p:grpSpPr>
          <a:xfrm>
            <a:off x="788698" y="4313392"/>
            <a:ext cx="2623022" cy="360000"/>
            <a:chOff x="807682" y="3547865"/>
            <a:chExt cx="2623022" cy="360000"/>
          </a:xfrm>
        </p:grpSpPr>
        <p:pic>
          <p:nvPicPr>
            <p:cNvPr id="19473" name="Picture 17" descr="clinic icon">
              <a:extLst>
                <a:ext uri="{FF2B5EF4-FFF2-40B4-BE49-F238E27FC236}">
                  <a16:creationId xmlns:a16="http://schemas.microsoft.com/office/drawing/2014/main" id="{67597BB1-A7AE-4165-8F52-9D796ABB3D63}"/>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7682" y="3547865"/>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6485D04A-5A4F-4A9A-AC41-C2BEDBAFF1B3}"/>
                </a:ext>
              </a:extLst>
            </p:cNvPr>
            <p:cNvSpPr txBox="1"/>
            <p:nvPr/>
          </p:nvSpPr>
          <p:spPr>
            <a:xfrm>
              <a:off x="1231663" y="3573884"/>
              <a:ext cx="2199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Beschikbare zorg</a:t>
              </a:r>
            </a:p>
          </p:txBody>
        </p:sp>
      </p:grpSp>
      <p:grpSp>
        <p:nvGrpSpPr>
          <p:cNvPr id="20" name="Group 19">
            <a:extLst>
              <a:ext uri="{FF2B5EF4-FFF2-40B4-BE49-F238E27FC236}">
                <a16:creationId xmlns:a16="http://schemas.microsoft.com/office/drawing/2014/main" id="{34862BE8-EDC1-45F3-A742-68E71C4036DC}"/>
              </a:ext>
            </a:extLst>
          </p:cNvPr>
          <p:cNvGrpSpPr/>
          <p:nvPr/>
        </p:nvGrpSpPr>
        <p:grpSpPr>
          <a:xfrm>
            <a:off x="804311" y="3693399"/>
            <a:ext cx="2600021" cy="360000"/>
            <a:chOff x="830683" y="2914064"/>
            <a:chExt cx="2600021" cy="360000"/>
          </a:xfrm>
        </p:grpSpPr>
        <p:sp>
          <p:nvSpPr>
            <p:cNvPr id="46" name="TextBox 45">
              <a:extLst>
                <a:ext uri="{FF2B5EF4-FFF2-40B4-BE49-F238E27FC236}">
                  <a16:creationId xmlns:a16="http://schemas.microsoft.com/office/drawing/2014/main" id="{DDCAB09C-68EE-4A7E-8059-36FFBEC58307}"/>
                </a:ext>
              </a:extLst>
            </p:cNvPr>
            <p:cNvSpPr txBox="1"/>
            <p:nvPr/>
          </p:nvSpPr>
          <p:spPr>
            <a:xfrm>
              <a:off x="1231663" y="2940176"/>
              <a:ext cx="219904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Toegankelijke zorg</a:t>
              </a:r>
            </a:p>
          </p:txBody>
        </p:sp>
        <p:pic>
          <p:nvPicPr>
            <p:cNvPr id="19475" name="Picture 19" descr="lock icon">
              <a:extLst>
                <a:ext uri="{FF2B5EF4-FFF2-40B4-BE49-F238E27FC236}">
                  <a16:creationId xmlns:a16="http://schemas.microsoft.com/office/drawing/2014/main" id="{9FBA2089-FF38-4451-AA83-88E35C20F533}"/>
                </a:ext>
              </a:extLst>
            </p:cNvPr>
            <p:cNvPicPr>
              <a:picLocks noChangeAspect="1" noChangeArrowheads="1"/>
            </p:cNvPicPr>
            <p:nvPr/>
          </p:nvPicPr>
          <p:blipFill>
            <a:blip r:embed="rId15" cstate="print">
              <a:extLst>
                <a:ext uri="{BEBA8EAE-BF5A-486C-A8C5-ECC9F3942E4B}">
                  <a14:imgProps xmlns:a14="http://schemas.microsoft.com/office/drawing/2010/main">
                    <a14:imgLayer r:embed="rId1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30683" y="2914064"/>
              <a:ext cx="360000" cy="360000"/>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TextBox 17">
            <a:extLst>
              <a:ext uri="{FF2B5EF4-FFF2-40B4-BE49-F238E27FC236}">
                <a16:creationId xmlns:a16="http://schemas.microsoft.com/office/drawing/2014/main" id="{AED2234A-E559-4B14-B655-1F511C433E84}"/>
              </a:ext>
            </a:extLst>
          </p:cNvPr>
          <p:cNvSpPr txBox="1"/>
          <p:nvPr/>
        </p:nvSpPr>
        <p:spPr>
          <a:xfrm>
            <a:off x="623887" y="2781728"/>
            <a:ext cx="27878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16A4E3"/>
                </a:solidFill>
                <a:effectLst/>
                <a:uLnTx/>
                <a:uFillTx/>
                <a:latin typeface="Arial"/>
                <a:ea typeface="+mn-ea"/>
                <a:cs typeface="+mn-cs"/>
              </a:rPr>
              <a:t>Duurzaam zorglandschap</a:t>
            </a:r>
          </a:p>
        </p:txBody>
      </p:sp>
      <p:cxnSp>
        <p:nvCxnSpPr>
          <p:cNvPr id="53" name="Rechte verbindingslijn 52">
            <a:extLst>
              <a:ext uri="{FF2B5EF4-FFF2-40B4-BE49-F238E27FC236}">
                <a16:creationId xmlns:a16="http://schemas.microsoft.com/office/drawing/2014/main" id="{259E5F89-D3D8-447C-88E2-805BB55FA0D6}"/>
              </a:ext>
            </a:extLst>
          </p:cNvPr>
          <p:cNvCxnSpPr/>
          <p:nvPr/>
        </p:nvCxnSpPr>
        <p:spPr>
          <a:xfrm>
            <a:off x="623887" y="1975540"/>
            <a:ext cx="35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B8DBE5D9-13BF-45E3-933C-3FD0AAA06955}"/>
              </a:ext>
            </a:extLst>
          </p:cNvPr>
          <p:cNvCxnSpPr/>
          <p:nvPr/>
        </p:nvCxnSpPr>
        <p:spPr>
          <a:xfrm>
            <a:off x="4254759" y="1975540"/>
            <a:ext cx="35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F7AE65D7-12AC-4DEA-82A7-9F9442A66E48}"/>
              </a:ext>
            </a:extLst>
          </p:cNvPr>
          <p:cNvCxnSpPr/>
          <p:nvPr/>
        </p:nvCxnSpPr>
        <p:spPr>
          <a:xfrm>
            <a:off x="8048985" y="1975540"/>
            <a:ext cx="35208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2" name="Rechthoek 33">
            <a:extLst>
              <a:ext uri="{FF2B5EF4-FFF2-40B4-BE49-F238E27FC236}">
                <a16:creationId xmlns:a16="http://schemas.microsoft.com/office/drawing/2014/main" id="{38449C4D-985F-4410-948E-CF9BCCB42D6F}"/>
              </a:ext>
            </a:extLst>
          </p:cNvPr>
          <p:cNvSpPr/>
          <p:nvPr/>
        </p:nvSpPr>
        <p:spPr>
          <a:xfrm>
            <a:off x="8328948" y="3324282"/>
            <a:ext cx="3240000" cy="576000"/>
          </a:xfrm>
          <a:prstGeom prst="rect">
            <a:avLst/>
          </a:prstGeom>
          <a:solidFill>
            <a:srgbClr val="FFECE5"/>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Kwetsbare groepen wonen langer thuis</a:t>
            </a:r>
          </a:p>
        </p:txBody>
      </p:sp>
      <p:sp>
        <p:nvSpPr>
          <p:cNvPr id="63" name="Rechthoek 33">
            <a:extLst>
              <a:ext uri="{FF2B5EF4-FFF2-40B4-BE49-F238E27FC236}">
                <a16:creationId xmlns:a16="http://schemas.microsoft.com/office/drawing/2014/main" id="{2F118BA6-3858-4A1B-B95C-18DBC813D6F4}"/>
              </a:ext>
            </a:extLst>
          </p:cNvPr>
          <p:cNvSpPr/>
          <p:nvPr/>
        </p:nvSpPr>
        <p:spPr>
          <a:xfrm>
            <a:off x="8328948" y="4001945"/>
            <a:ext cx="3240000" cy="576000"/>
          </a:xfrm>
          <a:prstGeom prst="rect">
            <a:avLst/>
          </a:prstGeom>
          <a:solidFill>
            <a:srgbClr val="F1F7FA"/>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ersterken eerstelijnszorg en acute ketenzorg</a:t>
            </a:r>
          </a:p>
        </p:txBody>
      </p:sp>
      <p:sp>
        <p:nvSpPr>
          <p:cNvPr id="64" name="Rechthoek 33">
            <a:extLst>
              <a:ext uri="{FF2B5EF4-FFF2-40B4-BE49-F238E27FC236}">
                <a16:creationId xmlns:a16="http://schemas.microsoft.com/office/drawing/2014/main" id="{535B2CB0-558B-4F18-8659-3516C1CC7BE9}"/>
              </a:ext>
            </a:extLst>
          </p:cNvPr>
          <p:cNvSpPr/>
          <p:nvPr/>
        </p:nvSpPr>
        <p:spPr>
          <a:xfrm>
            <a:off x="8328948" y="4679608"/>
            <a:ext cx="3240000" cy="576000"/>
          </a:xfrm>
          <a:prstGeom prst="rect">
            <a:avLst/>
          </a:prstGeom>
          <a:solidFill>
            <a:srgbClr val="E2EEE0"/>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ersterken zorg op afstand</a:t>
            </a:r>
          </a:p>
        </p:txBody>
      </p:sp>
      <p:sp>
        <p:nvSpPr>
          <p:cNvPr id="65" name="Rechthoek 33">
            <a:extLst>
              <a:ext uri="{FF2B5EF4-FFF2-40B4-BE49-F238E27FC236}">
                <a16:creationId xmlns:a16="http://schemas.microsoft.com/office/drawing/2014/main" id="{82C6A5B2-CF50-4936-BB33-0F33FCB531F9}"/>
              </a:ext>
            </a:extLst>
          </p:cNvPr>
          <p:cNvSpPr/>
          <p:nvPr/>
        </p:nvSpPr>
        <p:spPr>
          <a:xfrm>
            <a:off x="8328948" y="5357272"/>
            <a:ext cx="3240000" cy="576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Versterken netwerkvorming zorg</a:t>
            </a:r>
          </a:p>
        </p:txBody>
      </p:sp>
      <p:sp>
        <p:nvSpPr>
          <p:cNvPr id="66" name="Rechthoek 65">
            <a:extLst>
              <a:ext uri="{FF2B5EF4-FFF2-40B4-BE49-F238E27FC236}">
                <a16:creationId xmlns:a16="http://schemas.microsoft.com/office/drawing/2014/main" id="{EFE03DD8-A93C-417D-9F44-86766226B9D5}"/>
              </a:ext>
            </a:extLst>
          </p:cNvPr>
          <p:cNvSpPr/>
          <p:nvPr/>
        </p:nvSpPr>
        <p:spPr>
          <a:xfrm>
            <a:off x="8328948" y="2646619"/>
            <a:ext cx="3240000" cy="576000"/>
          </a:xfrm>
          <a:prstGeom prst="rect">
            <a:avLst/>
          </a:prstGeom>
          <a:solidFill>
            <a:srgbClr val="F7F3F0"/>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tIns="0"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Integrale visie op gezondheid</a:t>
            </a:r>
          </a:p>
        </p:txBody>
      </p:sp>
      <p:sp>
        <p:nvSpPr>
          <p:cNvPr id="71" name="Ovaal 9">
            <a:extLst>
              <a:ext uri="{FF2B5EF4-FFF2-40B4-BE49-F238E27FC236}">
                <a16:creationId xmlns:a16="http://schemas.microsoft.com/office/drawing/2014/main" id="{096250C1-C2EA-44AF-B448-E655EAACD85C}"/>
              </a:ext>
            </a:extLst>
          </p:cNvPr>
          <p:cNvSpPr>
            <a:spLocks noChangeAspect="1"/>
          </p:cNvSpPr>
          <p:nvPr/>
        </p:nvSpPr>
        <p:spPr>
          <a:xfrm>
            <a:off x="8092022" y="2612366"/>
            <a:ext cx="628396" cy="628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prstClr val="white"/>
              </a:solidFill>
              <a:effectLst/>
              <a:uLnTx/>
              <a:uFillTx/>
              <a:latin typeface="Arial"/>
              <a:ea typeface="+mn-ea"/>
              <a:cs typeface="+mn-cs"/>
            </a:endParaRPr>
          </a:p>
        </p:txBody>
      </p:sp>
      <p:sp>
        <p:nvSpPr>
          <p:cNvPr id="110" name="Ovaal 9">
            <a:extLst>
              <a:ext uri="{FF2B5EF4-FFF2-40B4-BE49-F238E27FC236}">
                <a16:creationId xmlns:a16="http://schemas.microsoft.com/office/drawing/2014/main" id="{DBB98868-34E3-43A9-9470-BA2583ADE019}"/>
              </a:ext>
            </a:extLst>
          </p:cNvPr>
          <p:cNvSpPr>
            <a:spLocks noChangeAspect="1"/>
          </p:cNvSpPr>
          <p:nvPr/>
        </p:nvSpPr>
        <p:spPr>
          <a:xfrm>
            <a:off x="8092022" y="3291714"/>
            <a:ext cx="628396" cy="628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prstClr val="white"/>
              </a:solidFill>
              <a:effectLst/>
              <a:uLnTx/>
              <a:uFillTx/>
              <a:latin typeface="Arial"/>
              <a:ea typeface="+mn-ea"/>
              <a:cs typeface="+mn-cs"/>
            </a:endParaRPr>
          </a:p>
        </p:txBody>
      </p:sp>
      <p:sp>
        <p:nvSpPr>
          <p:cNvPr id="111" name="Ovaal 9">
            <a:extLst>
              <a:ext uri="{FF2B5EF4-FFF2-40B4-BE49-F238E27FC236}">
                <a16:creationId xmlns:a16="http://schemas.microsoft.com/office/drawing/2014/main" id="{FE7A1E71-6D10-4B9E-B22E-DF0F75D6C3B8}"/>
              </a:ext>
            </a:extLst>
          </p:cNvPr>
          <p:cNvSpPr>
            <a:spLocks noChangeAspect="1"/>
          </p:cNvSpPr>
          <p:nvPr/>
        </p:nvSpPr>
        <p:spPr>
          <a:xfrm>
            <a:off x="8092022" y="3971062"/>
            <a:ext cx="628396" cy="628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prstClr val="white"/>
              </a:solidFill>
              <a:effectLst/>
              <a:uLnTx/>
              <a:uFillTx/>
              <a:latin typeface="Arial"/>
              <a:ea typeface="+mn-ea"/>
              <a:cs typeface="+mn-cs"/>
            </a:endParaRPr>
          </a:p>
        </p:txBody>
      </p:sp>
      <p:sp>
        <p:nvSpPr>
          <p:cNvPr id="112" name="Ovaal 9">
            <a:extLst>
              <a:ext uri="{FF2B5EF4-FFF2-40B4-BE49-F238E27FC236}">
                <a16:creationId xmlns:a16="http://schemas.microsoft.com/office/drawing/2014/main" id="{6FB9F3C1-F5A6-4DA4-A36F-8BFA23ADD1B4}"/>
              </a:ext>
            </a:extLst>
          </p:cNvPr>
          <p:cNvSpPr>
            <a:spLocks noChangeAspect="1"/>
          </p:cNvSpPr>
          <p:nvPr/>
        </p:nvSpPr>
        <p:spPr>
          <a:xfrm>
            <a:off x="8092022" y="4650410"/>
            <a:ext cx="628396" cy="628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prstClr val="white"/>
              </a:solidFill>
              <a:effectLst/>
              <a:uLnTx/>
              <a:uFillTx/>
              <a:latin typeface="Arial"/>
              <a:ea typeface="+mn-ea"/>
              <a:cs typeface="+mn-cs"/>
            </a:endParaRPr>
          </a:p>
        </p:txBody>
      </p:sp>
      <p:sp>
        <p:nvSpPr>
          <p:cNvPr id="113" name="Ovaal 9">
            <a:extLst>
              <a:ext uri="{FF2B5EF4-FFF2-40B4-BE49-F238E27FC236}">
                <a16:creationId xmlns:a16="http://schemas.microsoft.com/office/drawing/2014/main" id="{A1BF67F9-D415-4D70-8CBE-C0861DBB3832}"/>
              </a:ext>
            </a:extLst>
          </p:cNvPr>
          <p:cNvSpPr>
            <a:spLocks noChangeAspect="1"/>
          </p:cNvSpPr>
          <p:nvPr/>
        </p:nvSpPr>
        <p:spPr>
          <a:xfrm>
            <a:off x="8092022" y="5329759"/>
            <a:ext cx="628396" cy="628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prstClr val="white"/>
              </a:solidFill>
              <a:effectLst/>
              <a:uLnTx/>
              <a:uFillTx/>
              <a:latin typeface="Arial"/>
              <a:ea typeface="+mn-ea"/>
              <a:cs typeface="+mn-cs"/>
            </a:endParaRPr>
          </a:p>
        </p:txBody>
      </p:sp>
      <p:grpSp>
        <p:nvGrpSpPr>
          <p:cNvPr id="72" name="Graphic 33">
            <a:extLst>
              <a:ext uri="{FF2B5EF4-FFF2-40B4-BE49-F238E27FC236}">
                <a16:creationId xmlns:a16="http://schemas.microsoft.com/office/drawing/2014/main" id="{3EE667E9-CC33-4757-89B6-5E94B4CC826A}"/>
              </a:ext>
            </a:extLst>
          </p:cNvPr>
          <p:cNvGrpSpPr>
            <a:grpSpLocks noChangeAspect="1"/>
          </p:cNvGrpSpPr>
          <p:nvPr/>
        </p:nvGrpSpPr>
        <p:grpSpPr>
          <a:xfrm>
            <a:off x="8294342" y="4785873"/>
            <a:ext cx="223756" cy="335631"/>
            <a:chOff x="6539626" y="3388457"/>
            <a:chExt cx="476250" cy="714375"/>
          </a:xfrm>
          <a:solidFill>
            <a:schemeClr val="tx2"/>
          </a:solidFill>
        </p:grpSpPr>
        <p:sp>
          <p:nvSpPr>
            <p:cNvPr id="73" name="Vrije vorm: vorm 141">
              <a:extLst>
                <a:ext uri="{FF2B5EF4-FFF2-40B4-BE49-F238E27FC236}">
                  <a16:creationId xmlns:a16="http://schemas.microsoft.com/office/drawing/2014/main" id="{07205C9D-604A-4BBA-932D-C7F5386D9523}"/>
                </a:ext>
              </a:extLst>
            </p:cNvPr>
            <p:cNvSpPr/>
            <p:nvPr/>
          </p:nvSpPr>
          <p:spPr>
            <a:xfrm>
              <a:off x="6539626" y="3388457"/>
              <a:ext cx="476250" cy="714375"/>
            </a:xfrm>
            <a:custGeom>
              <a:avLst/>
              <a:gdLst>
                <a:gd name="connsiteX0" fmla="*/ 438150 w 476250"/>
                <a:gd name="connsiteY0" fmla="*/ 6 h 714375"/>
                <a:gd name="connsiteX1" fmla="*/ 38100 w 476250"/>
                <a:gd name="connsiteY1" fmla="*/ 6 h 714375"/>
                <a:gd name="connsiteX2" fmla="*/ 0 w 476250"/>
                <a:gd name="connsiteY2" fmla="*/ 36677 h 714375"/>
                <a:gd name="connsiteX3" fmla="*/ 0 w 476250"/>
                <a:gd name="connsiteY3" fmla="*/ 687044 h 714375"/>
                <a:gd name="connsiteX4" fmla="*/ 38100 w 476250"/>
                <a:gd name="connsiteY4" fmla="*/ 723716 h 714375"/>
                <a:gd name="connsiteX5" fmla="*/ 438150 w 476250"/>
                <a:gd name="connsiteY5" fmla="*/ 723716 h 714375"/>
                <a:gd name="connsiteX6" fmla="*/ 476250 w 476250"/>
                <a:gd name="connsiteY6" fmla="*/ 687044 h 714375"/>
                <a:gd name="connsiteX7" fmla="*/ 476250 w 476250"/>
                <a:gd name="connsiteY7" fmla="*/ 36677 h 714375"/>
                <a:gd name="connsiteX8" fmla="*/ 438150 w 476250"/>
                <a:gd name="connsiteY8" fmla="*/ 6 h 714375"/>
                <a:gd name="connsiteX9" fmla="*/ 38100 w 476250"/>
                <a:gd name="connsiteY9" fmla="*/ 19056 h 714375"/>
                <a:gd name="connsiteX10" fmla="*/ 438150 w 476250"/>
                <a:gd name="connsiteY10" fmla="*/ 19056 h 714375"/>
                <a:gd name="connsiteX11" fmla="*/ 457200 w 476250"/>
                <a:gd name="connsiteY11" fmla="*/ 36677 h 714375"/>
                <a:gd name="connsiteX12" fmla="*/ 457200 w 476250"/>
                <a:gd name="connsiteY12" fmla="*/ 95161 h 714375"/>
                <a:gd name="connsiteX13" fmla="*/ 19050 w 476250"/>
                <a:gd name="connsiteY13" fmla="*/ 95161 h 714375"/>
                <a:gd name="connsiteX14" fmla="*/ 19050 w 476250"/>
                <a:gd name="connsiteY14" fmla="*/ 36677 h 714375"/>
                <a:gd name="connsiteX15" fmla="*/ 38100 w 476250"/>
                <a:gd name="connsiteY15" fmla="*/ 19056 h 714375"/>
                <a:gd name="connsiteX16" fmla="*/ 457200 w 476250"/>
                <a:gd name="connsiteY16" fmla="*/ 114306 h 714375"/>
                <a:gd name="connsiteX17" fmla="*/ 457200 w 476250"/>
                <a:gd name="connsiteY17" fmla="*/ 581031 h 714375"/>
                <a:gd name="connsiteX18" fmla="*/ 19050 w 476250"/>
                <a:gd name="connsiteY18" fmla="*/ 581031 h 714375"/>
                <a:gd name="connsiteX19" fmla="*/ 19050 w 476250"/>
                <a:gd name="connsiteY19" fmla="*/ 114306 h 714375"/>
                <a:gd name="connsiteX20" fmla="*/ 438150 w 476250"/>
                <a:gd name="connsiteY20" fmla="*/ 704856 h 714375"/>
                <a:gd name="connsiteX21" fmla="*/ 38100 w 476250"/>
                <a:gd name="connsiteY21" fmla="*/ 704856 h 714375"/>
                <a:gd name="connsiteX22" fmla="*/ 19050 w 476250"/>
                <a:gd name="connsiteY22" fmla="*/ 687235 h 714375"/>
                <a:gd name="connsiteX23" fmla="*/ 19050 w 476250"/>
                <a:gd name="connsiteY23" fmla="*/ 599986 h 714375"/>
                <a:gd name="connsiteX24" fmla="*/ 457200 w 476250"/>
                <a:gd name="connsiteY24" fmla="*/ 599986 h 714375"/>
                <a:gd name="connsiteX25" fmla="*/ 457200 w 476250"/>
                <a:gd name="connsiteY25" fmla="*/ 687044 h 714375"/>
                <a:gd name="connsiteX26" fmla="*/ 438150 w 476250"/>
                <a:gd name="connsiteY26" fmla="*/ 704666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6250" h="714375">
                  <a:moveTo>
                    <a:pt x="438150" y="6"/>
                  </a:moveTo>
                  <a:lnTo>
                    <a:pt x="38100" y="6"/>
                  </a:lnTo>
                  <a:cubicBezTo>
                    <a:pt x="17461" y="-365"/>
                    <a:pt x="417" y="16040"/>
                    <a:pt x="0" y="36677"/>
                  </a:cubicBezTo>
                  <a:lnTo>
                    <a:pt x="0" y="687044"/>
                  </a:lnTo>
                  <a:cubicBezTo>
                    <a:pt x="417" y="707682"/>
                    <a:pt x="17461" y="724087"/>
                    <a:pt x="38100" y="723716"/>
                  </a:cubicBezTo>
                  <a:lnTo>
                    <a:pt x="438150" y="723716"/>
                  </a:lnTo>
                  <a:cubicBezTo>
                    <a:pt x="458789" y="724087"/>
                    <a:pt x="475833" y="707682"/>
                    <a:pt x="476250" y="687044"/>
                  </a:cubicBezTo>
                  <a:lnTo>
                    <a:pt x="476250" y="36677"/>
                  </a:lnTo>
                  <a:cubicBezTo>
                    <a:pt x="475833" y="16040"/>
                    <a:pt x="458789" y="-365"/>
                    <a:pt x="438150" y="6"/>
                  </a:cubicBezTo>
                  <a:close/>
                  <a:moveTo>
                    <a:pt x="38100" y="19056"/>
                  </a:moveTo>
                  <a:lnTo>
                    <a:pt x="438150" y="19056"/>
                  </a:lnTo>
                  <a:cubicBezTo>
                    <a:pt x="448269" y="18681"/>
                    <a:pt x="456788" y="26559"/>
                    <a:pt x="457200" y="36677"/>
                  </a:cubicBezTo>
                  <a:lnTo>
                    <a:pt x="457200" y="95161"/>
                  </a:lnTo>
                  <a:lnTo>
                    <a:pt x="19050" y="95161"/>
                  </a:lnTo>
                  <a:lnTo>
                    <a:pt x="19050" y="36677"/>
                  </a:lnTo>
                  <a:cubicBezTo>
                    <a:pt x="19462" y="26559"/>
                    <a:pt x="27981" y="18681"/>
                    <a:pt x="38100" y="19056"/>
                  </a:cubicBezTo>
                  <a:close/>
                  <a:moveTo>
                    <a:pt x="457200" y="114306"/>
                  </a:moveTo>
                  <a:lnTo>
                    <a:pt x="457200" y="581031"/>
                  </a:lnTo>
                  <a:lnTo>
                    <a:pt x="19050" y="581031"/>
                  </a:lnTo>
                  <a:lnTo>
                    <a:pt x="19050" y="114306"/>
                  </a:lnTo>
                  <a:close/>
                  <a:moveTo>
                    <a:pt x="438150" y="704856"/>
                  </a:moveTo>
                  <a:lnTo>
                    <a:pt x="38100" y="704856"/>
                  </a:lnTo>
                  <a:cubicBezTo>
                    <a:pt x="27981" y="705232"/>
                    <a:pt x="19462" y="697353"/>
                    <a:pt x="19050" y="687235"/>
                  </a:cubicBezTo>
                  <a:lnTo>
                    <a:pt x="19050" y="599986"/>
                  </a:lnTo>
                  <a:lnTo>
                    <a:pt x="457200" y="599986"/>
                  </a:lnTo>
                  <a:lnTo>
                    <a:pt x="457200" y="687044"/>
                  </a:lnTo>
                  <a:cubicBezTo>
                    <a:pt x="456788" y="697163"/>
                    <a:pt x="448269" y="705041"/>
                    <a:pt x="438150" y="704666"/>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4" name="Vrije vorm: vorm 142">
              <a:extLst>
                <a:ext uri="{FF2B5EF4-FFF2-40B4-BE49-F238E27FC236}">
                  <a16:creationId xmlns:a16="http://schemas.microsoft.com/office/drawing/2014/main" id="{028D5DC0-2C39-43BF-BB05-E48A959C90DD}"/>
                </a:ext>
              </a:extLst>
            </p:cNvPr>
            <p:cNvSpPr/>
            <p:nvPr/>
          </p:nvSpPr>
          <p:spPr>
            <a:xfrm>
              <a:off x="6739651" y="3435993"/>
              <a:ext cx="76200" cy="19050"/>
            </a:xfrm>
            <a:custGeom>
              <a:avLst/>
              <a:gdLst>
                <a:gd name="connsiteX0" fmla="*/ 9525 w 76200"/>
                <a:gd name="connsiteY0" fmla="*/ 19050 h 19050"/>
                <a:gd name="connsiteX1" fmla="*/ 66675 w 76200"/>
                <a:gd name="connsiteY1" fmla="*/ 19050 h 19050"/>
                <a:gd name="connsiteX2" fmla="*/ 76200 w 76200"/>
                <a:gd name="connsiteY2" fmla="*/ 9525 h 19050"/>
                <a:gd name="connsiteX3" fmla="*/ 66675 w 76200"/>
                <a:gd name="connsiteY3" fmla="*/ 0 h 19050"/>
                <a:gd name="connsiteX4" fmla="*/ 9525 w 76200"/>
                <a:gd name="connsiteY4" fmla="*/ 0 h 19050"/>
                <a:gd name="connsiteX5" fmla="*/ 0 w 76200"/>
                <a:gd name="connsiteY5" fmla="*/ 9525 h 19050"/>
                <a:gd name="connsiteX6" fmla="*/ 9525 w 76200"/>
                <a:gd name="connsiteY6" fmla="*/ 1905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9050">
                  <a:moveTo>
                    <a:pt x="9525" y="19050"/>
                  </a:moveTo>
                  <a:lnTo>
                    <a:pt x="66675" y="19050"/>
                  </a:lnTo>
                  <a:cubicBezTo>
                    <a:pt x="71936" y="19050"/>
                    <a:pt x="76200" y="14786"/>
                    <a:pt x="76200" y="9525"/>
                  </a:cubicBezTo>
                  <a:cubicBezTo>
                    <a:pt x="76200" y="4264"/>
                    <a:pt x="71936" y="0"/>
                    <a:pt x="66675" y="0"/>
                  </a:cubicBezTo>
                  <a:lnTo>
                    <a:pt x="9525" y="0"/>
                  </a:lnTo>
                  <a:cubicBezTo>
                    <a:pt x="4264" y="0"/>
                    <a:pt x="0" y="4264"/>
                    <a:pt x="0" y="9525"/>
                  </a:cubicBezTo>
                  <a:cubicBezTo>
                    <a:pt x="0" y="14786"/>
                    <a:pt x="4264" y="19050"/>
                    <a:pt x="9525" y="19050"/>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5" name="Vrije vorm: vorm 143">
              <a:extLst>
                <a:ext uri="{FF2B5EF4-FFF2-40B4-BE49-F238E27FC236}">
                  <a16:creationId xmlns:a16="http://schemas.microsoft.com/office/drawing/2014/main" id="{54EB7286-E39D-4967-A94D-503194C5501E}"/>
                </a:ext>
              </a:extLst>
            </p:cNvPr>
            <p:cNvSpPr/>
            <p:nvPr/>
          </p:nvSpPr>
          <p:spPr>
            <a:xfrm>
              <a:off x="6744413" y="4007493"/>
              <a:ext cx="66675" cy="66675"/>
            </a:xfrm>
            <a:custGeom>
              <a:avLst/>
              <a:gdLst>
                <a:gd name="connsiteX0" fmla="*/ 33338 w 66675"/>
                <a:gd name="connsiteY0" fmla="*/ 0 h 66675"/>
                <a:gd name="connsiteX1" fmla="*/ 0 w 66675"/>
                <a:gd name="connsiteY1" fmla="*/ 33338 h 66675"/>
                <a:gd name="connsiteX2" fmla="*/ 33338 w 66675"/>
                <a:gd name="connsiteY2" fmla="*/ 66675 h 66675"/>
                <a:gd name="connsiteX3" fmla="*/ 66675 w 66675"/>
                <a:gd name="connsiteY3" fmla="*/ 33338 h 66675"/>
                <a:gd name="connsiteX4" fmla="*/ 33338 w 66675"/>
                <a:gd name="connsiteY4" fmla="*/ 0 h 66675"/>
                <a:gd name="connsiteX5" fmla="*/ 33338 w 66675"/>
                <a:gd name="connsiteY5" fmla="*/ 47625 h 66675"/>
                <a:gd name="connsiteX6" fmla="*/ 19050 w 66675"/>
                <a:gd name="connsiteY6" fmla="*/ 33338 h 66675"/>
                <a:gd name="connsiteX7" fmla="*/ 33338 w 66675"/>
                <a:gd name="connsiteY7" fmla="*/ 19050 h 66675"/>
                <a:gd name="connsiteX8" fmla="*/ 47625 w 66675"/>
                <a:gd name="connsiteY8" fmla="*/ 33338 h 66675"/>
                <a:gd name="connsiteX9" fmla="*/ 33338 w 66675"/>
                <a:gd name="connsiteY9" fmla="*/ 4762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66675">
                  <a:moveTo>
                    <a:pt x="33338" y="0"/>
                  </a:moveTo>
                  <a:cubicBezTo>
                    <a:pt x="14926" y="0"/>
                    <a:pt x="0" y="14926"/>
                    <a:pt x="0" y="33338"/>
                  </a:cubicBezTo>
                  <a:cubicBezTo>
                    <a:pt x="0" y="51749"/>
                    <a:pt x="14926" y="66675"/>
                    <a:pt x="33338" y="66675"/>
                  </a:cubicBezTo>
                  <a:cubicBezTo>
                    <a:pt x="51749" y="66675"/>
                    <a:pt x="66675" y="51749"/>
                    <a:pt x="66675" y="33338"/>
                  </a:cubicBezTo>
                  <a:cubicBezTo>
                    <a:pt x="66675" y="14926"/>
                    <a:pt x="51749" y="0"/>
                    <a:pt x="33338" y="0"/>
                  </a:cubicBezTo>
                  <a:close/>
                  <a:moveTo>
                    <a:pt x="33338" y="47625"/>
                  </a:moveTo>
                  <a:cubicBezTo>
                    <a:pt x="25447" y="47625"/>
                    <a:pt x="19050" y="41228"/>
                    <a:pt x="19050" y="33338"/>
                  </a:cubicBezTo>
                  <a:cubicBezTo>
                    <a:pt x="19050" y="25447"/>
                    <a:pt x="25447" y="19050"/>
                    <a:pt x="33338" y="19050"/>
                  </a:cubicBezTo>
                  <a:cubicBezTo>
                    <a:pt x="41228" y="19050"/>
                    <a:pt x="47625" y="25447"/>
                    <a:pt x="47625" y="33338"/>
                  </a:cubicBezTo>
                  <a:cubicBezTo>
                    <a:pt x="47625" y="41228"/>
                    <a:pt x="41228" y="47625"/>
                    <a:pt x="33338" y="47625"/>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6" name="Vrije vorm: vorm 144">
              <a:extLst>
                <a:ext uri="{FF2B5EF4-FFF2-40B4-BE49-F238E27FC236}">
                  <a16:creationId xmlns:a16="http://schemas.microsoft.com/office/drawing/2014/main" id="{4DAEA907-D258-444E-8B2A-A0F8799014D5}"/>
                </a:ext>
              </a:extLst>
            </p:cNvPr>
            <p:cNvSpPr/>
            <p:nvPr/>
          </p:nvSpPr>
          <p:spPr>
            <a:xfrm>
              <a:off x="6774032" y="3727549"/>
              <a:ext cx="133350" cy="133350"/>
            </a:xfrm>
            <a:custGeom>
              <a:avLst/>
              <a:gdLst>
                <a:gd name="connsiteX0" fmla="*/ 125068 w 133350"/>
                <a:gd name="connsiteY0" fmla="*/ 2290 h 133350"/>
                <a:gd name="connsiteX1" fmla="*/ 2290 w 133350"/>
                <a:gd name="connsiteY1" fmla="*/ 125068 h 133350"/>
                <a:gd name="connsiteX2" fmla="*/ 3330 w 133350"/>
                <a:gd name="connsiteY2" fmla="*/ 138498 h 133350"/>
                <a:gd name="connsiteX3" fmla="*/ 15721 w 133350"/>
                <a:gd name="connsiteY3" fmla="*/ 138498 h 133350"/>
                <a:gd name="connsiteX4" fmla="*/ 138498 w 133350"/>
                <a:gd name="connsiteY4" fmla="*/ 15721 h 133350"/>
                <a:gd name="connsiteX5" fmla="*/ 137459 w 133350"/>
                <a:gd name="connsiteY5" fmla="*/ 2290 h 133350"/>
                <a:gd name="connsiteX6" fmla="*/ 125068 w 133350"/>
                <a:gd name="connsiteY6" fmla="*/ 229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133350">
                  <a:moveTo>
                    <a:pt x="125068" y="2290"/>
                  </a:moveTo>
                  <a:lnTo>
                    <a:pt x="2290" y="125068"/>
                  </a:lnTo>
                  <a:cubicBezTo>
                    <a:pt x="-1131" y="129063"/>
                    <a:pt x="-666" y="135076"/>
                    <a:pt x="3330" y="138498"/>
                  </a:cubicBezTo>
                  <a:cubicBezTo>
                    <a:pt x="6896" y="141552"/>
                    <a:pt x="12154" y="141552"/>
                    <a:pt x="15721" y="138498"/>
                  </a:cubicBezTo>
                  <a:lnTo>
                    <a:pt x="138498" y="15721"/>
                  </a:lnTo>
                  <a:cubicBezTo>
                    <a:pt x="141919" y="11725"/>
                    <a:pt x="141454" y="5712"/>
                    <a:pt x="137459" y="2290"/>
                  </a:cubicBezTo>
                  <a:cubicBezTo>
                    <a:pt x="133893" y="-763"/>
                    <a:pt x="128634" y="-763"/>
                    <a:pt x="125068" y="2290"/>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7" name="Vrije vorm: vorm 145">
              <a:extLst>
                <a:ext uri="{FF2B5EF4-FFF2-40B4-BE49-F238E27FC236}">
                  <a16:creationId xmlns:a16="http://schemas.microsoft.com/office/drawing/2014/main" id="{01A12339-F870-4BFB-88DA-CE8E19B2E6E7}"/>
                </a:ext>
              </a:extLst>
            </p:cNvPr>
            <p:cNvSpPr/>
            <p:nvPr/>
          </p:nvSpPr>
          <p:spPr>
            <a:xfrm>
              <a:off x="6639012" y="3597818"/>
              <a:ext cx="276225" cy="276225"/>
            </a:xfrm>
            <a:custGeom>
              <a:avLst/>
              <a:gdLst>
                <a:gd name="connsiteX0" fmla="*/ 2817 w 276225"/>
                <a:gd name="connsiteY0" fmla="*/ 273467 h 276225"/>
                <a:gd name="connsiteX1" fmla="*/ 16248 w 276225"/>
                <a:gd name="connsiteY1" fmla="*/ 273467 h 276225"/>
                <a:gd name="connsiteX2" fmla="*/ 273994 w 276225"/>
                <a:gd name="connsiteY2" fmla="*/ 15721 h 276225"/>
                <a:gd name="connsiteX3" fmla="*/ 272955 w 276225"/>
                <a:gd name="connsiteY3" fmla="*/ 2290 h 276225"/>
                <a:gd name="connsiteX4" fmla="*/ 260564 w 276225"/>
                <a:gd name="connsiteY4" fmla="*/ 2290 h 276225"/>
                <a:gd name="connsiteX5" fmla="*/ 2817 w 276225"/>
                <a:gd name="connsiteY5" fmla="*/ 259942 h 276225"/>
                <a:gd name="connsiteX6" fmla="*/ 2762 w 276225"/>
                <a:gd name="connsiteY6" fmla="*/ 273412 h 276225"/>
                <a:gd name="connsiteX7" fmla="*/ 2817 w 276225"/>
                <a:gd name="connsiteY7" fmla="*/ 273467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6225" h="276225">
                  <a:moveTo>
                    <a:pt x="2817" y="273467"/>
                  </a:moveTo>
                  <a:cubicBezTo>
                    <a:pt x="6532" y="277160"/>
                    <a:pt x="12533" y="277160"/>
                    <a:pt x="16248" y="273467"/>
                  </a:cubicBezTo>
                  <a:lnTo>
                    <a:pt x="273994" y="15721"/>
                  </a:lnTo>
                  <a:cubicBezTo>
                    <a:pt x="277415" y="11725"/>
                    <a:pt x="276951" y="5712"/>
                    <a:pt x="272955" y="2290"/>
                  </a:cubicBezTo>
                  <a:cubicBezTo>
                    <a:pt x="269389" y="-763"/>
                    <a:pt x="264130" y="-763"/>
                    <a:pt x="260564" y="2290"/>
                  </a:cubicBezTo>
                  <a:lnTo>
                    <a:pt x="2817" y="259942"/>
                  </a:lnTo>
                  <a:cubicBezTo>
                    <a:pt x="-917" y="263646"/>
                    <a:pt x="-942" y="269677"/>
                    <a:pt x="2762" y="273412"/>
                  </a:cubicBezTo>
                  <a:cubicBezTo>
                    <a:pt x="2780" y="273430"/>
                    <a:pt x="2799" y="273449"/>
                    <a:pt x="2817" y="273467"/>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8" name="Vrije vorm: vorm 146">
              <a:extLst>
                <a:ext uri="{FF2B5EF4-FFF2-40B4-BE49-F238E27FC236}">
                  <a16:creationId xmlns:a16="http://schemas.microsoft.com/office/drawing/2014/main" id="{5E0DDE91-AD88-4389-B654-19DBF8BDA107}"/>
                </a:ext>
              </a:extLst>
            </p:cNvPr>
            <p:cNvSpPr/>
            <p:nvPr/>
          </p:nvSpPr>
          <p:spPr>
            <a:xfrm>
              <a:off x="6612389" y="3742928"/>
              <a:ext cx="38100" cy="38100"/>
            </a:xfrm>
            <a:custGeom>
              <a:avLst/>
              <a:gdLst>
                <a:gd name="connsiteX0" fmla="*/ 2770 w 38100"/>
                <a:gd name="connsiteY0" fmla="*/ 36631 h 38100"/>
                <a:gd name="connsiteX1" fmla="*/ 16200 w 38100"/>
                <a:gd name="connsiteY1" fmla="*/ 36631 h 38100"/>
                <a:gd name="connsiteX2" fmla="*/ 36488 w 38100"/>
                <a:gd name="connsiteY2" fmla="*/ 16248 h 38100"/>
                <a:gd name="connsiteX3" fmla="*/ 36488 w 38100"/>
                <a:gd name="connsiteY3" fmla="*/ 2817 h 38100"/>
                <a:gd name="connsiteX4" fmla="*/ 23018 w 38100"/>
                <a:gd name="connsiteY4" fmla="*/ 2762 h 38100"/>
                <a:gd name="connsiteX5" fmla="*/ 22963 w 38100"/>
                <a:gd name="connsiteY5" fmla="*/ 2817 h 38100"/>
                <a:gd name="connsiteX6" fmla="*/ 2770 w 38100"/>
                <a:gd name="connsiteY6" fmla="*/ 23201 h 38100"/>
                <a:gd name="connsiteX7" fmla="*/ 2770 w 38100"/>
                <a:gd name="connsiteY7" fmla="*/ 36631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38100">
                  <a:moveTo>
                    <a:pt x="2770" y="36631"/>
                  </a:moveTo>
                  <a:cubicBezTo>
                    <a:pt x="6484" y="40324"/>
                    <a:pt x="12485" y="40324"/>
                    <a:pt x="16200" y="36631"/>
                  </a:cubicBezTo>
                  <a:lnTo>
                    <a:pt x="36488" y="16248"/>
                  </a:lnTo>
                  <a:cubicBezTo>
                    <a:pt x="40181" y="12533"/>
                    <a:pt x="40181" y="6532"/>
                    <a:pt x="36488" y="2817"/>
                  </a:cubicBezTo>
                  <a:cubicBezTo>
                    <a:pt x="32784" y="-917"/>
                    <a:pt x="26753" y="-942"/>
                    <a:pt x="23018" y="2762"/>
                  </a:cubicBezTo>
                  <a:cubicBezTo>
                    <a:pt x="23000" y="2780"/>
                    <a:pt x="22981" y="2799"/>
                    <a:pt x="22963" y="2817"/>
                  </a:cubicBezTo>
                  <a:lnTo>
                    <a:pt x="2770" y="23201"/>
                  </a:lnTo>
                  <a:cubicBezTo>
                    <a:pt x="-923" y="26916"/>
                    <a:pt x="-923" y="32916"/>
                    <a:pt x="2770" y="36631"/>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79" name="Vrije vorm: vorm 147">
              <a:extLst>
                <a:ext uri="{FF2B5EF4-FFF2-40B4-BE49-F238E27FC236}">
                  <a16:creationId xmlns:a16="http://schemas.microsoft.com/office/drawing/2014/main" id="{60189058-7CF2-4E1D-AEE2-E9091E86B528}"/>
                </a:ext>
              </a:extLst>
            </p:cNvPr>
            <p:cNvSpPr/>
            <p:nvPr/>
          </p:nvSpPr>
          <p:spPr>
            <a:xfrm>
              <a:off x="6666301" y="3641546"/>
              <a:ext cx="85725" cy="85725"/>
            </a:xfrm>
            <a:custGeom>
              <a:avLst/>
              <a:gdLst>
                <a:gd name="connsiteX0" fmla="*/ 16200 w 85725"/>
                <a:gd name="connsiteY0" fmla="*/ 84102 h 85725"/>
                <a:gd name="connsiteX1" fmla="*/ 83542 w 85725"/>
                <a:gd name="connsiteY1" fmla="*/ 16760 h 85725"/>
                <a:gd name="connsiteX2" fmla="*/ 84581 w 85725"/>
                <a:gd name="connsiteY2" fmla="*/ 3330 h 85725"/>
                <a:gd name="connsiteX3" fmla="*/ 71151 w 85725"/>
                <a:gd name="connsiteY3" fmla="*/ 2290 h 85725"/>
                <a:gd name="connsiteX4" fmla="*/ 70111 w 85725"/>
                <a:gd name="connsiteY4" fmla="*/ 3330 h 85725"/>
                <a:gd name="connsiteX5" fmla="*/ 2770 w 85725"/>
                <a:gd name="connsiteY5" fmla="*/ 70671 h 85725"/>
                <a:gd name="connsiteX6" fmla="*/ 2770 w 85725"/>
                <a:gd name="connsiteY6" fmla="*/ 84102 h 85725"/>
                <a:gd name="connsiteX7" fmla="*/ 16200 w 85725"/>
                <a:gd name="connsiteY7" fmla="*/ 84102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85725">
                  <a:moveTo>
                    <a:pt x="16200" y="84102"/>
                  </a:moveTo>
                  <a:lnTo>
                    <a:pt x="83542" y="16760"/>
                  </a:lnTo>
                  <a:cubicBezTo>
                    <a:pt x="87537" y="13338"/>
                    <a:pt x="88002" y="7325"/>
                    <a:pt x="84581" y="3330"/>
                  </a:cubicBezTo>
                  <a:cubicBezTo>
                    <a:pt x="81159" y="-666"/>
                    <a:pt x="75146" y="-1131"/>
                    <a:pt x="71151" y="2290"/>
                  </a:cubicBezTo>
                  <a:cubicBezTo>
                    <a:pt x="70778" y="2609"/>
                    <a:pt x="70430" y="2957"/>
                    <a:pt x="70111" y="3330"/>
                  </a:cubicBezTo>
                  <a:lnTo>
                    <a:pt x="2770" y="70671"/>
                  </a:lnTo>
                  <a:cubicBezTo>
                    <a:pt x="-923" y="74386"/>
                    <a:pt x="-923" y="80387"/>
                    <a:pt x="2770" y="84102"/>
                  </a:cubicBezTo>
                  <a:cubicBezTo>
                    <a:pt x="6484" y="87794"/>
                    <a:pt x="12485" y="87794"/>
                    <a:pt x="16200" y="84102"/>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0" name="Graphic 25">
            <a:extLst>
              <a:ext uri="{FF2B5EF4-FFF2-40B4-BE49-F238E27FC236}">
                <a16:creationId xmlns:a16="http://schemas.microsoft.com/office/drawing/2014/main" id="{8A3EB875-3BCD-4F2D-94E1-D2AE05CC21F9}"/>
              </a:ext>
            </a:extLst>
          </p:cNvPr>
          <p:cNvGrpSpPr>
            <a:grpSpLocks noChangeAspect="1"/>
          </p:cNvGrpSpPr>
          <p:nvPr/>
        </p:nvGrpSpPr>
        <p:grpSpPr>
          <a:xfrm>
            <a:off x="8249398" y="3432498"/>
            <a:ext cx="313644" cy="322118"/>
            <a:chOff x="775493" y="4700916"/>
            <a:chExt cx="704850" cy="723900"/>
          </a:xfrm>
          <a:solidFill>
            <a:schemeClr val="tx2"/>
          </a:solidFill>
        </p:grpSpPr>
        <p:sp>
          <p:nvSpPr>
            <p:cNvPr id="81" name="Vrije vorm: vorm 169">
              <a:extLst>
                <a:ext uri="{FF2B5EF4-FFF2-40B4-BE49-F238E27FC236}">
                  <a16:creationId xmlns:a16="http://schemas.microsoft.com/office/drawing/2014/main" id="{93A7F68B-A396-4385-9A25-24FC12BEDC37}"/>
                </a:ext>
              </a:extLst>
            </p:cNvPr>
            <p:cNvSpPr/>
            <p:nvPr/>
          </p:nvSpPr>
          <p:spPr>
            <a:xfrm>
              <a:off x="775493" y="4700916"/>
              <a:ext cx="704850" cy="723900"/>
            </a:xfrm>
            <a:custGeom>
              <a:avLst/>
              <a:gdLst>
                <a:gd name="connsiteX0" fmla="*/ 705319 w 704850"/>
                <a:gd name="connsiteY0" fmla="*/ 336236 h 723900"/>
                <a:gd name="connsiteX1" fmla="*/ 620737 w 704850"/>
                <a:gd name="connsiteY1" fmla="*/ 249749 h 723900"/>
                <a:gd name="connsiteX2" fmla="*/ 620737 w 704850"/>
                <a:gd name="connsiteY2" fmla="*/ 91729 h 723900"/>
                <a:gd name="connsiteX3" fmla="*/ 584923 w 704850"/>
                <a:gd name="connsiteY3" fmla="*/ 57153 h 723900"/>
                <a:gd name="connsiteX4" fmla="*/ 532917 w 704850"/>
                <a:gd name="connsiteY4" fmla="*/ 57153 h 723900"/>
                <a:gd name="connsiteX5" fmla="*/ 496914 w 704850"/>
                <a:gd name="connsiteY5" fmla="*/ 91619 h 723900"/>
                <a:gd name="connsiteX6" fmla="*/ 496912 w 704850"/>
                <a:gd name="connsiteY6" fmla="*/ 91729 h 723900"/>
                <a:gd name="connsiteX7" fmla="*/ 496912 w 704850"/>
                <a:gd name="connsiteY7" fmla="*/ 123542 h 723900"/>
                <a:gd name="connsiteX8" fmla="*/ 390137 w 704850"/>
                <a:gd name="connsiteY8" fmla="*/ 14862 h 723900"/>
                <a:gd name="connsiteX9" fmla="*/ 354037 w 704850"/>
                <a:gd name="connsiteY9" fmla="*/ 3 h 723900"/>
                <a:gd name="connsiteX10" fmla="*/ 354037 w 704850"/>
                <a:gd name="connsiteY10" fmla="*/ 3 h 723900"/>
                <a:gd name="connsiteX11" fmla="*/ 318223 w 704850"/>
                <a:gd name="connsiteY11" fmla="*/ 15053 h 723900"/>
                <a:gd name="connsiteX12" fmla="*/ 5803 w 704850"/>
                <a:gd name="connsiteY12" fmla="*/ 336331 h 723900"/>
                <a:gd name="connsiteX13" fmla="*/ 1612 w 704850"/>
                <a:gd name="connsiteY13" fmla="*/ 358048 h 723900"/>
                <a:gd name="connsiteX14" fmla="*/ 21805 w 704850"/>
                <a:gd name="connsiteY14" fmla="*/ 371478 h 723900"/>
                <a:gd name="connsiteX15" fmla="*/ 78955 w 704850"/>
                <a:gd name="connsiteY15" fmla="*/ 371478 h 723900"/>
                <a:gd name="connsiteX16" fmla="*/ 78955 w 704850"/>
                <a:gd name="connsiteY16" fmla="*/ 679612 h 723900"/>
                <a:gd name="connsiteX17" fmla="*/ 126580 w 704850"/>
                <a:gd name="connsiteY17" fmla="*/ 723903 h 723900"/>
                <a:gd name="connsiteX18" fmla="*/ 363562 w 704850"/>
                <a:gd name="connsiteY18" fmla="*/ 723903 h 723900"/>
                <a:gd name="connsiteX19" fmla="*/ 373087 w 704850"/>
                <a:gd name="connsiteY19" fmla="*/ 714378 h 723900"/>
                <a:gd name="connsiteX20" fmla="*/ 373087 w 704850"/>
                <a:gd name="connsiteY20" fmla="*/ 533403 h 723900"/>
                <a:gd name="connsiteX21" fmla="*/ 401662 w 704850"/>
                <a:gd name="connsiteY21" fmla="*/ 504828 h 723900"/>
                <a:gd name="connsiteX22" fmla="*/ 487387 w 704850"/>
                <a:gd name="connsiteY22" fmla="*/ 504828 h 723900"/>
                <a:gd name="connsiteX23" fmla="*/ 515962 w 704850"/>
                <a:gd name="connsiteY23" fmla="*/ 533403 h 723900"/>
                <a:gd name="connsiteX24" fmla="*/ 515962 w 704850"/>
                <a:gd name="connsiteY24" fmla="*/ 714378 h 723900"/>
                <a:gd name="connsiteX25" fmla="*/ 525487 w 704850"/>
                <a:gd name="connsiteY25" fmla="*/ 723903 h 723900"/>
                <a:gd name="connsiteX26" fmla="*/ 583971 w 704850"/>
                <a:gd name="connsiteY26" fmla="*/ 723903 h 723900"/>
                <a:gd name="connsiteX27" fmla="*/ 631596 w 704850"/>
                <a:gd name="connsiteY27" fmla="*/ 679612 h 723900"/>
                <a:gd name="connsiteX28" fmla="*/ 631596 w 704850"/>
                <a:gd name="connsiteY28" fmla="*/ 371478 h 723900"/>
                <a:gd name="connsiteX29" fmla="*/ 688746 w 704850"/>
                <a:gd name="connsiteY29" fmla="*/ 371478 h 723900"/>
                <a:gd name="connsiteX30" fmla="*/ 709034 w 704850"/>
                <a:gd name="connsiteY30" fmla="*/ 358048 h 723900"/>
                <a:gd name="connsiteX31" fmla="*/ 705319 w 704850"/>
                <a:gd name="connsiteY31" fmla="*/ 336236 h 723900"/>
                <a:gd name="connsiteX32" fmla="*/ 691698 w 704850"/>
                <a:gd name="connsiteY32" fmla="*/ 350523 h 723900"/>
                <a:gd name="connsiteX33" fmla="*/ 688936 w 704850"/>
                <a:gd name="connsiteY33" fmla="*/ 352428 h 723900"/>
                <a:gd name="connsiteX34" fmla="*/ 622261 w 704850"/>
                <a:gd name="connsiteY34" fmla="*/ 352428 h 723900"/>
                <a:gd name="connsiteX35" fmla="*/ 612736 w 704850"/>
                <a:gd name="connsiteY35" fmla="*/ 361953 h 723900"/>
                <a:gd name="connsiteX36" fmla="*/ 612736 w 704850"/>
                <a:gd name="connsiteY36" fmla="*/ 679612 h 723900"/>
                <a:gd name="connsiteX37" fmla="*/ 584161 w 704850"/>
                <a:gd name="connsiteY37" fmla="*/ 704853 h 723900"/>
                <a:gd name="connsiteX38" fmla="*/ 535012 w 704850"/>
                <a:gd name="connsiteY38" fmla="*/ 704853 h 723900"/>
                <a:gd name="connsiteX39" fmla="*/ 535012 w 704850"/>
                <a:gd name="connsiteY39" fmla="*/ 533403 h 723900"/>
                <a:gd name="connsiteX40" fmla="*/ 487387 w 704850"/>
                <a:gd name="connsiteY40" fmla="*/ 485778 h 723900"/>
                <a:gd name="connsiteX41" fmla="*/ 401662 w 704850"/>
                <a:gd name="connsiteY41" fmla="*/ 485778 h 723900"/>
                <a:gd name="connsiteX42" fmla="*/ 354037 w 704850"/>
                <a:gd name="connsiteY42" fmla="*/ 533403 h 723900"/>
                <a:gd name="connsiteX43" fmla="*/ 354037 w 704850"/>
                <a:gd name="connsiteY43" fmla="*/ 704853 h 723900"/>
                <a:gd name="connsiteX44" fmla="*/ 126961 w 704850"/>
                <a:gd name="connsiteY44" fmla="*/ 704853 h 723900"/>
                <a:gd name="connsiteX45" fmla="*/ 98386 w 704850"/>
                <a:gd name="connsiteY45" fmla="*/ 679612 h 723900"/>
                <a:gd name="connsiteX46" fmla="*/ 98386 w 704850"/>
                <a:gd name="connsiteY46" fmla="*/ 361953 h 723900"/>
                <a:gd name="connsiteX47" fmla="*/ 88861 w 704850"/>
                <a:gd name="connsiteY47" fmla="*/ 352428 h 723900"/>
                <a:gd name="connsiteX48" fmla="*/ 22186 w 704850"/>
                <a:gd name="connsiteY48" fmla="*/ 352428 h 723900"/>
                <a:gd name="connsiteX49" fmla="*/ 19519 w 704850"/>
                <a:gd name="connsiteY49" fmla="*/ 350618 h 723900"/>
                <a:gd name="connsiteX50" fmla="*/ 19519 w 704850"/>
                <a:gd name="connsiteY50" fmla="*/ 349571 h 723900"/>
                <a:gd name="connsiteX51" fmla="*/ 332034 w 704850"/>
                <a:gd name="connsiteY51" fmla="*/ 28292 h 723900"/>
                <a:gd name="connsiteX52" fmla="*/ 354228 w 704850"/>
                <a:gd name="connsiteY52" fmla="*/ 18767 h 723900"/>
                <a:gd name="connsiteX53" fmla="*/ 354228 w 704850"/>
                <a:gd name="connsiteY53" fmla="*/ 18767 h 723900"/>
                <a:gd name="connsiteX54" fmla="*/ 376421 w 704850"/>
                <a:gd name="connsiteY54" fmla="*/ 28292 h 723900"/>
                <a:gd name="connsiteX55" fmla="*/ 524058 w 704850"/>
                <a:gd name="connsiteY55" fmla="*/ 178121 h 723900"/>
                <a:gd name="connsiteX56" fmla="*/ 537529 w 704850"/>
                <a:gd name="connsiteY56" fmla="*/ 178176 h 723900"/>
                <a:gd name="connsiteX57" fmla="*/ 537584 w 704850"/>
                <a:gd name="connsiteY57" fmla="*/ 178121 h 723900"/>
                <a:gd name="connsiteX58" fmla="*/ 537584 w 704850"/>
                <a:gd name="connsiteY58" fmla="*/ 164690 h 723900"/>
                <a:gd name="connsiteX59" fmla="*/ 515962 w 704850"/>
                <a:gd name="connsiteY59" fmla="*/ 142878 h 723900"/>
                <a:gd name="connsiteX60" fmla="*/ 515962 w 704850"/>
                <a:gd name="connsiteY60" fmla="*/ 91729 h 723900"/>
                <a:gd name="connsiteX61" fmla="*/ 532726 w 704850"/>
                <a:gd name="connsiteY61" fmla="*/ 76203 h 723900"/>
                <a:gd name="connsiteX62" fmla="*/ 584923 w 704850"/>
                <a:gd name="connsiteY62" fmla="*/ 76203 h 723900"/>
                <a:gd name="connsiteX63" fmla="*/ 601687 w 704850"/>
                <a:gd name="connsiteY63" fmla="*/ 91729 h 723900"/>
                <a:gd name="connsiteX64" fmla="*/ 601687 w 704850"/>
                <a:gd name="connsiteY64" fmla="*/ 230222 h 723900"/>
                <a:gd name="connsiteX65" fmla="*/ 575017 w 704850"/>
                <a:gd name="connsiteY65" fmla="*/ 202886 h 723900"/>
                <a:gd name="connsiteX66" fmla="*/ 561539 w 704850"/>
                <a:gd name="connsiteY66" fmla="*/ 202743 h 723900"/>
                <a:gd name="connsiteX67" fmla="*/ 561396 w 704850"/>
                <a:gd name="connsiteY67" fmla="*/ 216221 h 723900"/>
                <a:gd name="connsiteX68" fmla="*/ 691413 w 704850"/>
                <a:gd name="connsiteY68" fmla="*/ 349571 h 723900"/>
                <a:gd name="connsiteX69" fmla="*/ 691698 w 704850"/>
                <a:gd name="connsiteY69" fmla="*/ 350523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04850" h="723900">
                  <a:moveTo>
                    <a:pt x="705319" y="336236"/>
                  </a:moveTo>
                  <a:lnTo>
                    <a:pt x="620737" y="249749"/>
                  </a:lnTo>
                  <a:lnTo>
                    <a:pt x="620737" y="91729"/>
                  </a:lnTo>
                  <a:cubicBezTo>
                    <a:pt x="620372" y="72302"/>
                    <a:pt x="604351" y="56835"/>
                    <a:pt x="584923" y="57153"/>
                  </a:cubicBezTo>
                  <a:lnTo>
                    <a:pt x="532917" y="57153"/>
                  </a:lnTo>
                  <a:cubicBezTo>
                    <a:pt x="513457" y="56729"/>
                    <a:pt x="497339" y="72160"/>
                    <a:pt x="496914" y="91619"/>
                  </a:cubicBezTo>
                  <a:cubicBezTo>
                    <a:pt x="496913" y="91656"/>
                    <a:pt x="496913" y="91693"/>
                    <a:pt x="496912" y="91729"/>
                  </a:cubicBezTo>
                  <a:lnTo>
                    <a:pt x="496912" y="123542"/>
                  </a:lnTo>
                  <a:lnTo>
                    <a:pt x="390137" y="14862"/>
                  </a:lnTo>
                  <a:cubicBezTo>
                    <a:pt x="380620" y="5213"/>
                    <a:pt x="367588" y="-150"/>
                    <a:pt x="354037" y="3"/>
                  </a:cubicBezTo>
                  <a:lnTo>
                    <a:pt x="354037" y="3"/>
                  </a:lnTo>
                  <a:cubicBezTo>
                    <a:pt x="340548" y="-66"/>
                    <a:pt x="327614" y="5369"/>
                    <a:pt x="318223" y="15053"/>
                  </a:cubicBezTo>
                  <a:lnTo>
                    <a:pt x="5803" y="336331"/>
                  </a:lnTo>
                  <a:cubicBezTo>
                    <a:pt x="71" y="342018"/>
                    <a:pt x="-1593" y="350637"/>
                    <a:pt x="1612" y="358048"/>
                  </a:cubicBezTo>
                  <a:cubicBezTo>
                    <a:pt x="5046" y="366165"/>
                    <a:pt x="12992" y="371450"/>
                    <a:pt x="21805" y="371478"/>
                  </a:cubicBezTo>
                  <a:lnTo>
                    <a:pt x="78955" y="371478"/>
                  </a:lnTo>
                  <a:lnTo>
                    <a:pt x="78955" y="679612"/>
                  </a:lnTo>
                  <a:cubicBezTo>
                    <a:pt x="79988" y="704943"/>
                    <a:pt x="101242" y="724708"/>
                    <a:pt x="126580" y="723903"/>
                  </a:cubicBezTo>
                  <a:lnTo>
                    <a:pt x="363562" y="723903"/>
                  </a:lnTo>
                  <a:cubicBezTo>
                    <a:pt x="368823" y="723903"/>
                    <a:pt x="373087" y="719639"/>
                    <a:pt x="373087" y="714378"/>
                  </a:cubicBezTo>
                  <a:lnTo>
                    <a:pt x="373087" y="533403"/>
                  </a:lnTo>
                  <a:cubicBezTo>
                    <a:pt x="373087" y="517621"/>
                    <a:pt x="385880" y="504828"/>
                    <a:pt x="401662" y="504828"/>
                  </a:cubicBezTo>
                  <a:lnTo>
                    <a:pt x="487387" y="504828"/>
                  </a:lnTo>
                  <a:cubicBezTo>
                    <a:pt x="503169" y="504828"/>
                    <a:pt x="515962" y="517621"/>
                    <a:pt x="515962" y="533403"/>
                  </a:cubicBezTo>
                  <a:lnTo>
                    <a:pt x="515962" y="714378"/>
                  </a:lnTo>
                  <a:cubicBezTo>
                    <a:pt x="515962" y="719639"/>
                    <a:pt x="520227" y="723903"/>
                    <a:pt x="525487" y="723903"/>
                  </a:cubicBezTo>
                  <a:lnTo>
                    <a:pt x="583971" y="723903"/>
                  </a:lnTo>
                  <a:cubicBezTo>
                    <a:pt x="609329" y="724761"/>
                    <a:pt x="630614" y="704966"/>
                    <a:pt x="631596" y="679612"/>
                  </a:cubicBezTo>
                  <a:lnTo>
                    <a:pt x="631596" y="371478"/>
                  </a:lnTo>
                  <a:lnTo>
                    <a:pt x="688746" y="371478"/>
                  </a:lnTo>
                  <a:cubicBezTo>
                    <a:pt x="697578" y="371437"/>
                    <a:pt x="705546" y="366163"/>
                    <a:pt x="709034" y="358048"/>
                  </a:cubicBezTo>
                  <a:cubicBezTo>
                    <a:pt x="712296" y="350692"/>
                    <a:pt x="710832" y="342097"/>
                    <a:pt x="705319" y="336236"/>
                  </a:cubicBezTo>
                  <a:close/>
                  <a:moveTo>
                    <a:pt x="691698" y="350523"/>
                  </a:moveTo>
                  <a:cubicBezTo>
                    <a:pt x="691222" y="351638"/>
                    <a:pt x="690147" y="352379"/>
                    <a:pt x="688936" y="352428"/>
                  </a:cubicBezTo>
                  <a:lnTo>
                    <a:pt x="622261" y="352428"/>
                  </a:lnTo>
                  <a:cubicBezTo>
                    <a:pt x="617000" y="352428"/>
                    <a:pt x="612736" y="356693"/>
                    <a:pt x="612736" y="361953"/>
                  </a:cubicBezTo>
                  <a:lnTo>
                    <a:pt x="612736" y="679612"/>
                  </a:lnTo>
                  <a:cubicBezTo>
                    <a:pt x="611767" y="694449"/>
                    <a:pt x="599005" y="705723"/>
                    <a:pt x="584161" y="704853"/>
                  </a:cubicBezTo>
                  <a:lnTo>
                    <a:pt x="535012" y="704853"/>
                  </a:lnTo>
                  <a:lnTo>
                    <a:pt x="535012" y="533403"/>
                  </a:lnTo>
                  <a:cubicBezTo>
                    <a:pt x="535012" y="507101"/>
                    <a:pt x="513689" y="485778"/>
                    <a:pt x="487387" y="485778"/>
                  </a:cubicBezTo>
                  <a:lnTo>
                    <a:pt x="401662" y="485778"/>
                  </a:lnTo>
                  <a:cubicBezTo>
                    <a:pt x="375360" y="485778"/>
                    <a:pt x="354037" y="507101"/>
                    <a:pt x="354037" y="533403"/>
                  </a:cubicBezTo>
                  <a:lnTo>
                    <a:pt x="354037" y="704853"/>
                  </a:lnTo>
                  <a:lnTo>
                    <a:pt x="126961" y="704853"/>
                  </a:lnTo>
                  <a:cubicBezTo>
                    <a:pt x="112136" y="705670"/>
                    <a:pt x="99405" y="694424"/>
                    <a:pt x="98386" y="679612"/>
                  </a:cubicBezTo>
                  <a:lnTo>
                    <a:pt x="98386" y="361953"/>
                  </a:lnTo>
                  <a:cubicBezTo>
                    <a:pt x="98386" y="356693"/>
                    <a:pt x="94122" y="352428"/>
                    <a:pt x="88861" y="352428"/>
                  </a:cubicBezTo>
                  <a:lnTo>
                    <a:pt x="22186" y="352428"/>
                  </a:lnTo>
                  <a:cubicBezTo>
                    <a:pt x="21025" y="352383"/>
                    <a:pt x="19991" y="351681"/>
                    <a:pt x="19519" y="350618"/>
                  </a:cubicBezTo>
                  <a:cubicBezTo>
                    <a:pt x="19519" y="349856"/>
                    <a:pt x="19519" y="349571"/>
                    <a:pt x="19519" y="349571"/>
                  </a:cubicBezTo>
                  <a:lnTo>
                    <a:pt x="332034" y="28292"/>
                  </a:lnTo>
                  <a:cubicBezTo>
                    <a:pt x="337850" y="22262"/>
                    <a:pt x="345849" y="18828"/>
                    <a:pt x="354228" y="18767"/>
                  </a:cubicBezTo>
                  <a:lnTo>
                    <a:pt x="354228" y="18767"/>
                  </a:lnTo>
                  <a:cubicBezTo>
                    <a:pt x="362613" y="18796"/>
                    <a:pt x="370624" y="22235"/>
                    <a:pt x="376421" y="28292"/>
                  </a:cubicBezTo>
                  <a:lnTo>
                    <a:pt x="524058" y="178121"/>
                  </a:lnTo>
                  <a:cubicBezTo>
                    <a:pt x="527763" y="181855"/>
                    <a:pt x="533794" y="181880"/>
                    <a:pt x="537529" y="178176"/>
                  </a:cubicBezTo>
                  <a:cubicBezTo>
                    <a:pt x="537547" y="178158"/>
                    <a:pt x="537566" y="178139"/>
                    <a:pt x="537584" y="178121"/>
                  </a:cubicBezTo>
                  <a:cubicBezTo>
                    <a:pt x="541277" y="174406"/>
                    <a:pt x="541277" y="168405"/>
                    <a:pt x="537584" y="164690"/>
                  </a:cubicBezTo>
                  <a:lnTo>
                    <a:pt x="515962" y="142878"/>
                  </a:lnTo>
                  <a:lnTo>
                    <a:pt x="515962" y="91729"/>
                  </a:lnTo>
                  <a:cubicBezTo>
                    <a:pt x="516323" y="82821"/>
                    <a:pt x="523817" y="75881"/>
                    <a:pt x="532726" y="76203"/>
                  </a:cubicBezTo>
                  <a:lnTo>
                    <a:pt x="584923" y="76203"/>
                  </a:lnTo>
                  <a:cubicBezTo>
                    <a:pt x="593832" y="75881"/>
                    <a:pt x="601326" y="82821"/>
                    <a:pt x="601687" y="91729"/>
                  </a:cubicBezTo>
                  <a:lnTo>
                    <a:pt x="601687" y="230222"/>
                  </a:lnTo>
                  <a:lnTo>
                    <a:pt x="575017" y="202886"/>
                  </a:lnTo>
                  <a:cubicBezTo>
                    <a:pt x="571335" y="199124"/>
                    <a:pt x="565301" y="199060"/>
                    <a:pt x="561539" y="202743"/>
                  </a:cubicBezTo>
                  <a:cubicBezTo>
                    <a:pt x="557778" y="206425"/>
                    <a:pt x="557714" y="212459"/>
                    <a:pt x="561396" y="216221"/>
                  </a:cubicBezTo>
                  <a:lnTo>
                    <a:pt x="691413" y="349571"/>
                  </a:lnTo>
                  <a:cubicBezTo>
                    <a:pt x="691413" y="349571"/>
                    <a:pt x="691984" y="349856"/>
                    <a:pt x="691698" y="350523"/>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2" name="Vrije vorm: vorm 170">
              <a:extLst>
                <a:ext uri="{FF2B5EF4-FFF2-40B4-BE49-F238E27FC236}">
                  <a16:creationId xmlns:a16="http://schemas.microsoft.com/office/drawing/2014/main" id="{62702A41-E2AE-4A71-B293-FF83BEA9CFDE}"/>
                </a:ext>
              </a:extLst>
            </p:cNvPr>
            <p:cNvSpPr/>
            <p:nvPr/>
          </p:nvSpPr>
          <p:spPr>
            <a:xfrm>
              <a:off x="921504" y="5053344"/>
              <a:ext cx="161925" cy="200025"/>
            </a:xfrm>
            <a:custGeom>
              <a:avLst/>
              <a:gdLst>
                <a:gd name="connsiteX0" fmla="*/ 142875 w 161925"/>
                <a:gd name="connsiteY0" fmla="*/ 0 h 200025"/>
                <a:gd name="connsiteX1" fmla="*/ 29146 w 161925"/>
                <a:gd name="connsiteY1" fmla="*/ 0 h 200025"/>
                <a:gd name="connsiteX2" fmla="*/ 0 w 161925"/>
                <a:gd name="connsiteY2" fmla="*/ 28575 h 200025"/>
                <a:gd name="connsiteX3" fmla="*/ 0 w 161925"/>
                <a:gd name="connsiteY3" fmla="*/ 170879 h 200025"/>
                <a:gd name="connsiteX4" fmla="*/ 29146 w 161925"/>
                <a:gd name="connsiteY4" fmla="*/ 200025 h 200025"/>
                <a:gd name="connsiteX5" fmla="*/ 142399 w 161925"/>
                <a:gd name="connsiteY5" fmla="*/ 200025 h 200025"/>
                <a:gd name="connsiteX6" fmla="*/ 170974 w 161925"/>
                <a:gd name="connsiteY6" fmla="*/ 170879 h 200025"/>
                <a:gd name="connsiteX7" fmla="*/ 170974 w 161925"/>
                <a:gd name="connsiteY7" fmla="*/ 28575 h 200025"/>
                <a:gd name="connsiteX8" fmla="*/ 142875 w 161925"/>
                <a:gd name="connsiteY8" fmla="*/ 0 h 200025"/>
                <a:gd name="connsiteX9" fmla="*/ 152400 w 161925"/>
                <a:gd name="connsiteY9" fmla="*/ 170879 h 200025"/>
                <a:gd name="connsiteX10" fmla="*/ 142875 w 161925"/>
                <a:gd name="connsiteY10" fmla="*/ 180975 h 200025"/>
                <a:gd name="connsiteX11" fmla="*/ 29146 w 161925"/>
                <a:gd name="connsiteY11" fmla="*/ 180975 h 200025"/>
                <a:gd name="connsiteX12" fmla="*/ 19050 w 161925"/>
                <a:gd name="connsiteY12" fmla="*/ 170879 h 200025"/>
                <a:gd name="connsiteX13" fmla="*/ 19050 w 161925"/>
                <a:gd name="connsiteY13" fmla="*/ 29051 h 200025"/>
                <a:gd name="connsiteX14" fmla="*/ 29146 w 161925"/>
                <a:gd name="connsiteY14" fmla="*/ 19526 h 200025"/>
                <a:gd name="connsiteX15" fmla="*/ 142875 w 161925"/>
                <a:gd name="connsiteY15" fmla="*/ 19526 h 200025"/>
                <a:gd name="connsiteX16" fmla="*/ 152400 w 161925"/>
                <a:gd name="connsiteY16" fmla="*/ 29051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925" h="200025">
                  <a:moveTo>
                    <a:pt x="142875" y="0"/>
                  </a:moveTo>
                  <a:lnTo>
                    <a:pt x="29146" y="0"/>
                  </a:lnTo>
                  <a:cubicBezTo>
                    <a:pt x="13270" y="-3"/>
                    <a:pt x="311" y="12702"/>
                    <a:pt x="0" y="28575"/>
                  </a:cubicBezTo>
                  <a:lnTo>
                    <a:pt x="0" y="170879"/>
                  </a:lnTo>
                  <a:cubicBezTo>
                    <a:pt x="0" y="186976"/>
                    <a:pt x="13049" y="200025"/>
                    <a:pt x="29146" y="200025"/>
                  </a:cubicBezTo>
                  <a:lnTo>
                    <a:pt x="142399" y="200025"/>
                  </a:lnTo>
                  <a:cubicBezTo>
                    <a:pt x="158272" y="199714"/>
                    <a:pt x="170977" y="186755"/>
                    <a:pt x="170974" y="170879"/>
                  </a:cubicBezTo>
                  <a:lnTo>
                    <a:pt x="170974" y="28575"/>
                  </a:lnTo>
                  <a:cubicBezTo>
                    <a:pt x="170976" y="12978"/>
                    <a:pt x="158470" y="260"/>
                    <a:pt x="142875" y="0"/>
                  </a:cubicBezTo>
                  <a:close/>
                  <a:moveTo>
                    <a:pt x="152400" y="170879"/>
                  </a:moveTo>
                  <a:cubicBezTo>
                    <a:pt x="152409" y="176239"/>
                    <a:pt x="148227" y="180671"/>
                    <a:pt x="142875" y="180975"/>
                  </a:cubicBezTo>
                  <a:lnTo>
                    <a:pt x="29146" y="180975"/>
                  </a:lnTo>
                  <a:cubicBezTo>
                    <a:pt x="23592" y="180924"/>
                    <a:pt x="19101" y="176433"/>
                    <a:pt x="19050" y="170879"/>
                  </a:cubicBezTo>
                  <a:lnTo>
                    <a:pt x="19050" y="29051"/>
                  </a:lnTo>
                  <a:cubicBezTo>
                    <a:pt x="19354" y="23699"/>
                    <a:pt x="23786" y="19518"/>
                    <a:pt x="29146" y="19526"/>
                  </a:cubicBezTo>
                  <a:lnTo>
                    <a:pt x="142875" y="19526"/>
                  </a:lnTo>
                  <a:cubicBezTo>
                    <a:pt x="148136" y="19526"/>
                    <a:pt x="152400" y="23791"/>
                    <a:pt x="152400" y="29051"/>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3" name="Vrije vorm: vorm 171">
              <a:extLst>
                <a:ext uri="{FF2B5EF4-FFF2-40B4-BE49-F238E27FC236}">
                  <a16:creationId xmlns:a16="http://schemas.microsoft.com/office/drawing/2014/main" id="{0477C788-874B-43BB-8A98-22C2EBFB817A}"/>
                </a:ext>
              </a:extLst>
            </p:cNvPr>
            <p:cNvSpPr/>
            <p:nvPr/>
          </p:nvSpPr>
          <p:spPr>
            <a:xfrm>
              <a:off x="959184" y="5109545"/>
              <a:ext cx="95250" cy="95250"/>
            </a:xfrm>
            <a:custGeom>
              <a:avLst/>
              <a:gdLst>
                <a:gd name="connsiteX0" fmla="*/ 79858 w 95250"/>
                <a:gd name="connsiteY0" fmla="*/ 3330 h 95250"/>
                <a:gd name="connsiteX1" fmla="*/ 2801 w 95250"/>
                <a:gd name="connsiteY1" fmla="*/ 80292 h 95250"/>
                <a:gd name="connsiteX2" fmla="*/ 2801 w 95250"/>
                <a:gd name="connsiteY2" fmla="*/ 93817 h 95250"/>
                <a:gd name="connsiteX3" fmla="*/ 16327 w 95250"/>
                <a:gd name="connsiteY3" fmla="*/ 93817 h 95250"/>
                <a:gd name="connsiteX4" fmla="*/ 93289 w 95250"/>
                <a:gd name="connsiteY4" fmla="*/ 16760 h 95250"/>
                <a:gd name="connsiteX5" fmla="*/ 94328 w 95250"/>
                <a:gd name="connsiteY5" fmla="*/ 3330 h 95250"/>
                <a:gd name="connsiteX6" fmla="*/ 80897 w 95250"/>
                <a:gd name="connsiteY6" fmla="*/ 2290 h 95250"/>
                <a:gd name="connsiteX7" fmla="*/ 79858 w 95250"/>
                <a:gd name="connsiteY7" fmla="*/ 333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0" h="95250">
                  <a:moveTo>
                    <a:pt x="79858" y="3330"/>
                  </a:moveTo>
                  <a:lnTo>
                    <a:pt x="2801" y="80292"/>
                  </a:lnTo>
                  <a:cubicBezTo>
                    <a:pt x="-934" y="84026"/>
                    <a:pt x="-934" y="90082"/>
                    <a:pt x="2801" y="93817"/>
                  </a:cubicBezTo>
                  <a:cubicBezTo>
                    <a:pt x="6536" y="97552"/>
                    <a:pt x="12592" y="97552"/>
                    <a:pt x="16327" y="93817"/>
                  </a:cubicBezTo>
                  <a:lnTo>
                    <a:pt x="93289" y="16760"/>
                  </a:lnTo>
                  <a:cubicBezTo>
                    <a:pt x="97284" y="13338"/>
                    <a:pt x="97749" y="7325"/>
                    <a:pt x="94328" y="3330"/>
                  </a:cubicBezTo>
                  <a:cubicBezTo>
                    <a:pt x="90906" y="-666"/>
                    <a:pt x="84893" y="-1131"/>
                    <a:pt x="80897" y="2290"/>
                  </a:cubicBezTo>
                  <a:cubicBezTo>
                    <a:pt x="80525" y="2609"/>
                    <a:pt x="80177" y="2957"/>
                    <a:pt x="79858" y="3330"/>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4" name="Vrije vorm: vorm 172">
              <a:extLst>
                <a:ext uri="{FF2B5EF4-FFF2-40B4-BE49-F238E27FC236}">
                  <a16:creationId xmlns:a16="http://schemas.microsoft.com/office/drawing/2014/main" id="{3E321A98-5EE1-457A-AE1D-6F075E7623AC}"/>
                </a:ext>
              </a:extLst>
            </p:cNvPr>
            <p:cNvSpPr/>
            <p:nvPr/>
          </p:nvSpPr>
          <p:spPr>
            <a:xfrm>
              <a:off x="963375" y="5105883"/>
              <a:ext cx="38100" cy="38100"/>
            </a:xfrm>
            <a:custGeom>
              <a:avLst/>
              <a:gdLst>
                <a:gd name="connsiteX0" fmla="*/ 16327 w 38100"/>
                <a:gd name="connsiteY0" fmla="*/ 41663 h 38100"/>
                <a:gd name="connsiteX1" fmla="*/ 41663 w 38100"/>
                <a:gd name="connsiteY1" fmla="*/ 16327 h 38100"/>
                <a:gd name="connsiteX2" fmla="*/ 41663 w 38100"/>
                <a:gd name="connsiteY2" fmla="*/ 2801 h 38100"/>
                <a:gd name="connsiteX3" fmla="*/ 28138 w 38100"/>
                <a:gd name="connsiteY3" fmla="*/ 2801 h 38100"/>
                <a:gd name="connsiteX4" fmla="*/ 2801 w 38100"/>
                <a:gd name="connsiteY4" fmla="*/ 28138 h 38100"/>
                <a:gd name="connsiteX5" fmla="*/ 2801 w 38100"/>
                <a:gd name="connsiteY5" fmla="*/ 41663 h 38100"/>
                <a:gd name="connsiteX6" fmla="*/ 16327 w 38100"/>
                <a:gd name="connsiteY6" fmla="*/ 4166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38100">
                  <a:moveTo>
                    <a:pt x="16327" y="41663"/>
                  </a:moveTo>
                  <a:lnTo>
                    <a:pt x="41663" y="16327"/>
                  </a:lnTo>
                  <a:cubicBezTo>
                    <a:pt x="45398" y="12592"/>
                    <a:pt x="45398" y="6536"/>
                    <a:pt x="41663" y="2801"/>
                  </a:cubicBezTo>
                  <a:cubicBezTo>
                    <a:pt x="37928" y="-934"/>
                    <a:pt x="31872" y="-934"/>
                    <a:pt x="28138" y="2801"/>
                  </a:cubicBezTo>
                  <a:lnTo>
                    <a:pt x="2801" y="28138"/>
                  </a:lnTo>
                  <a:cubicBezTo>
                    <a:pt x="-934" y="31872"/>
                    <a:pt x="-934" y="37928"/>
                    <a:pt x="2801" y="41663"/>
                  </a:cubicBezTo>
                  <a:cubicBezTo>
                    <a:pt x="6536" y="45398"/>
                    <a:pt x="12592" y="45398"/>
                    <a:pt x="16327" y="41663"/>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5" name="Group 76">
            <a:extLst>
              <a:ext uri="{FF2B5EF4-FFF2-40B4-BE49-F238E27FC236}">
                <a16:creationId xmlns:a16="http://schemas.microsoft.com/office/drawing/2014/main" id="{A6D27326-CBC6-48D3-B273-936869A00047}"/>
              </a:ext>
            </a:extLst>
          </p:cNvPr>
          <p:cNvGrpSpPr>
            <a:grpSpLocks noChangeAspect="1"/>
          </p:cNvGrpSpPr>
          <p:nvPr/>
        </p:nvGrpSpPr>
        <p:grpSpPr>
          <a:xfrm>
            <a:off x="8208088" y="4109252"/>
            <a:ext cx="396264" cy="321985"/>
            <a:chOff x="-5887774" y="2681702"/>
            <a:chExt cx="4876822" cy="3962638"/>
          </a:xfrm>
          <a:solidFill>
            <a:schemeClr val="tx2"/>
          </a:solidFill>
        </p:grpSpPr>
        <p:sp>
          <p:nvSpPr>
            <p:cNvPr id="86" name="Freeform: Shape 77">
              <a:extLst>
                <a:ext uri="{FF2B5EF4-FFF2-40B4-BE49-F238E27FC236}">
                  <a16:creationId xmlns:a16="http://schemas.microsoft.com/office/drawing/2014/main" id="{CDE69B92-4A4C-4CC6-8373-9A44943467D3}"/>
                </a:ext>
              </a:extLst>
            </p:cNvPr>
            <p:cNvSpPr/>
            <p:nvPr/>
          </p:nvSpPr>
          <p:spPr>
            <a:xfrm>
              <a:off x="-5887774" y="3340537"/>
              <a:ext cx="3319183" cy="3303803"/>
            </a:xfrm>
            <a:custGeom>
              <a:avLst/>
              <a:gdLst>
                <a:gd name="connsiteX0" fmla="*/ 3318474 w 3319183"/>
                <a:gd name="connsiteY0" fmla="*/ 1484195 h 3303803"/>
                <a:gd name="connsiteX1" fmla="*/ 3272364 w 3319183"/>
                <a:gd name="connsiteY1" fmla="*/ 1231497 h 3303803"/>
                <a:gd name="connsiteX2" fmla="*/ 3137490 w 3319183"/>
                <a:gd name="connsiteY2" fmla="*/ 1114320 h 3303803"/>
                <a:gd name="connsiteX3" fmla="*/ 2921749 w 3319183"/>
                <a:gd name="connsiteY3" fmla="*/ 978465 h 3303803"/>
                <a:gd name="connsiteX4" fmla="*/ 2926416 w 3319183"/>
                <a:gd name="connsiteY4" fmla="*/ 724948 h 3303803"/>
                <a:gd name="connsiteX5" fmla="*/ 2905413 w 3319183"/>
                <a:gd name="connsiteY5" fmla="*/ 545954 h 3303803"/>
                <a:gd name="connsiteX6" fmla="*/ 2815212 w 3319183"/>
                <a:gd name="connsiteY6" fmla="*/ 453095 h 3303803"/>
                <a:gd name="connsiteX7" fmla="*/ 2717780 w 3319183"/>
                <a:gd name="connsiteY7" fmla="*/ 367932 h 3303803"/>
                <a:gd name="connsiteX8" fmla="*/ 2615034 w 3319183"/>
                <a:gd name="connsiteY8" fmla="*/ 336509 h 3303803"/>
                <a:gd name="connsiteX9" fmla="*/ 2536605 w 3319183"/>
                <a:gd name="connsiteY9" fmla="*/ 355064 h 3303803"/>
                <a:gd name="connsiteX10" fmla="*/ 2384253 w 3319183"/>
                <a:gd name="connsiteY10" fmla="*/ 393325 h 3303803"/>
                <a:gd name="connsiteX11" fmla="*/ 2281621 w 3319183"/>
                <a:gd name="connsiteY11" fmla="*/ 371018 h 3303803"/>
                <a:gd name="connsiteX12" fmla="*/ 2135250 w 3319183"/>
                <a:gd name="connsiteY12" fmla="*/ 163201 h 3303803"/>
                <a:gd name="connsiteX13" fmla="*/ 2011349 w 3319183"/>
                <a:gd name="connsiteY13" fmla="*/ 34623 h 3303803"/>
                <a:gd name="connsiteX14" fmla="*/ 1754898 w 3319183"/>
                <a:gd name="connsiteY14" fmla="*/ 219 h 3303803"/>
                <a:gd name="connsiteX15" fmla="*/ 1747297 w 3319183"/>
                <a:gd name="connsiteY15" fmla="*/ 0 h 3303803"/>
                <a:gd name="connsiteX16" fmla="*/ 1600755 w 3319183"/>
                <a:gd name="connsiteY16" fmla="*/ 91611 h 3303803"/>
                <a:gd name="connsiteX17" fmla="*/ 1403902 w 3319183"/>
                <a:gd name="connsiteY17" fmla="*/ 252860 h 3303803"/>
                <a:gd name="connsiteX18" fmla="*/ 1364335 w 3319183"/>
                <a:gd name="connsiteY18" fmla="*/ 256394 h 3303803"/>
                <a:gd name="connsiteX19" fmla="*/ 1162319 w 3319183"/>
                <a:gd name="connsiteY19" fmla="*/ 169983 h 3303803"/>
                <a:gd name="connsiteX20" fmla="*/ 1045676 w 3319183"/>
                <a:gd name="connsiteY20" fmla="*/ 126073 h 3303803"/>
                <a:gd name="connsiteX21" fmla="*/ 985869 w 3319183"/>
                <a:gd name="connsiteY21" fmla="*/ 137855 h 3303803"/>
                <a:gd name="connsiteX22" fmla="*/ 758021 w 3319183"/>
                <a:gd name="connsiteY22" fmla="*/ 260023 h 3303803"/>
                <a:gd name="connsiteX23" fmla="*/ 687517 w 3319183"/>
                <a:gd name="connsiteY23" fmla="*/ 423720 h 3303803"/>
                <a:gd name="connsiteX24" fmla="*/ 623852 w 3319183"/>
                <a:gd name="connsiteY24" fmla="*/ 669046 h 3303803"/>
                <a:gd name="connsiteX25" fmla="*/ 419826 w 3319183"/>
                <a:gd name="connsiteY25" fmla="*/ 745360 h 3303803"/>
                <a:gd name="connsiteX26" fmla="*/ 379717 w 3319183"/>
                <a:gd name="connsiteY26" fmla="*/ 742969 h 3303803"/>
                <a:gd name="connsiteX27" fmla="*/ 360343 w 3319183"/>
                <a:gd name="connsiteY27" fmla="*/ 741559 h 3303803"/>
                <a:gd name="connsiteX28" fmla="*/ 218144 w 3319183"/>
                <a:gd name="connsiteY28" fmla="*/ 820141 h 3303803"/>
                <a:gd name="connsiteX29" fmla="*/ 105254 w 3319183"/>
                <a:gd name="connsiteY29" fmla="*/ 1051398 h 3303803"/>
                <a:gd name="connsiteX30" fmla="*/ 145306 w 3319183"/>
                <a:gd name="connsiteY30" fmla="*/ 1224972 h 3303803"/>
                <a:gd name="connsiteX31" fmla="*/ 239413 w 3319183"/>
                <a:gd name="connsiteY31" fmla="*/ 1460735 h 3303803"/>
                <a:gd name="connsiteX32" fmla="*/ 85870 w 3319183"/>
                <a:gd name="connsiteY32" fmla="*/ 1662903 h 3303803"/>
                <a:gd name="connsiteX33" fmla="*/ 707 w 3319183"/>
                <a:gd name="connsiteY33" fmla="*/ 1819704 h 3303803"/>
                <a:gd name="connsiteX34" fmla="*/ 46732 w 3319183"/>
                <a:gd name="connsiteY34" fmla="*/ 2072516 h 3303803"/>
                <a:gd name="connsiteX35" fmla="*/ 181654 w 3319183"/>
                <a:gd name="connsiteY35" fmla="*/ 2189588 h 3303803"/>
                <a:gd name="connsiteX36" fmla="*/ 397290 w 3319183"/>
                <a:gd name="connsiteY36" fmla="*/ 2325443 h 3303803"/>
                <a:gd name="connsiteX37" fmla="*/ 392737 w 3319183"/>
                <a:gd name="connsiteY37" fmla="*/ 2578789 h 3303803"/>
                <a:gd name="connsiteX38" fmla="*/ 413740 w 3319183"/>
                <a:gd name="connsiteY38" fmla="*/ 2757850 h 3303803"/>
                <a:gd name="connsiteX39" fmla="*/ 503837 w 3319183"/>
                <a:gd name="connsiteY39" fmla="*/ 2850775 h 3303803"/>
                <a:gd name="connsiteX40" fmla="*/ 601316 w 3319183"/>
                <a:gd name="connsiteY40" fmla="*/ 2935872 h 3303803"/>
                <a:gd name="connsiteX41" fmla="*/ 704224 w 3319183"/>
                <a:gd name="connsiteY41" fmla="*/ 2967247 h 3303803"/>
                <a:gd name="connsiteX42" fmla="*/ 782548 w 3319183"/>
                <a:gd name="connsiteY42" fmla="*/ 2948740 h 3303803"/>
                <a:gd name="connsiteX43" fmla="*/ 934786 w 3319183"/>
                <a:gd name="connsiteY43" fmla="*/ 2910526 h 3303803"/>
                <a:gd name="connsiteX44" fmla="*/ 1037532 w 3319183"/>
                <a:gd name="connsiteY44" fmla="*/ 2932890 h 3303803"/>
                <a:gd name="connsiteX45" fmla="*/ 1183855 w 3319183"/>
                <a:gd name="connsiteY45" fmla="*/ 3140602 h 3303803"/>
                <a:gd name="connsiteX46" fmla="*/ 1307823 w 3319183"/>
                <a:gd name="connsiteY46" fmla="*/ 3269180 h 3303803"/>
                <a:gd name="connsiteX47" fmla="*/ 1564274 w 3319183"/>
                <a:gd name="connsiteY47" fmla="*/ 3303584 h 3303803"/>
                <a:gd name="connsiteX48" fmla="*/ 1571875 w 3319183"/>
                <a:gd name="connsiteY48" fmla="*/ 3303804 h 3303803"/>
                <a:gd name="connsiteX49" fmla="*/ 1718417 w 3319183"/>
                <a:gd name="connsiteY49" fmla="*/ 3212192 h 3303803"/>
                <a:gd name="connsiteX50" fmla="*/ 1915166 w 3319183"/>
                <a:gd name="connsiteY50" fmla="*/ 3051163 h 3303803"/>
                <a:gd name="connsiteX51" fmla="*/ 1954732 w 3319183"/>
                <a:gd name="connsiteY51" fmla="*/ 3047629 h 3303803"/>
                <a:gd name="connsiteX52" fmla="*/ 2156748 w 3319183"/>
                <a:gd name="connsiteY52" fmla="*/ 3133925 h 3303803"/>
                <a:gd name="connsiteX53" fmla="*/ 2273334 w 3319183"/>
                <a:gd name="connsiteY53" fmla="*/ 3177721 h 3303803"/>
                <a:gd name="connsiteX54" fmla="*/ 2333256 w 3319183"/>
                <a:gd name="connsiteY54" fmla="*/ 3165939 h 3303803"/>
                <a:gd name="connsiteX55" fmla="*/ 2560999 w 3319183"/>
                <a:gd name="connsiteY55" fmla="*/ 3043819 h 3303803"/>
                <a:gd name="connsiteX56" fmla="*/ 2631608 w 3319183"/>
                <a:gd name="connsiteY56" fmla="*/ 2880179 h 3303803"/>
                <a:gd name="connsiteX57" fmla="*/ 2695216 w 3319183"/>
                <a:gd name="connsiteY57" fmla="*/ 2634853 h 3303803"/>
                <a:gd name="connsiteX58" fmla="*/ 2899346 w 3319183"/>
                <a:gd name="connsiteY58" fmla="*/ 2558491 h 3303803"/>
                <a:gd name="connsiteX59" fmla="*/ 2939456 w 3319183"/>
                <a:gd name="connsiteY59" fmla="*/ 2560930 h 3303803"/>
                <a:gd name="connsiteX60" fmla="*/ 2958830 w 3319183"/>
                <a:gd name="connsiteY60" fmla="*/ 2562340 h 3303803"/>
                <a:gd name="connsiteX61" fmla="*/ 3101076 w 3319183"/>
                <a:gd name="connsiteY61" fmla="*/ 2483758 h 3303803"/>
                <a:gd name="connsiteX62" fmla="*/ 3213909 w 3319183"/>
                <a:gd name="connsiteY62" fmla="*/ 2252548 h 3303803"/>
                <a:gd name="connsiteX63" fmla="*/ 3173857 w 3319183"/>
                <a:gd name="connsiteY63" fmla="*/ 2078974 h 3303803"/>
                <a:gd name="connsiteX64" fmla="*/ 3079683 w 3319183"/>
                <a:gd name="connsiteY64" fmla="*/ 1843145 h 3303803"/>
                <a:gd name="connsiteX65" fmla="*/ 3233331 w 3319183"/>
                <a:gd name="connsiteY65" fmla="*/ 1640920 h 3303803"/>
                <a:gd name="connsiteX66" fmla="*/ 3318474 w 3319183"/>
                <a:gd name="connsiteY66" fmla="*/ 1484195 h 3303803"/>
                <a:gd name="connsiteX67" fmla="*/ 3153244 w 3319183"/>
                <a:gd name="connsiteY67" fmla="*/ 1499673 h 3303803"/>
                <a:gd name="connsiteX68" fmla="*/ 2917796 w 3319183"/>
                <a:gd name="connsiteY68" fmla="*/ 1821418 h 3303803"/>
                <a:gd name="connsiteX69" fmla="*/ 3058794 w 3319183"/>
                <a:gd name="connsiteY69" fmla="*/ 2194008 h 3303803"/>
                <a:gd name="connsiteX70" fmla="*/ 3059557 w 3319183"/>
                <a:gd name="connsiteY70" fmla="*/ 2196989 h 3303803"/>
                <a:gd name="connsiteX71" fmla="*/ 2961049 w 3319183"/>
                <a:gd name="connsiteY71" fmla="*/ 2398890 h 3303803"/>
                <a:gd name="connsiteX72" fmla="*/ 2959039 w 3319183"/>
                <a:gd name="connsiteY72" fmla="*/ 2400081 h 3303803"/>
                <a:gd name="connsiteX73" fmla="*/ 2899232 w 3319183"/>
                <a:gd name="connsiteY73" fmla="*/ 2396500 h 3303803"/>
                <a:gd name="connsiteX74" fmla="*/ 2577220 w 3319183"/>
                <a:gd name="connsiteY74" fmla="*/ 2522849 h 3303803"/>
                <a:gd name="connsiteX75" fmla="*/ 2470302 w 3319183"/>
                <a:gd name="connsiteY75" fmla="*/ 2906078 h 3303803"/>
                <a:gd name="connsiteX76" fmla="*/ 2469159 w 3319183"/>
                <a:gd name="connsiteY76" fmla="*/ 2908849 h 3303803"/>
                <a:gd name="connsiteX77" fmla="*/ 2270296 w 3319183"/>
                <a:gd name="connsiteY77" fmla="*/ 3015444 h 3303803"/>
                <a:gd name="connsiteX78" fmla="*/ 2267314 w 3319183"/>
                <a:gd name="connsiteY78" fmla="*/ 3014787 h 3303803"/>
                <a:gd name="connsiteX79" fmla="*/ 1954580 w 3319183"/>
                <a:gd name="connsiteY79" fmla="*/ 2885618 h 3303803"/>
                <a:gd name="connsiteX80" fmla="*/ 1885924 w 3319183"/>
                <a:gd name="connsiteY80" fmla="*/ 2891695 h 3303803"/>
                <a:gd name="connsiteX81" fmla="*/ 1572599 w 3319183"/>
                <a:gd name="connsiteY81" fmla="*/ 3139135 h 3303803"/>
                <a:gd name="connsiteX82" fmla="*/ 1569780 w 3319183"/>
                <a:gd name="connsiteY82" fmla="*/ 3140869 h 3303803"/>
                <a:gd name="connsiteX83" fmla="*/ 1345780 w 3319183"/>
                <a:gd name="connsiteY83" fmla="*/ 3110798 h 3303803"/>
                <a:gd name="connsiteX84" fmla="*/ 1343875 w 3319183"/>
                <a:gd name="connsiteY84" fmla="*/ 3108684 h 3303803"/>
                <a:gd name="connsiteX85" fmla="*/ 1108217 w 3319183"/>
                <a:gd name="connsiteY85" fmla="*/ 2786891 h 3303803"/>
                <a:gd name="connsiteX86" fmla="*/ 934700 w 3319183"/>
                <a:gd name="connsiteY86" fmla="*/ 2748515 h 3303803"/>
                <a:gd name="connsiteX87" fmla="*/ 706805 w 3319183"/>
                <a:gd name="connsiteY87" fmla="*/ 2805132 h 3303803"/>
                <a:gd name="connsiteX88" fmla="*/ 704138 w 3319183"/>
                <a:gd name="connsiteY88" fmla="*/ 2805189 h 3303803"/>
                <a:gd name="connsiteX89" fmla="*/ 697090 w 3319183"/>
                <a:gd name="connsiteY89" fmla="*/ 2804484 h 3303803"/>
                <a:gd name="connsiteX90" fmla="*/ 616708 w 3319183"/>
                <a:gd name="connsiteY90" fmla="*/ 2733656 h 3303803"/>
                <a:gd name="connsiteX91" fmla="*/ 541642 w 3319183"/>
                <a:gd name="connsiteY91" fmla="*/ 2656961 h 3303803"/>
                <a:gd name="connsiteX92" fmla="*/ 540556 w 3319183"/>
                <a:gd name="connsiteY92" fmla="*/ 2647464 h 3303803"/>
                <a:gd name="connsiteX93" fmla="*/ 541099 w 3319183"/>
                <a:gd name="connsiteY93" fmla="*/ 2248700 h 3303803"/>
                <a:gd name="connsiteX94" fmla="*/ 206609 w 3319183"/>
                <a:gd name="connsiteY94" fmla="*/ 2029435 h 3303803"/>
                <a:gd name="connsiteX95" fmla="*/ 204495 w 3319183"/>
                <a:gd name="connsiteY95" fmla="*/ 2027701 h 3303803"/>
                <a:gd name="connsiteX96" fmla="*/ 164337 w 3319183"/>
                <a:gd name="connsiteY96" fmla="*/ 1806854 h 3303803"/>
                <a:gd name="connsiteX97" fmla="*/ 165909 w 3319183"/>
                <a:gd name="connsiteY97" fmla="*/ 1804140 h 3303803"/>
                <a:gd name="connsiteX98" fmla="*/ 401243 w 3319183"/>
                <a:gd name="connsiteY98" fmla="*/ 1482452 h 3303803"/>
                <a:gd name="connsiteX99" fmla="*/ 260245 w 3319183"/>
                <a:gd name="connsiteY99" fmla="*/ 1109863 h 3303803"/>
                <a:gd name="connsiteX100" fmla="*/ 259483 w 3319183"/>
                <a:gd name="connsiteY100" fmla="*/ 1106938 h 3303803"/>
                <a:gd name="connsiteX101" fmla="*/ 358038 w 3319183"/>
                <a:gd name="connsiteY101" fmla="*/ 904923 h 3303803"/>
                <a:gd name="connsiteX102" fmla="*/ 360047 w 3319183"/>
                <a:gd name="connsiteY102" fmla="*/ 903732 h 3303803"/>
                <a:gd name="connsiteX103" fmla="*/ 419855 w 3319183"/>
                <a:gd name="connsiteY103" fmla="*/ 907313 h 3303803"/>
                <a:gd name="connsiteX104" fmla="*/ 741924 w 3319183"/>
                <a:gd name="connsiteY104" fmla="*/ 780907 h 3303803"/>
                <a:gd name="connsiteX105" fmla="*/ 848737 w 3319183"/>
                <a:gd name="connsiteY105" fmla="*/ 397735 h 3303803"/>
                <a:gd name="connsiteX106" fmla="*/ 849880 w 3319183"/>
                <a:gd name="connsiteY106" fmla="*/ 394916 h 3303803"/>
                <a:gd name="connsiteX107" fmla="*/ 1048686 w 3319183"/>
                <a:gd name="connsiteY107" fmla="*/ 288322 h 3303803"/>
                <a:gd name="connsiteX108" fmla="*/ 1051563 w 3319183"/>
                <a:gd name="connsiteY108" fmla="*/ 288979 h 3303803"/>
                <a:gd name="connsiteX109" fmla="*/ 1364402 w 3319183"/>
                <a:gd name="connsiteY109" fmla="*/ 418319 h 3303803"/>
                <a:gd name="connsiteX110" fmla="*/ 1433229 w 3319183"/>
                <a:gd name="connsiteY110" fmla="*/ 412242 h 3303803"/>
                <a:gd name="connsiteX111" fmla="*/ 1746554 w 3319183"/>
                <a:gd name="connsiteY111" fmla="*/ 164697 h 3303803"/>
                <a:gd name="connsiteX112" fmla="*/ 1749374 w 3319183"/>
                <a:gd name="connsiteY112" fmla="*/ 162906 h 3303803"/>
                <a:gd name="connsiteX113" fmla="*/ 1973373 w 3319183"/>
                <a:gd name="connsiteY113" fmla="*/ 192977 h 3303803"/>
                <a:gd name="connsiteX114" fmla="*/ 1975164 w 3319183"/>
                <a:gd name="connsiteY114" fmla="*/ 194986 h 3303803"/>
                <a:gd name="connsiteX115" fmla="*/ 2210822 w 3319183"/>
                <a:gd name="connsiteY115" fmla="*/ 516998 h 3303803"/>
                <a:gd name="connsiteX116" fmla="*/ 2384339 w 3319183"/>
                <a:gd name="connsiteY116" fmla="*/ 555374 h 3303803"/>
                <a:gd name="connsiteX117" fmla="*/ 2612338 w 3319183"/>
                <a:gd name="connsiteY117" fmla="*/ 498605 h 3303803"/>
                <a:gd name="connsiteX118" fmla="*/ 2615110 w 3319183"/>
                <a:gd name="connsiteY118" fmla="*/ 498500 h 3303803"/>
                <a:gd name="connsiteX119" fmla="*/ 2622007 w 3319183"/>
                <a:gd name="connsiteY119" fmla="*/ 499262 h 3303803"/>
                <a:gd name="connsiteX120" fmla="*/ 2702493 w 3319183"/>
                <a:gd name="connsiteY120" fmla="*/ 570252 h 3303803"/>
                <a:gd name="connsiteX121" fmla="*/ 2777502 w 3319183"/>
                <a:gd name="connsiteY121" fmla="*/ 646843 h 3303803"/>
                <a:gd name="connsiteX122" fmla="*/ 2778588 w 3319183"/>
                <a:gd name="connsiteY122" fmla="*/ 656339 h 3303803"/>
                <a:gd name="connsiteX123" fmla="*/ 2777931 w 3319183"/>
                <a:gd name="connsiteY123" fmla="*/ 1055208 h 3303803"/>
                <a:gd name="connsiteX124" fmla="*/ 3112534 w 3319183"/>
                <a:gd name="connsiteY124" fmla="*/ 1274531 h 3303803"/>
                <a:gd name="connsiteX125" fmla="*/ 3114592 w 3319183"/>
                <a:gd name="connsiteY125" fmla="*/ 1276264 h 3303803"/>
                <a:gd name="connsiteX126" fmla="*/ 3154864 w 3319183"/>
                <a:gd name="connsiteY126" fmla="*/ 1497006 h 3303803"/>
                <a:gd name="connsiteX127" fmla="*/ 3153244 w 3319183"/>
                <a:gd name="connsiteY127" fmla="*/ 1499673 h 330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3319183" h="3303803">
                  <a:moveTo>
                    <a:pt x="3318474" y="1484195"/>
                  </a:moveTo>
                  <a:lnTo>
                    <a:pt x="3272364" y="1231497"/>
                  </a:lnTo>
                  <a:cubicBezTo>
                    <a:pt x="3257657" y="1173909"/>
                    <a:pt x="3196916" y="1121207"/>
                    <a:pt x="3137490" y="1114320"/>
                  </a:cubicBezTo>
                  <a:cubicBezTo>
                    <a:pt x="3137490" y="1114320"/>
                    <a:pt x="2985900" y="1096785"/>
                    <a:pt x="2921749" y="978465"/>
                  </a:cubicBezTo>
                  <a:cubicBezTo>
                    <a:pt x="2857541" y="859984"/>
                    <a:pt x="2926416" y="724948"/>
                    <a:pt x="2926416" y="724948"/>
                  </a:cubicBezTo>
                  <a:cubicBezTo>
                    <a:pt x="2953391" y="671865"/>
                    <a:pt x="2943999" y="591379"/>
                    <a:pt x="2905413" y="545954"/>
                  </a:cubicBezTo>
                  <a:cubicBezTo>
                    <a:pt x="2905413" y="545954"/>
                    <a:pt x="2873714" y="508502"/>
                    <a:pt x="2815212" y="453095"/>
                  </a:cubicBezTo>
                  <a:cubicBezTo>
                    <a:pt x="2756919" y="397678"/>
                    <a:pt x="2717780" y="367932"/>
                    <a:pt x="2717780" y="367932"/>
                  </a:cubicBezTo>
                  <a:cubicBezTo>
                    <a:pt x="2690758" y="347253"/>
                    <a:pt x="2652487" y="336509"/>
                    <a:pt x="2615034" y="336509"/>
                  </a:cubicBezTo>
                  <a:cubicBezTo>
                    <a:pt x="2586755" y="336509"/>
                    <a:pt x="2558970" y="342586"/>
                    <a:pt x="2536605" y="355064"/>
                  </a:cubicBezTo>
                  <a:cubicBezTo>
                    <a:pt x="2536605" y="355064"/>
                    <a:pt x="2468054" y="393325"/>
                    <a:pt x="2384253" y="393325"/>
                  </a:cubicBezTo>
                  <a:cubicBezTo>
                    <a:pt x="2351306" y="393325"/>
                    <a:pt x="2316035" y="387467"/>
                    <a:pt x="2281621" y="371018"/>
                  </a:cubicBezTo>
                  <a:cubicBezTo>
                    <a:pt x="2159501" y="312668"/>
                    <a:pt x="2135250" y="163201"/>
                    <a:pt x="2135250" y="163201"/>
                  </a:cubicBezTo>
                  <a:cubicBezTo>
                    <a:pt x="2125706" y="104584"/>
                    <a:pt x="2069956" y="46730"/>
                    <a:pt x="2011349" y="34623"/>
                  </a:cubicBezTo>
                  <a:lnTo>
                    <a:pt x="1754898" y="219"/>
                  </a:lnTo>
                  <a:lnTo>
                    <a:pt x="1747297" y="0"/>
                  </a:lnTo>
                  <a:cubicBezTo>
                    <a:pt x="1689385" y="0"/>
                    <a:pt x="1624691" y="39891"/>
                    <a:pt x="1600755" y="91611"/>
                  </a:cubicBezTo>
                  <a:cubicBezTo>
                    <a:pt x="1600755" y="91611"/>
                    <a:pt x="1537033" y="228819"/>
                    <a:pt x="1403902" y="252860"/>
                  </a:cubicBezTo>
                  <a:cubicBezTo>
                    <a:pt x="1390443" y="255299"/>
                    <a:pt x="1377203" y="256394"/>
                    <a:pt x="1364335" y="256394"/>
                  </a:cubicBezTo>
                  <a:cubicBezTo>
                    <a:pt x="1249816" y="256394"/>
                    <a:pt x="1162319" y="169983"/>
                    <a:pt x="1162319" y="169983"/>
                  </a:cubicBezTo>
                  <a:cubicBezTo>
                    <a:pt x="1133925" y="141865"/>
                    <a:pt x="1088777" y="126073"/>
                    <a:pt x="1045676" y="126073"/>
                  </a:cubicBezTo>
                  <a:cubicBezTo>
                    <a:pt x="1024511" y="126073"/>
                    <a:pt x="1003833" y="129873"/>
                    <a:pt x="985869" y="137855"/>
                  </a:cubicBezTo>
                  <a:lnTo>
                    <a:pt x="758021" y="260023"/>
                  </a:lnTo>
                  <a:cubicBezTo>
                    <a:pt x="707434" y="291779"/>
                    <a:pt x="675687" y="365427"/>
                    <a:pt x="687517" y="423720"/>
                  </a:cubicBezTo>
                  <a:cubicBezTo>
                    <a:pt x="687517" y="423720"/>
                    <a:pt x="717473" y="571891"/>
                    <a:pt x="623852" y="669046"/>
                  </a:cubicBezTo>
                  <a:cubicBezTo>
                    <a:pt x="560511" y="734720"/>
                    <a:pt x="471071" y="745360"/>
                    <a:pt x="419826" y="745360"/>
                  </a:cubicBezTo>
                  <a:cubicBezTo>
                    <a:pt x="395347" y="745360"/>
                    <a:pt x="379717" y="742969"/>
                    <a:pt x="379717" y="742969"/>
                  </a:cubicBezTo>
                  <a:cubicBezTo>
                    <a:pt x="373421" y="741998"/>
                    <a:pt x="366915" y="741559"/>
                    <a:pt x="360343" y="741559"/>
                  </a:cubicBezTo>
                  <a:cubicBezTo>
                    <a:pt x="305479" y="741559"/>
                    <a:pt x="244633" y="774230"/>
                    <a:pt x="218144" y="820141"/>
                  </a:cubicBezTo>
                  <a:lnTo>
                    <a:pt x="105254" y="1051398"/>
                  </a:lnTo>
                  <a:cubicBezTo>
                    <a:pt x="83222" y="1106643"/>
                    <a:pt x="101234" y="1184758"/>
                    <a:pt x="145306" y="1224972"/>
                  </a:cubicBezTo>
                  <a:cubicBezTo>
                    <a:pt x="145306" y="1224972"/>
                    <a:pt x="257654" y="1327499"/>
                    <a:pt x="239413" y="1460735"/>
                  </a:cubicBezTo>
                  <a:cubicBezTo>
                    <a:pt x="221173" y="1593761"/>
                    <a:pt x="85870" y="1662903"/>
                    <a:pt x="85870" y="1662903"/>
                  </a:cubicBezTo>
                  <a:cubicBezTo>
                    <a:pt x="32635" y="1690097"/>
                    <a:pt x="-5741" y="1760649"/>
                    <a:pt x="707" y="1819704"/>
                  </a:cubicBezTo>
                  <a:lnTo>
                    <a:pt x="46732" y="2072516"/>
                  </a:lnTo>
                  <a:cubicBezTo>
                    <a:pt x="61543" y="2130105"/>
                    <a:pt x="122227" y="2182749"/>
                    <a:pt x="181654" y="2189588"/>
                  </a:cubicBezTo>
                  <a:cubicBezTo>
                    <a:pt x="181654" y="2189588"/>
                    <a:pt x="333244" y="2207066"/>
                    <a:pt x="397290" y="2325443"/>
                  </a:cubicBezTo>
                  <a:cubicBezTo>
                    <a:pt x="461441" y="2443820"/>
                    <a:pt x="392737" y="2578789"/>
                    <a:pt x="392737" y="2578789"/>
                  </a:cubicBezTo>
                  <a:cubicBezTo>
                    <a:pt x="365715" y="2631815"/>
                    <a:pt x="375154" y="2712415"/>
                    <a:pt x="413740" y="2757850"/>
                  </a:cubicBezTo>
                  <a:cubicBezTo>
                    <a:pt x="413740" y="2757850"/>
                    <a:pt x="445439" y="2795245"/>
                    <a:pt x="503837" y="2850775"/>
                  </a:cubicBezTo>
                  <a:cubicBezTo>
                    <a:pt x="562187" y="2906144"/>
                    <a:pt x="601316" y="2935872"/>
                    <a:pt x="601316" y="2935872"/>
                  </a:cubicBezTo>
                  <a:cubicBezTo>
                    <a:pt x="628395" y="2956551"/>
                    <a:pt x="666667" y="2967247"/>
                    <a:pt x="704224" y="2967247"/>
                  </a:cubicBezTo>
                  <a:cubicBezTo>
                    <a:pt x="732389" y="2967247"/>
                    <a:pt x="760183" y="2961170"/>
                    <a:pt x="782548" y="2948740"/>
                  </a:cubicBezTo>
                  <a:cubicBezTo>
                    <a:pt x="782548" y="2948740"/>
                    <a:pt x="850995" y="2910526"/>
                    <a:pt x="934786" y="2910526"/>
                  </a:cubicBezTo>
                  <a:cubicBezTo>
                    <a:pt x="967685" y="2910526"/>
                    <a:pt x="1003061" y="2916450"/>
                    <a:pt x="1037532" y="2932890"/>
                  </a:cubicBezTo>
                  <a:cubicBezTo>
                    <a:pt x="1159547" y="2991126"/>
                    <a:pt x="1183855" y="3140602"/>
                    <a:pt x="1183855" y="3140602"/>
                  </a:cubicBezTo>
                  <a:cubicBezTo>
                    <a:pt x="1193466" y="3199219"/>
                    <a:pt x="1249206" y="3257074"/>
                    <a:pt x="1307823" y="3269180"/>
                  </a:cubicBezTo>
                  <a:lnTo>
                    <a:pt x="1564274" y="3303584"/>
                  </a:lnTo>
                  <a:lnTo>
                    <a:pt x="1571875" y="3303804"/>
                  </a:lnTo>
                  <a:cubicBezTo>
                    <a:pt x="1629787" y="3303804"/>
                    <a:pt x="1694481" y="3263913"/>
                    <a:pt x="1718417" y="3212192"/>
                  </a:cubicBezTo>
                  <a:cubicBezTo>
                    <a:pt x="1718417" y="3212192"/>
                    <a:pt x="1782025" y="3075042"/>
                    <a:pt x="1915166" y="3051163"/>
                  </a:cubicBezTo>
                  <a:cubicBezTo>
                    <a:pt x="1928624" y="3048724"/>
                    <a:pt x="1941864" y="3047629"/>
                    <a:pt x="1954732" y="3047629"/>
                  </a:cubicBezTo>
                  <a:cubicBezTo>
                    <a:pt x="2069195" y="3047629"/>
                    <a:pt x="2156748" y="3133925"/>
                    <a:pt x="2156748" y="3133925"/>
                  </a:cubicBezTo>
                  <a:cubicBezTo>
                    <a:pt x="2185190" y="3161986"/>
                    <a:pt x="2230234" y="3177721"/>
                    <a:pt x="2273334" y="3177721"/>
                  </a:cubicBezTo>
                  <a:cubicBezTo>
                    <a:pt x="2294556" y="3177721"/>
                    <a:pt x="2315178" y="3173978"/>
                    <a:pt x="2333256" y="3165939"/>
                  </a:cubicBezTo>
                  <a:lnTo>
                    <a:pt x="2560999" y="3043819"/>
                  </a:lnTo>
                  <a:cubicBezTo>
                    <a:pt x="2611634" y="3012062"/>
                    <a:pt x="2643447" y="2938472"/>
                    <a:pt x="2631608" y="2880179"/>
                  </a:cubicBezTo>
                  <a:cubicBezTo>
                    <a:pt x="2631608" y="2880179"/>
                    <a:pt x="2601585" y="2731951"/>
                    <a:pt x="2695216" y="2634853"/>
                  </a:cubicBezTo>
                  <a:cubicBezTo>
                    <a:pt x="2758605" y="2569131"/>
                    <a:pt x="2848101" y="2558491"/>
                    <a:pt x="2899346" y="2558491"/>
                  </a:cubicBezTo>
                  <a:cubicBezTo>
                    <a:pt x="2923768" y="2558491"/>
                    <a:pt x="2939456" y="2560930"/>
                    <a:pt x="2939456" y="2560930"/>
                  </a:cubicBezTo>
                  <a:cubicBezTo>
                    <a:pt x="2945809" y="2561901"/>
                    <a:pt x="2952257" y="2562340"/>
                    <a:pt x="2958830" y="2562340"/>
                  </a:cubicBezTo>
                  <a:cubicBezTo>
                    <a:pt x="3013694" y="2562340"/>
                    <a:pt x="3074539" y="2529669"/>
                    <a:pt x="3101076" y="2483758"/>
                  </a:cubicBezTo>
                  <a:lnTo>
                    <a:pt x="3213909" y="2252548"/>
                  </a:lnTo>
                  <a:cubicBezTo>
                    <a:pt x="3235893" y="2197246"/>
                    <a:pt x="3217872" y="2119189"/>
                    <a:pt x="3173857" y="2078974"/>
                  </a:cubicBezTo>
                  <a:cubicBezTo>
                    <a:pt x="3173857" y="2078974"/>
                    <a:pt x="3061509" y="1976447"/>
                    <a:pt x="3079683" y="1843145"/>
                  </a:cubicBezTo>
                  <a:cubicBezTo>
                    <a:pt x="3097971" y="1710118"/>
                    <a:pt x="3233331" y="1640920"/>
                    <a:pt x="3233331" y="1640920"/>
                  </a:cubicBezTo>
                  <a:cubicBezTo>
                    <a:pt x="3286556" y="1613802"/>
                    <a:pt x="3324932" y="1543250"/>
                    <a:pt x="3318474" y="1484195"/>
                  </a:cubicBezTo>
                  <a:close/>
                  <a:moveTo>
                    <a:pt x="3153244" y="1499673"/>
                  </a:moveTo>
                  <a:cubicBezTo>
                    <a:pt x="3115792" y="1519971"/>
                    <a:pt x="2945047" y="1622708"/>
                    <a:pt x="2917796" y="1821418"/>
                  </a:cubicBezTo>
                  <a:cubicBezTo>
                    <a:pt x="2890659" y="2020224"/>
                    <a:pt x="3027924" y="2164433"/>
                    <a:pt x="3058794" y="2194008"/>
                  </a:cubicBezTo>
                  <a:lnTo>
                    <a:pt x="3059557" y="2196989"/>
                  </a:lnTo>
                  <a:lnTo>
                    <a:pt x="2961049" y="2398890"/>
                  </a:lnTo>
                  <a:lnTo>
                    <a:pt x="2959039" y="2400081"/>
                  </a:lnTo>
                  <a:cubicBezTo>
                    <a:pt x="2948609" y="2398729"/>
                    <a:pt x="2927283" y="2396500"/>
                    <a:pt x="2899232" y="2396500"/>
                  </a:cubicBezTo>
                  <a:cubicBezTo>
                    <a:pt x="2770063" y="2396500"/>
                    <a:pt x="2655706" y="2441381"/>
                    <a:pt x="2577220" y="2522849"/>
                  </a:cubicBezTo>
                  <a:cubicBezTo>
                    <a:pt x="2437622" y="2667486"/>
                    <a:pt x="2462863" y="2863806"/>
                    <a:pt x="2470302" y="2906078"/>
                  </a:cubicBezTo>
                  <a:lnTo>
                    <a:pt x="2469159" y="2908849"/>
                  </a:lnTo>
                  <a:lnTo>
                    <a:pt x="2270296" y="3015444"/>
                  </a:lnTo>
                  <a:lnTo>
                    <a:pt x="2267314" y="3014787"/>
                  </a:lnTo>
                  <a:cubicBezTo>
                    <a:pt x="2240444" y="2989650"/>
                    <a:pt x="2119363" y="2885618"/>
                    <a:pt x="1954580" y="2885618"/>
                  </a:cubicBezTo>
                  <a:cubicBezTo>
                    <a:pt x="1931568" y="2885618"/>
                    <a:pt x="1908336" y="2887675"/>
                    <a:pt x="1885924" y="2891695"/>
                  </a:cubicBezTo>
                  <a:cubicBezTo>
                    <a:pt x="1687223" y="2927347"/>
                    <a:pt x="1591325" y="3101035"/>
                    <a:pt x="1572599" y="3139135"/>
                  </a:cubicBezTo>
                  <a:lnTo>
                    <a:pt x="1569780" y="3140869"/>
                  </a:lnTo>
                  <a:lnTo>
                    <a:pt x="1345780" y="3110798"/>
                  </a:lnTo>
                  <a:lnTo>
                    <a:pt x="1343875" y="3108684"/>
                  </a:lnTo>
                  <a:cubicBezTo>
                    <a:pt x="1335950" y="3066622"/>
                    <a:pt x="1290135" y="2873836"/>
                    <a:pt x="1108217" y="2786891"/>
                  </a:cubicBezTo>
                  <a:cubicBezTo>
                    <a:pt x="1054915" y="2761440"/>
                    <a:pt x="996460" y="2748515"/>
                    <a:pt x="934700" y="2748515"/>
                  </a:cubicBezTo>
                  <a:cubicBezTo>
                    <a:pt x="821915" y="2748515"/>
                    <a:pt x="732199" y="2791616"/>
                    <a:pt x="706805" y="2805132"/>
                  </a:cubicBezTo>
                  <a:lnTo>
                    <a:pt x="704138" y="2805189"/>
                  </a:lnTo>
                  <a:lnTo>
                    <a:pt x="697090" y="2804484"/>
                  </a:lnTo>
                  <a:cubicBezTo>
                    <a:pt x="686784" y="2796292"/>
                    <a:pt x="656980" y="2771861"/>
                    <a:pt x="616708" y="2733656"/>
                  </a:cubicBezTo>
                  <a:cubicBezTo>
                    <a:pt x="576113" y="2695061"/>
                    <a:pt x="550109" y="2666457"/>
                    <a:pt x="541642" y="2656961"/>
                  </a:cubicBezTo>
                  <a:lnTo>
                    <a:pt x="540556" y="2647464"/>
                  </a:lnTo>
                  <a:cubicBezTo>
                    <a:pt x="557929" y="2611374"/>
                    <a:pt x="637606" y="2426837"/>
                    <a:pt x="541099" y="2248700"/>
                  </a:cubicBezTo>
                  <a:cubicBezTo>
                    <a:pt x="445525" y="2072145"/>
                    <a:pt x="249310" y="2035340"/>
                    <a:pt x="206609" y="2029435"/>
                  </a:cubicBezTo>
                  <a:lnTo>
                    <a:pt x="204495" y="2027701"/>
                  </a:lnTo>
                  <a:lnTo>
                    <a:pt x="164337" y="1806854"/>
                  </a:lnTo>
                  <a:lnTo>
                    <a:pt x="165909" y="1804140"/>
                  </a:lnTo>
                  <a:cubicBezTo>
                    <a:pt x="203304" y="1783842"/>
                    <a:pt x="374002" y="1681048"/>
                    <a:pt x="401243" y="1482452"/>
                  </a:cubicBezTo>
                  <a:cubicBezTo>
                    <a:pt x="428437" y="1283646"/>
                    <a:pt x="291172" y="1139438"/>
                    <a:pt x="260245" y="1109863"/>
                  </a:cubicBezTo>
                  <a:lnTo>
                    <a:pt x="259483" y="1106938"/>
                  </a:lnTo>
                  <a:lnTo>
                    <a:pt x="358038" y="904923"/>
                  </a:lnTo>
                  <a:lnTo>
                    <a:pt x="360047" y="903732"/>
                  </a:lnTo>
                  <a:cubicBezTo>
                    <a:pt x="370525" y="905085"/>
                    <a:pt x="391747" y="907313"/>
                    <a:pt x="419855" y="907313"/>
                  </a:cubicBezTo>
                  <a:cubicBezTo>
                    <a:pt x="548976" y="907313"/>
                    <a:pt x="663333" y="862432"/>
                    <a:pt x="741924" y="780907"/>
                  </a:cubicBezTo>
                  <a:cubicBezTo>
                    <a:pt x="881417" y="636213"/>
                    <a:pt x="856176" y="439950"/>
                    <a:pt x="848737" y="397735"/>
                  </a:cubicBezTo>
                  <a:lnTo>
                    <a:pt x="849880" y="394916"/>
                  </a:lnTo>
                  <a:lnTo>
                    <a:pt x="1048686" y="288322"/>
                  </a:lnTo>
                  <a:lnTo>
                    <a:pt x="1051563" y="288979"/>
                  </a:lnTo>
                  <a:cubicBezTo>
                    <a:pt x="1078433" y="314115"/>
                    <a:pt x="1199562" y="418319"/>
                    <a:pt x="1364402" y="418319"/>
                  </a:cubicBezTo>
                  <a:cubicBezTo>
                    <a:pt x="1387471" y="418319"/>
                    <a:pt x="1410693" y="416262"/>
                    <a:pt x="1433229" y="412242"/>
                  </a:cubicBezTo>
                  <a:cubicBezTo>
                    <a:pt x="1631816" y="376418"/>
                    <a:pt x="1727771" y="202740"/>
                    <a:pt x="1746554" y="164697"/>
                  </a:cubicBezTo>
                  <a:lnTo>
                    <a:pt x="1749374" y="162906"/>
                  </a:lnTo>
                  <a:lnTo>
                    <a:pt x="1973373" y="192977"/>
                  </a:lnTo>
                  <a:lnTo>
                    <a:pt x="1975164" y="194986"/>
                  </a:lnTo>
                  <a:cubicBezTo>
                    <a:pt x="1983146" y="237106"/>
                    <a:pt x="2028780" y="429997"/>
                    <a:pt x="2210822" y="516998"/>
                  </a:cubicBezTo>
                  <a:cubicBezTo>
                    <a:pt x="2264124" y="542449"/>
                    <a:pt x="2322579" y="555374"/>
                    <a:pt x="2384339" y="555374"/>
                  </a:cubicBezTo>
                  <a:cubicBezTo>
                    <a:pt x="2497124" y="555374"/>
                    <a:pt x="2586888" y="512226"/>
                    <a:pt x="2612338" y="498605"/>
                  </a:cubicBezTo>
                  <a:lnTo>
                    <a:pt x="2615110" y="498500"/>
                  </a:lnTo>
                  <a:lnTo>
                    <a:pt x="2622007" y="499262"/>
                  </a:lnTo>
                  <a:cubicBezTo>
                    <a:pt x="2632208" y="507349"/>
                    <a:pt x="2662012" y="531828"/>
                    <a:pt x="2702493" y="570252"/>
                  </a:cubicBezTo>
                  <a:cubicBezTo>
                    <a:pt x="2743031" y="608781"/>
                    <a:pt x="2769034" y="637280"/>
                    <a:pt x="2777502" y="646843"/>
                  </a:cubicBezTo>
                  <a:lnTo>
                    <a:pt x="2778588" y="656339"/>
                  </a:lnTo>
                  <a:cubicBezTo>
                    <a:pt x="2761110" y="692544"/>
                    <a:pt x="2681385" y="876967"/>
                    <a:pt x="2777931" y="1055208"/>
                  </a:cubicBezTo>
                  <a:cubicBezTo>
                    <a:pt x="2873562" y="1231602"/>
                    <a:pt x="3069653" y="1268568"/>
                    <a:pt x="3112534" y="1274531"/>
                  </a:cubicBezTo>
                  <a:lnTo>
                    <a:pt x="3114592" y="1276264"/>
                  </a:lnTo>
                  <a:lnTo>
                    <a:pt x="3154864" y="1497006"/>
                  </a:lnTo>
                  <a:lnTo>
                    <a:pt x="3153244" y="1499673"/>
                  </a:ln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78">
              <a:extLst>
                <a:ext uri="{FF2B5EF4-FFF2-40B4-BE49-F238E27FC236}">
                  <a16:creationId xmlns:a16="http://schemas.microsoft.com/office/drawing/2014/main" id="{C6D8B604-0EA0-4DED-993A-7777B340C49C}"/>
                </a:ext>
              </a:extLst>
            </p:cNvPr>
            <p:cNvSpPr/>
            <p:nvPr/>
          </p:nvSpPr>
          <p:spPr>
            <a:xfrm>
              <a:off x="-5004432" y="4222247"/>
              <a:ext cx="1552501" cy="1540421"/>
            </a:xfrm>
            <a:custGeom>
              <a:avLst/>
              <a:gdLst>
                <a:gd name="connsiteX0" fmla="*/ 1312820 w 1552501"/>
                <a:gd name="connsiteY0" fmla="*/ 213674 h 1540421"/>
                <a:gd name="connsiteX1" fmla="*/ 776420 w 1552501"/>
                <a:gd name="connsiteY1" fmla="*/ 0 h 1540421"/>
                <a:gd name="connsiteX2" fmla="*/ 215331 w 1552501"/>
                <a:gd name="connsiteY2" fmla="*/ 237830 h 1540421"/>
                <a:gd name="connsiteX3" fmla="*/ 239705 w 1552501"/>
                <a:gd name="connsiteY3" fmla="*/ 1326747 h 1540421"/>
                <a:gd name="connsiteX4" fmla="*/ 776106 w 1552501"/>
                <a:gd name="connsiteY4" fmla="*/ 1540421 h 1540421"/>
                <a:gd name="connsiteX5" fmla="*/ 1337195 w 1552501"/>
                <a:gd name="connsiteY5" fmla="*/ 1302591 h 1540421"/>
                <a:gd name="connsiteX6" fmla="*/ 1312820 w 1552501"/>
                <a:gd name="connsiteY6" fmla="*/ 213674 h 1540421"/>
                <a:gd name="connsiteX7" fmla="*/ 1219199 w 1552501"/>
                <a:gd name="connsiteY7" fmla="*/ 1190558 h 1540421"/>
                <a:gd name="connsiteX8" fmla="*/ 776106 w 1552501"/>
                <a:gd name="connsiteY8" fmla="*/ 1378296 h 1540421"/>
                <a:gd name="connsiteX9" fmla="*/ 352491 w 1552501"/>
                <a:gd name="connsiteY9" fmla="*/ 1209665 h 1540421"/>
                <a:gd name="connsiteX10" fmla="*/ 163448 w 1552501"/>
                <a:gd name="connsiteY10" fmla="*/ 783669 h 1540421"/>
                <a:gd name="connsiteX11" fmla="*/ 333327 w 1552501"/>
                <a:gd name="connsiteY11" fmla="*/ 349739 h 1540421"/>
                <a:gd name="connsiteX12" fmla="*/ 776420 w 1552501"/>
                <a:gd name="connsiteY12" fmla="*/ 161944 h 1540421"/>
                <a:gd name="connsiteX13" fmla="*/ 1199978 w 1552501"/>
                <a:gd name="connsiteY13" fmla="*/ 330632 h 1540421"/>
                <a:gd name="connsiteX14" fmla="*/ 1389068 w 1552501"/>
                <a:gd name="connsiteY14" fmla="*/ 756628 h 1540421"/>
                <a:gd name="connsiteX15" fmla="*/ 1219199 w 1552501"/>
                <a:gd name="connsiteY15" fmla="*/ 1190558 h 154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2501" h="1540421">
                  <a:moveTo>
                    <a:pt x="1312820" y="213674"/>
                  </a:moveTo>
                  <a:cubicBezTo>
                    <a:pt x="1162430" y="70818"/>
                    <a:pt x="969197" y="0"/>
                    <a:pt x="776420" y="0"/>
                  </a:cubicBezTo>
                  <a:cubicBezTo>
                    <a:pt x="571909" y="0"/>
                    <a:pt x="367778" y="79619"/>
                    <a:pt x="215331" y="237830"/>
                  </a:cubicBezTo>
                  <a:cubicBezTo>
                    <a:pt x="-81068" y="545135"/>
                    <a:pt x="-70095" y="1032738"/>
                    <a:pt x="239705" y="1326747"/>
                  </a:cubicBezTo>
                  <a:cubicBezTo>
                    <a:pt x="390048" y="1469498"/>
                    <a:pt x="583158" y="1540421"/>
                    <a:pt x="776106" y="1540421"/>
                  </a:cubicBezTo>
                  <a:cubicBezTo>
                    <a:pt x="980617" y="1540421"/>
                    <a:pt x="1184747" y="1460697"/>
                    <a:pt x="1337195" y="1302591"/>
                  </a:cubicBezTo>
                  <a:cubicBezTo>
                    <a:pt x="1633584" y="995229"/>
                    <a:pt x="1622564" y="507682"/>
                    <a:pt x="1312820" y="213674"/>
                  </a:cubicBezTo>
                  <a:close/>
                  <a:moveTo>
                    <a:pt x="1219199" y="1190558"/>
                  </a:moveTo>
                  <a:cubicBezTo>
                    <a:pt x="1102451" y="1311583"/>
                    <a:pt x="945117" y="1378296"/>
                    <a:pt x="776106" y="1378296"/>
                  </a:cubicBezTo>
                  <a:cubicBezTo>
                    <a:pt x="617572" y="1378296"/>
                    <a:pt x="467229" y="1318374"/>
                    <a:pt x="352491" y="1209665"/>
                  </a:cubicBezTo>
                  <a:cubicBezTo>
                    <a:pt x="234171" y="1097423"/>
                    <a:pt x="167039" y="946109"/>
                    <a:pt x="163448" y="783669"/>
                  </a:cubicBezTo>
                  <a:cubicBezTo>
                    <a:pt x="159810" y="621221"/>
                    <a:pt x="220112" y="467144"/>
                    <a:pt x="333327" y="349739"/>
                  </a:cubicBezTo>
                  <a:cubicBezTo>
                    <a:pt x="450017" y="228714"/>
                    <a:pt x="607466" y="161944"/>
                    <a:pt x="776420" y="161944"/>
                  </a:cubicBezTo>
                  <a:cubicBezTo>
                    <a:pt x="934897" y="161944"/>
                    <a:pt x="1085297" y="221866"/>
                    <a:pt x="1199978" y="330632"/>
                  </a:cubicBezTo>
                  <a:cubicBezTo>
                    <a:pt x="1318297" y="442874"/>
                    <a:pt x="1385429" y="594131"/>
                    <a:pt x="1389068" y="756628"/>
                  </a:cubicBezTo>
                  <a:cubicBezTo>
                    <a:pt x="1392716" y="919020"/>
                    <a:pt x="1332413" y="1073172"/>
                    <a:pt x="1219199" y="1190558"/>
                  </a:cubicBez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79">
              <a:extLst>
                <a:ext uri="{FF2B5EF4-FFF2-40B4-BE49-F238E27FC236}">
                  <a16:creationId xmlns:a16="http://schemas.microsoft.com/office/drawing/2014/main" id="{8C02D08C-1508-4154-9F39-B5D702CDE257}"/>
                </a:ext>
              </a:extLst>
            </p:cNvPr>
            <p:cNvSpPr/>
            <p:nvPr/>
          </p:nvSpPr>
          <p:spPr>
            <a:xfrm>
              <a:off x="-2989178" y="2681702"/>
              <a:ext cx="1978226" cy="1962664"/>
            </a:xfrm>
            <a:custGeom>
              <a:avLst/>
              <a:gdLst>
                <a:gd name="connsiteX0" fmla="*/ 1935258 w 1978226"/>
                <a:gd name="connsiteY0" fmla="*/ 951062 h 1962664"/>
                <a:gd name="connsiteX1" fmla="*/ 1792840 w 1978226"/>
                <a:gd name="connsiteY1" fmla="*/ 783403 h 1962664"/>
                <a:gd name="connsiteX2" fmla="*/ 1839684 w 1978226"/>
                <a:gd name="connsiteY2" fmla="*/ 569071 h 1962664"/>
                <a:gd name="connsiteX3" fmla="*/ 1839027 w 1978226"/>
                <a:gd name="connsiteY3" fmla="*/ 477079 h 1962664"/>
                <a:gd name="connsiteX4" fmla="*/ 1724841 w 1978226"/>
                <a:gd name="connsiteY4" fmla="*/ 323917 h 1962664"/>
                <a:gd name="connsiteX5" fmla="*/ 1654128 w 1978226"/>
                <a:gd name="connsiteY5" fmla="*/ 294065 h 1962664"/>
                <a:gd name="connsiteX6" fmla="*/ 1636487 w 1978226"/>
                <a:gd name="connsiteY6" fmla="*/ 296123 h 1962664"/>
                <a:gd name="connsiteX7" fmla="*/ 1542162 w 1978226"/>
                <a:gd name="connsiteY7" fmla="*/ 306600 h 1962664"/>
                <a:gd name="connsiteX8" fmla="*/ 1416403 w 1978226"/>
                <a:gd name="connsiteY8" fmla="*/ 277454 h 1962664"/>
                <a:gd name="connsiteX9" fmla="*/ 1296836 w 1978226"/>
                <a:gd name="connsiteY9" fmla="*/ 93078 h 1962664"/>
                <a:gd name="connsiteX10" fmla="*/ 1230780 w 1978226"/>
                <a:gd name="connsiteY10" fmla="*/ 28604 h 1962664"/>
                <a:gd name="connsiteX11" fmla="*/ 1040718 w 1978226"/>
                <a:gd name="connsiteY11" fmla="*/ 162 h 1962664"/>
                <a:gd name="connsiteX12" fmla="*/ 1036165 w 1978226"/>
                <a:gd name="connsiteY12" fmla="*/ 0 h 1962664"/>
                <a:gd name="connsiteX13" fmla="*/ 958498 w 1978226"/>
                <a:gd name="connsiteY13" fmla="*/ 42548 h 1962664"/>
                <a:gd name="connsiteX14" fmla="*/ 789591 w 1978226"/>
                <a:gd name="connsiteY14" fmla="*/ 183880 h 1962664"/>
                <a:gd name="connsiteX15" fmla="*/ 745576 w 1978226"/>
                <a:gd name="connsiteY15" fmla="*/ 188928 h 1962664"/>
                <a:gd name="connsiteX16" fmla="*/ 573526 w 1978226"/>
                <a:gd name="connsiteY16" fmla="*/ 137427 h 1962664"/>
                <a:gd name="connsiteX17" fmla="*/ 527825 w 1978226"/>
                <a:gd name="connsiteY17" fmla="*/ 126082 h 1962664"/>
                <a:gd name="connsiteX18" fmla="*/ 480876 w 1978226"/>
                <a:gd name="connsiteY18" fmla="*/ 138074 h 1962664"/>
                <a:gd name="connsiteX19" fmla="*/ 326295 w 1978226"/>
                <a:gd name="connsiteY19" fmla="*/ 251508 h 1962664"/>
                <a:gd name="connsiteX20" fmla="*/ 298282 w 1978226"/>
                <a:gd name="connsiteY20" fmla="*/ 339109 h 1962664"/>
                <a:gd name="connsiteX21" fmla="*/ 279556 w 1978226"/>
                <a:gd name="connsiteY21" fmla="*/ 557403 h 1962664"/>
                <a:gd name="connsiteX22" fmla="*/ 93723 w 1978226"/>
                <a:gd name="connsiteY22" fmla="*/ 676104 h 1962664"/>
                <a:gd name="connsiteX23" fmla="*/ 28810 w 1978226"/>
                <a:gd name="connsiteY23" fmla="*/ 741674 h 1962664"/>
                <a:gd name="connsiteX24" fmla="*/ 159 w 1978226"/>
                <a:gd name="connsiteY24" fmla="*/ 930173 h 1962664"/>
                <a:gd name="connsiteX25" fmla="*/ 42927 w 1978226"/>
                <a:gd name="connsiteY25" fmla="*/ 1011803 h 1962664"/>
                <a:gd name="connsiteX26" fmla="*/ 185173 w 1978226"/>
                <a:gd name="connsiteY26" fmla="*/ 1179395 h 1962664"/>
                <a:gd name="connsiteX27" fmla="*/ 138329 w 1978226"/>
                <a:gd name="connsiteY27" fmla="*/ 1393555 h 1962664"/>
                <a:gd name="connsiteX28" fmla="*/ 139034 w 1978226"/>
                <a:gd name="connsiteY28" fmla="*/ 1485491 h 1962664"/>
                <a:gd name="connsiteX29" fmla="*/ 253286 w 1978226"/>
                <a:gd name="connsiteY29" fmla="*/ 1638757 h 1962664"/>
                <a:gd name="connsiteX30" fmla="*/ 323952 w 1978226"/>
                <a:gd name="connsiteY30" fmla="*/ 1668609 h 1962664"/>
                <a:gd name="connsiteX31" fmla="*/ 341535 w 1978226"/>
                <a:gd name="connsiteY31" fmla="*/ 1666599 h 1962664"/>
                <a:gd name="connsiteX32" fmla="*/ 435861 w 1978226"/>
                <a:gd name="connsiteY32" fmla="*/ 1656169 h 1962664"/>
                <a:gd name="connsiteX33" fmla="*/ 561668 w 1978226"/>
                <a:gd name="connsiteY33" fmla="*/ 1685201 h 1962664"/>
                <a:gd name="connsiteX34" fmla="*/ 681235 w 1978226"/>
                <a:gd name="connsiteY34" fmla="*/ 1869681 h 1962664"/>
                <a:gd name="connsiteX35" fmla="*/ 747338 w 1978226"/>
                <a:gd name="connsiteY35" fmla="*/ 1934109 h 1962664"/>
                <a:gd name="connsiteX36" fmla="*/ 937248 w 1978226"/>
                <a:gd name="connsiteY36" fmla="*/ 1962502 h 1962664"/>
                <a:gd name="connsiteX37" fmla="*/ 941801 w 1978226"/>
                <a:gd name="connsiteY37" fmla="*/ 1962664 h 1962664"/>
                <a:gd name="connsiteX38" fmla="*/ 1019629 w 1978226"/>
                <a:gd name="connsiteY38" fmla="*/ 1920011 h 1962664"/>
                <a:gd name="connsiteX39" fmla="*/ 1188470 w 1978226"/>
                <a:gd name="connsiteY39" fmla="*/ 1778889 h 1962664"/>
                <a:gd name="connsiteX40" fmla="*/ 1232437 w 1978226"/>
                <a:gd name="connsiteY40" fmla="*/ 1773784 h 1962664"/>
                <a:gd name="connsiteX41" fmla="*/ 1404487 w 1978226"/>
                <a:gd name="connsiteY41" fmla="*/ 1825400 h 1962664"/>
                <a:gd name="connsiteX42" fmla="*/ 1450131 w 1978226"/>
                <a:gd name="connsiteY42" fmla="*/ 1836696 h 1962664"/>
                <a:gd name="connsiteX43" fmla="*/ 1497184 w 1978226"/>
                <a:gd name="connsiteY43" fmla="*/ 1824647 h 1962664"/>
                <a:gd name="connsiteX44" fmla="*/ 1651651 w 1978226"/>
                <a:gd name="connsiteY44" fmla="*/ 1711490 h 1962664"/>
                <a:gd name="connsiteX45" fmla="*/ 1679712 w 1978226"/>
                <a:gd name="connsiteY45" fmla="*/ 1623898 h 1962664"/>
                <a:gd name="connsiteX46" fmla="*/ 1698438 w 1978226"/>
                <a:gd name="connsiteY46" fmla="*/ 1405280 h 1962664"/>
                <a:gd name="connsiteX47" fmla="*/ 1884499 w 1978226"/>
                <a:gd name="connsiteY47" fmla="*/ 1286628 h 1962664"/>
                <a:gd name="connsiteX48" fmla="*/ 1949355 w 1978226"/>
                <a:gd name="connsiteY48" fmla="*/ 1221124 h 1962664"/>
                <a:gd name="connsiteX49" fmla="*/ 1978063 w 1978226"/>
                <a:gd name="connsiteY49" fmla="*/ 1032624 h 1962664"/>
                <a:gd name="connsiteX50" fmla="*/ 1935258 w 1978226"/>
                <a:gd name="connsiteY50" fmla="*/ 951062 h 1962664"/>
                <a:gd name="connsiteX51" fmla="*/ 1795936 w 1978226"/>
                <a:gd name="connsiteY51" fmla="*/ 1144496 h 1962664"/>
                <a:gd name="connsiteX52" fmla="*/ 1558545 w 1978226"/>
                <a:gd name="connsiteY52" fmla="*/ 1321927 h 1962664"/>
                <a:gd name="connsiteX53" fmla="*/ 1511701 w 1978226"/>
                <a:gd name="connsiteY53" fmla="*/ 1612783 h 1962664"/>
                <a:gd name="connsiteX54" fmla="*/ 1443368 w 1978226"/>
                <a:gd name="connsiteY54" fmla="*/ 1662884 h 1962664"/>
                <a:gd name="connsiteX55" fmla="*/ 1232513 w 1978226"/>
                <a:gd name="connsiteY55" fmla="*/ 1611916 h 1962664"/>
                <a:gd name="connsiteX56" fmla="*/ 1149198 w 1978226"/>
                <a:gd name="connsiteY56" fmla="*/ 1621793 h 1962664"/>
                <a:gd name="connsiteX57" fmla="*/ 908596 w 1978226"/>
                <a:gd name="connsiteY57" fmla="*/ 1794500 h 1962664"/>
                <a:gd name="connsiteX58" fmla="*/ 824634 w 1978226"/>
                <a:gd name="connsiteY58" fmla="*/ 1781956 h 1962664"/>
                <a:gd name="connsiteX59" fmla="*/ 645907 w 1978226"/>
                <a:gd name="connsiteY59" fmla="*/ 1546460 h 1962664"/>
                <a:gd name="connsiteX60" fmla="*/ 435918 w 1978226"/>
                <a:gd name="connsiteY60" fmla="*/ 1494301 h 1962664"/>
                <a:gd name="connsiteX61" fmla="*/ 352984 w 1978226"/>
                <a:gd name="connsiteY61" fmla="*/ 1500102 h 1962664"/>
                <a:gd name="connsiteX62" fmla="*/ 302244 w 1978226"/>
                <a:gd name="connsiteY62" fmla="*/ 1432208 h 1962664"/>
                <a:gd name="connsiteX63" fmla="*/ 343716 w 1978226"/>
                <a:gd name="connsiteY63" fmla="*/ 1140543 h 1962664"/>
                <a:gd name="connsiteX64" fmla="*/ 169657 w 1978226"/>
                <a:gd name="connsiteY64" fmla="*/ 901732 h 1962664"/>
                <a:gd name="connsiteX65" fmla="*/ 182306 w 1978226"/>
                <a:gd name="connsiteY65" fmla="*/ 818369 h 1962664"/>
                <a:gd name="connsiteX66" fmla="*/ 419488 w 1978226"/>
                <a:gd name="connsiteY66" fmla="*/ 641109 h 1962664"/>
                <a:gd name="connsiteX67" fmla="*/ 466436 w 1978226"/>
                <a:gd name="connsiteY67" fmla="*/ 350310 h 1962664"/>
                <a:gd name="connsiteX68" fmla="*/ 534712 w 1978226"/>
                <a:gd name="connsiteY68" fmla="*/ 300104 h 1962664"/>
                <a:gd name="connsiteX69" fmla="*/ 745567 w 1978226"/>
                <a:gd name="connsiteY69" fmla="*/ 351072 h 1962664"/>
                <a:gd name="connsiteX70" fmla="*/ 828986 w 1978226"/>
                <a:gd name="connsiteY70" fmla="*/ 341147 h 1962664"/>
                <a:gd name="connsiteX71" fmla="*/ 1069531 w 1978226"/>
                <a:gd name="connsiteY71" fmla="*/ 168335 h 1962664"/>
                <a:gd name="connsiteX72" fmla="*/ 1153379 w 1978226"/>
                <a:gd name="connsiteY72" fmla="*/ 180880 h 1962664"/>
                <a:gd name="connsiteX73" fmla="*/ 1331945 w 1978226"/>
                <a:gd name="connsiteY73" fmla="*/ 416157 h 1962664"/>
                <a:gd name="connsiteX74" fmla="*/ 1542152 w 1978226"/>
                <a:gd name="connsiteY74" fmla="*/ 468649 h 1962664"/>
                <a:gd name="connsiteX75" fmla="*/ 1625191 w 1978226"/>
                <a:gd name="connsiteY75" fmla="*/ 462791 h 1962664"/>
                <a:gd name="connsiteX76" fmla="*/ 1675826 w 1978226"/>
                <a:gd name="connsiteY76" fmla="*/ 530581 h 1962664"/>
                <a:gd name="connsiteX77" fmla="*/ 1634306 w 1978226"/>
                <a:gd name="connsiteY77" fmla="*/ 822417 h 1962664"/>
                <a:gd name="connsiteX78" fmla="*/ 1808585 w 1978226"/>
                <a:gd name="connsiteY78" fmla="*/ 1061333 h 1962664"/>
                <a:gd name="connsiteX79" fmla="*/ 1795936 w 1978226"/>
                <a:gd name="connsiteY79" fmla="*/ 1144496 h 196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978226" h="1962664">
                  <a:moveTo>
                    <a:pt x="1935258" y="951062"/>
                  </a:moveTo>
                  <a:cubicBezTo>
                    <a:pt x="1935258" y="951062"/>
                    <a:pt x="1817101" y="880777"/>
                    <a:pt x="1792840" y="783403"/>
                  </a:cubicBezTo>
                  <a:cubicBezTo>
                    <a:pt x="1768418" y="685971"/>
                    <a:pt x="1839684" y="569071"/>
                    <a:pt x="1839684" y="569071"/>
                  </a:cubicBezTo>
                  <a:cubicBezTo>
                    <a:pt x="1855153" y="543668"/>
                    <a:pt x="1854877" y="502320"/>
                    <a:pt x="1839027" y="477079"/>
                  </a:cubicBezTo>
                  <a:lnTo>
                    <a:pt x="1724841" y="323917"/>
                  </a:lnTo>
                  <a:cubicBezTo>
                    <a:pt x="1709049" y="305733"/>
                    <a:pt x="1680064" y="294065"/>
                    <a:pt x="1654128" y="294065"/>
                  </a:cubicBezTo>
                  <a:cubicBezTo>
                    <a:pt x="1647994" y="294065"/>
                    <a:pt x="1642021" y="294770"/>
                    <a:pt x="1636487" y="296123"/>
                  </a:cubicBezTo>
                  <a:cubicBezTo>
                    <a:pt x="1636487" y="296123"/>
                    <a:pt x="1594368" y="306600"/>
                    <a:pt x="1542162" y="306600"/>
                  </a:cubicBezTo>
                  <a:cubicBezTo>
                    <a:pt x="1501347" y="306600"/>
                    <a:pt x="1454351" y="300142"/>
                    <a:pt x="1416403" y="277454"/>
                  </a:cubicBezTo>
                  <a:cubicBezTo>
                    <a:pt x="1329563" y="225619"/>
                    <a:pt x="1296836" y="93078"/>
                    <a:pt x="1296836" y="93078"/>
                  </a:cubicBezTo>
                  <a:cubicBezTo>
                    <a:pt x="1289663" y="64151"/>
                    <a:pt x="1259936" y="35214"/>
                    <a:pt x="1230780" y="28604"/>
                  </a:cubicBezTo>
                  <a:lnTo>
                    <a:pt x="1040718" y="162"/>
                  </a:lnTo>
                  <a:lnTo>
                    <a:pt x="1036165" y="0"/>
                  </a:lnTo>
                  <a:cubicBezTo>
                    <a:pt x="1007237" y="0"/>
                    <a:pt x="973100" y="18402"/>
                    <a:pt x="958498" y="42548"/>
                  </a:cubicBezTo>
                  <a:cubicBezTo>
                    <a:pt x="958498" y="42548"/>
                    <a:pt x="887727" y="159620"/>
                    <a:pt x="789591" y="183880"/>
                  </a:cubicBezTo>
                  <a:cubicBezTo>
                    <a:pt x="775161" y="187357"/>
                    <a:pt x="760397" y="188928"/>
                    <a:pt x="745576" y="188928"/>
                  </a:cubicBezTo>
                  <a:cubicBezTo>
                    <a:pt x="659384" y="188928"/>
                    <a:pt x="573526" y="137427"/>
                    <a:pt x="573526" y="137427"/>
                  </a:cubicBezTo>
                  <a:cubicBezTo>
                    <a:pt x="560934" y="129883"/>
                    <a:pt x="544389" y="126082"/>
                    <a:pt x="527825" y="126082"/>
                  </a:cubicBezTo>
                  <a:cubicBezTo>
                    <a:pt x="510785" y="126082"/>
                    <a:pt x="493678" y="130102"/>
                    <a:pt x="480876" y="138074"/>
                  </a:cubicBezTo>
                  <a:lnTo>
                    <a:pt x="326295" y="251508"/>
                  </a:lnTo>
                  <a:cubicBezTo>
                    <a:pt x="303607" y="270824"/>
                    <a:pt x="291072" y="310344"/>
                    <a:pt x="298282" y="339109"/>
                  </a:cubicBezTo>
                  <a:cubicBezTo>
                    <a:pt x="298282" y="339109"/>
                    <a:pt x="331772" y="471430"/>
                    <a:pt x="279556" y="557403"/>
                  </a:cubicBezTo>
                  <a:cubicBezTo>
                    <a:pt x="227235" y="643376"/>
                    <a:pt x="93723" y="676104"/>
                    <a:pt x="93723" y="676104"/>
                  </a:cubicBezTo>
                  <a:cubicBezTo>
                    <a:pt x="64634" y="683209"/>
                    <a:pt x="35487" y="712689"/>
                    <a:pt x="28810" y="741674"/>
                  </a:cubicBezTo>
                  <a:lnTo>
                    <a:pt x="159" y="930173"/>
                  </a:lnTo>
                  <a:cubicBezTo>
                    <a:pt x="-1955" y="959748"/>
                    <a:pt x="17257" y="996553"/>
                    <a:pt x="42927" y="1011803"/>
                  </a:cubicBezTo>
                  <a:cubicBezTo>
                    <a:pt x="42927" y="1011803"/>
                    <a:pt x="160922" y="1082031"/>
                    <a:pt x="185173" y="1179395"/>
                  </a:cubicBezTo>
                  <a:cubicBezTo>
                    <a:pt x="209652" y="1276760"/>
                    <a:pt x="138329" y="1393555"/>
                    <a:pt x="138329" y="1393555"/>
                  </a:cubicBezTo>
                  <a:cubicBezTo>
                    <a:pt x="122860" y="1419006"/>
                    <a:pt x="123184" y="1460373"/>
                    <a:pt x="139034" y="1485491"/>
                  </a:cubicBezTo>
                  <a:lnTo>
                    <a:pt x="253286" y="1638757"/>
                  </a:lnTo>
                  <a:cubicBezTo>
                    <a:pt x="269031" y="1656941"/>
                    <a:pt x="298063" y="1668609"/>
                    <a:pt x="323952" y="1668609"/>
                  </a:cubicBezTo>
                  <a:cubicBezTo>
                    <a:pt x="330086" y="1668609"/>
                    <a:pt x="336058" y="1667951"/>
                    <a:pt x="341535" y="1666599"/>
                  </a:cubicBezTo>
                  <a:cubicBezTo>
                    <a:pt x="341535" y="1666599"/>
                    <a:pt x="383598" y="1656169"/>
                    <a:pt x="435861" y="1656169"/>
                  </a:cubicBezTo>
                  <a:cubicBezTo>
                    <a:pt x="476676" y="1656169"/>
                    <a:pt x="523729" y="1662522"/>
                    <a:pt x="561668" y="1685201"/>
                  </a:cubicBezTo>
                  <a:cubicBezTo>
                    <a:pt x="648345" y="1737036"/>
                    <a:pt x="681235" y="1869681"/>
                    <a:pt x="681235" y="1869681"/>
                  </a:cubicBezTo>
                  <a:cubicBezTo>
                    <a:pt x="688407" y="1898504"/>
                    <a:pt x="718135" y="1927489"/>
                    <a:pt x="747338" y="1934109"/>
                  </a:cubicBezTo>
                  <a:lnTo>
                    <a:pt x="937248" y="1962502"/>
                  </a:lnTo>
                  <a:lnTo>
                    <a:pt x="941801" y="1962664"/>
                  </a:lnTo>
                  <a:cubicBezTo>
                    <a:pt x="970728" y="1962664"/>
                    <a:pt x="1004866" y="1944214"/>
                    <a:pt x="1019629" y="1920011"/>
                  </a:cubicBezTo>
                  <a:cubicBezTo>
                    <a:pt x="1019629" y="1920011"/>
                    <a:pt x="1090400" y="1803159"/>
                    <a:pt x="1188470" y="1778889"/>
                  </a:cubicBezTo>
                  <a:cubicBezTo>
                    <a:pt x="1202900" y="1775355"/>
                    <a:pt x="1217616" y="1773784"/>
                    <a:pt x="1232437" y="1773784"/>
                  </a:cubicBezTo>
                  <a:cubicBezTo>
                    <a:pt x="1318676" y="1773784"/>
                    <a:pt x="1404487" y="1825400"/>
                    <a:pt x="1404487" y="1825400"/>
                  </a:cubicBezTo>
                  <a:cubicBezTo>
                    <a:pt x="1417032" y="1832943"/>
                    <a:pt x="1433577" y="1836696"/>
                    <a:pt x="1450131" y="1836696"/>
                  </a:cubicBezTo>
                  <a:cubicBezTo>
                    <a:pt x="1467171" y="1836696"/>
                    <a:pt x="1484326" y="1832734"/>
                    <a:pt x="1497184" y="1824647"/>
                  </a:cubicBezTo>
                  <a:lnTo>
                    <a:pt x="1651651" y="1711490"/>
                  </a:lnTo>
                  <a:cubicBezTo>
                    <a:pt x="1674340" y="1692059"/>
                    <a:pt x="1686922" y="1652654"/>
                    <a:pt x="1679712" y="1623898"/>
                  </a:cubicBezTo>
                  <a:cubicBezTo>
                    <a:pt x="1679712" y="1623898"/>
                    <a:pt x="1646384" y="1491301"/>
                    <a:pt x="1698438" y="1405280"/>
                  </a:cubicBezTo>
                  <a:cubicBezTo>
                    <a:pt x="1750702" y="1319251"/>
                    <a:pt x="1884499" y="1286628"/>
                    <a:pt x="1884499" y="1286628"/>
                  </a:cubicBezTo>
                  <a:cubicBezTo>
                    <a:pt x="1913484" y="1279522"/>
                    <a:pt x="1942688" y="1250042"/>
                    <a:pt x="1949355" y="1221124"/>
                  </a:cubicBezTo>
                  <a:lnTo>
                    <a:pt x="1978063" y="1032624"/>
                  </a:lnTo>
                  <a:cubicBezTo>
                    <a:pt x="1980207" y="1003116"/>
                    <a:pt x="1960928" y="966426"/>
                    <a:pt x="1935258" y="951062"/>
                  </a:cubicBezTo>
                  <a:close/>
                  <a:moveTo>
                    <a:pt x="1795936" y="1144496"/>
                  </a:moveTo>
                  <a:cubicBezTo>
                    <a:pt x="1729718" y="1168108"/>
                    <a:pt x="1620200" y="1220372"/>
                    <a:pt x="1558545" y="1321927"/>
                  </a:cubicBezTo>
                  <a:cubicBezTo>
                    <a:pt x="1497165" y="1423254"/>
                    <a:pt x="1501823" y="1543850"/>
                    <a:pt x="1511701" y="1612783"/>
                  </a:cubicBezTo>
                  <a:lnTo>
                    <a:pt x="1443368" y="1662884"/>
                  </a:lnTo>
                  <a:cubicBezTo>
                    <a:pt x="1395391" y="1640472"/>
                    <a:pt x="1317400" y="1611916"/>
                    <a:pt x="1232513" y="1611916"/>
                  </a:cubicBezTo>
                  <a:cubicBezTo>
                    <a:pt x="1203633" y="1611916"/>
                    <a:pt x="1175525" y="1615278"/>
                    <a:pt x="1149198" y="1621793"/>
                  </a:cubicBezTo>
                  <a:cubicBezTo>
                    <a:pt x="1033374" y="1650340"/>
                    <a:pt x="950716" y="1738922"/>
                    <a:pt x="908596" y="1794500"/>
                  </a:cubicBezTo>
                  <a:lnTo>
                    <a:pt x="824634" y="1781956"/>
                  </a:lnTo>
                  <a:cubicBezTo>
                    <a:pt x="800859" y="1716338"/>
                    <a:pt x="748043" y="1607677"/>
                    <a:pt x="645907" y="1546460"/>
                  </a:cubicBezTo>
                  <a:cubicBezTo>
                    <a:pt x="587890" y="1511827"/>
                    <a:pt x="517224" y="1494301"/>
                    <a:pt x="435918" y="1494301"/>
                  </a:cubicBezTo>
                  <a:cubicBezTo>
                    <a:pt x="404334" y="1494301"/>
                    <a:pt x="375673" y="1496959"/>
                    <a:pt x="352984" y="1500102"/>
                  </a:cubicBezTo>
                  <a:lnTo>
                    <a:pt x="302244" y="1432208"/>
                  </a:lnTo>
                  <a:cubicBezTo>
                    <a:pt x="332315" y="1369085"/>
                    <a:pt x="372529" y="1255157"/>
                    <a:pt x="343716" y="1140543"/>
                  </a:cubicBezTo>
                  <a:cubicBezTo>
                    <a:pt x="315113" y="1025595"/>
                    <a:pt x="225826" y="943528"/>
                    <a:pt x="169657" y="901732"/>
                  </a:cubicBezTo>
                  <a:lnTo>
                    <a:pt x="182306" y="818369"/>
                  </a:lnTo>
                  <a:cubicBezTo>
                    <a:pt x="248409" y="794709"/>
                    <a:pt x="357832" y="742493"/>
                    <a:pt x="419488" y="641109"/>
                  </a:cubicBezTo>
                  <a:cubicBezTo>
                    <a:pt x="480981" y="539782"/>
                    <a:pt x="476361" y="419291"/>
                    <a:pt x="466436" y="350310"/>
                  </a:cubicBezTo>
                  <a:lnTo>
                    <a:pt x="534712" y="300104"/>
                  </a:lnTo>
                  <a:cubicBezTo>
                    <a:pt x="582746" y="322469"/>
                    <a:pt x="660680" y="351072"/>
                    <a:pt x="745567" y="351072"/>
                  </a:cubicBezTo>
                  <a:cubicBezTo>
                    <a:pt x="774389" y="351072"/>
                    <a:pt x="802440" y="347710"/>
                    <a:pt x="828986" y="341147"/>
                  </a:cubicBezTo>
                  <a:cubicBezTo>
                    <a:pt x="944639" y="312601"/>
                    <a:pt x="1027192" y="224123"/>
                    <a:pt x="1069531" y="168335"/>
                  </a:cubicBezTo>
                  <a:lnTo>
                    <a:pt x="1153379" y="180880"/>
                  </a:lnTo>
                  <a:cubicBezTo>
                    <a:pt x="1177154" y="246555"/>
                    <a:pt x="1229846" y="355159"/>
                    <a:pt x="1331945" y="416157"/>
                  </a:cubicBezTo>
                  <a:cubicBezTo>
                    <a:pt x="1390066" y="450999"/>
                    <a:pt x="1460799" y="468649"/>
                    <a:pt x="1542152" y="468649"/>
                  </a:cubicBezTo>
                  <a:cubicBezTo>
                    <a:pt x="1573804" y="468649"/>
                    <a:pt x="1602455" y="465877"/>
                    <a:pt x="1625191" y="462791"/>
                  </a:cubicBezTo>
                  <a:lnTo>
                    <a:pt x="1675826" y="530581"/>
                  </a:lnTo>
                  <a:cubicBezTo>
                    <a:pt x="1645870" y="593703"/>
                    <a:pt x="1605598" y="707679"/>
                    <a:pt x="1634306" y="822417"/>
                  </a:cubicBezTo>
                  <a:cubicBezTo>
                    <a:pt x="1662958" y="937374"/>
                    <a:pt x="1752407" y="1019489"/>
                    <a:pt x="1808585" y="1061333"/>
                  </a:cubicBezTo>
                  <a:lnTo>
                    <a:pt x="1795936" y="1144496"/>
                  </a:ln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0">
              <a:extLst>
                <a:ext uri="{FF2B5EF4-FFF2-40B4-BE49-F238E27FC236}">
                  <a16:creationId xmlns:a16="http://schemas.microsoft.com/office/drawing/2014/main" id="{CC434AB4-AE46-469B-9EC4-3CBF7490DCB2}"/>
                </a:ext>
              </a:extLst>
            </p:cNvPr>
            <p:cNvSpPr/>
            <p:nvPr/>
          </p:nvSpPr>
          <p:spPr>
            <a:xfrm>
              <a:off x="-2386609" y="3279482"/>
              <a:ext cx="773156" cy="767181"/>
            </a:xfrm>
            <a:custGeom>
              <a:avLst/>
              <a:gdLst>
                <a:gd name="connsiteX0" fmla="*/ 585987 w 773156"/>
                <a:gd name="connsiteY0" fmla="*/ 54931 h 767181"/>
                <a:gd name="connsiteX1" fmla="*/ 387019 w 773156"/>
                <a:gd name="connsiteY1" fmla="*/ 0 h 767181"/>
                <a:gd name="connsiteX2" fmla="*/ 55349 w 773156"/>
                <a:gd name="connsiteY2" fmla="*/ 185785 h 767181"/>
                <a:gd name="connsiteX3" fmla="*/ 187232 w 773156"/>
                <a:gd name="connsiteY3" fmla="*/ 712089 h 767181"/>
                <a:gd name="connsiteX4" fmla="*/ 386200 w 773156"/>
                <a:gd name="connsiteY4" fmla="*/ 767182 h 767181"/>
                <a:gd name="connsiteX5" fmla="*/ 717765 w 773156"/>
                <a:gd name="connsiteY5" fmla="*/ 581396 h 767181"/>
                <a:gd name="connsiteX6" fmla="*/ 585987 w 773156"/>
                <a:gd name="connsiteY6" fmla="*/ 54931 h 767181"/>
                <a:gd name="connsiteX7" fmla="*/ 577948 w 773156"/>
                <a:gd name="connsiteY7" fmla="*/ 497815 h 767181"/>
                <a:gd name="connsiteX8" fmla="*/ 386190 w 773156"/>
                <a:gd name="connsiteY8" fmla="*/ 605228 h 767181"/>
                <a:gd name="connsiteX9" fmla="*/ 271405 w 773156"/>
                <a:gd name="connsiteY9" fmla="*/ 573424 h 767181"/>
                <a:gd name="connsiteX10" fmla="*/ 195252 w 773156"/>
                <a:gd name="connsiteY10" fmla="*/ 269319 h 767181"/>
                <a:gd name="connsiteX11" fmla="*/ 387057 w 773156"/>
                <a:gd name="connsiteY11" fmla="*/ 161963 h 767181"/>
                <a:gd name="connsiteX12" fmla="*/ 501633 w 773156"/>
                <a:gd name="connsiteY12" fmla="*/ 193615 h 767181"/>
                <a:gd name="connsiteX13" fmla="*/ 577948 w 773156"/>
                <a:gd name="connsiteY13" fmla="*/ 497815 h 76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3156" h="767181">
                  <a:moveTo>
                    <a:pt x="585987" y="54931"/>
                  </a:moveTo>
                  <a:cubicBezTo>
                    <a:pt x="523674" y="17697"/>
                    <a:pt x="454913" y="0"/>
                    <a:pt x="387019" y="0"/>
                  </a:cubicBezTo>
                  <a:cubicBezTo>
                    <a:pt x="255945" y="0"/>
                    <a:pt x="128072" y="66161"/>
                    <a:pt x="55349" y="185785"/>
                  </a:cubicBezTo>
                  <a:cubicBezTo>
                    <a:pt x="-54608" y="367170"/>
                    <a:pt x="4333" y="602828"/>
                    <a:pt x="187232" y="712089"/>
                  </a:cubicBezTo>
                  <a:cubicBezTo>
                    <a:pt x="249545" y="749427"/>
                    <a:pt x="318306" y="767182"/>
                    <a:pt x="386200" y="767182"/>
                  </a:cubicBezTo>
                  <a:cubicBezTo>
                    <a:pt x="517216" y="767182"/>
                    <a:pt x="645147" y="700964"/>
                    <a:pt x="717765" y="581396"/>
                  </a:cubicBezTo>
                  <a:cubicBezTo>
                    <a:pt x="827779" y="400126"/>
                    <a:pt x="768838" y="164411"/>
                    <a:pt x="585987" y="54931"/>
                  </a:cubicBezTo>
                  <a:close/>
                  <a:moveTo>
                    <a:pt x="577948" y="497815"/>
                  </a:moveTo>
                  <a:cubicBezTo>
                    <a:pt x="537028" y="565061"/>
                    <a:pt x="465381" y="605228"/>
                    <a:pt x="386190" y="605228"/>
                  </a:cubicBezTo>
                  <a:cubicBezTo>
                    <a:pt x="345919" y="605228"/>
                    <a:pt x="306237" y="594208"/>
                    <a:pt x="271405" y="573424"/>
                  </a:cubicBezTo>
                  <a:cubicBezTo>
                    <a:pt x="166058" y="510359"/>
                    <a:pt x="131806" y="373904"/>
                    <a:pt x="195252" y="269319"/>
                  </a:cubicBezTo>
                  <a:cubicBezTo>
                    <a:pt x="236124" y="202187"/>
                    <a:pt x="307771" y="161963"/>
                    <a:pt x="387057" y="161963"/>
                  </a:cubicBezTo>
                  <a:cubicBezTo>
                    <a:pt x="427329" y="161963"/>
                    <a:pt x="467115" y="172926"/>
                    <a:pt x="501633" y="193615"/>
                  </a:cubicBezTo>
                  <a:cubicBezTo>
                    <a:pt x="607151" y="256832"/>
                    <a:pt x="641336" y="393278"/>
                    <a:pt x="577948" y="497815"/>
                  </a:cubicBez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0" name="Group 86">
            <a:extLst>
              <a:ext uri="{FF2B5EF4-FFF2-40B4-BE49-F238E27FC236}">
                <a16:creationId xmlns:a16="http://schemas.microsoft.com/office/drawing/2014/main" id="{DE309A22-7DA2-465D-98CF-D2C6A13D2503}"/>
              </a:ext>
            </a:extLst>
          </p:cNvPr>
          <p:cNvGrpSpPr>
            <a:grpSpLocks noChangeAspect="1"/>
          </p:cNvGrpSpPr>
          <p:nvPr/>
        </p:nvGrpSpPr>
        <p:grpSpPr>
          <a:xfrm>
            <a:off x="8250793" y="5476141"/>
            <a:ext cx="310854" cy="335631"/>
            <a:chOff x="3978751" y="7234834"/>
            <a:chExt cx="4234521" cy="4572019"/>
          </a:xfrm>
          <a:solidFill>
            <a:schemeClr val="tx2"/>
          </a:solidFill>
        </p:grpSpPr>
        <p:sp>
          <p:nvSpPr>
            <p:cNvPr id="91" name="Freeform: Shape 84">
              <a:extLst>
                <a:ext uri="{FF2B5EF4-FFF2-40B4-BE49-F238E27FC236}">
                  <a16:creationId xmlns:a16="http://schemas.microsoft.com/office/drawing/2014/main" id="{4D3EDCE4-04B5-471F-B236-1BD61EC14500}"/>
                </a:ext>
              </a:extLst>
            </p:cNvPr>
            <p:cNvSpPr/>
            <p:nvPr/>
          </p:nvSpPr>
          <p:spPr>
            <a:xfrm>
              <a:off x="3978751" y="7234834"/>
              <a:ext cx="4234521" cy="4572019"/>
            </a:xfrm>
            <a:custGeom>
              <a:avLst/>
              <a:gdLst>
                <a:gd name="connsiteX0" fmla="*/ 4036184 w 4234521"/>
                <a:gd name="connsiteY0" fmla="*/ 2287239 h 4572019"/>
                <a:gd name="connsiteX1" fmla="*/ 4117794 w 4234521"/>
                <a:gd name="connsiteY1" fmla="*/ 1147592 h 4572019"/>
                <a:gd name="connsiteX2" fmla="*/ 3094504 w 4234521"/>
                <a:gd name="connsiteY2" fmla="*/ 648634 h 4572019"/>
                <a:gd name="connsiteX3" fmla="*/ 2985234 w 4234521"/>
                <a:gd name="connsiteY3" fmla="*/ 487699 h 4572019"/>
                <a:gd name="connsiteX4" fmla="*/ 3047870 w 4234521"/>
                <a:gd name="connsiteY4" fmla="*/ 304819 h 4572019"/>
                <a:gd name="connsiteX5" fmla="*/ 2744003 w 4234521"/>
                <a:gd name="connsiteY5" fmla="*/ 0 h 4572019"/>
                <a:gd name="connsiteX6" fmla="*/ 2525214 w 4234521"/>
                <a:gd name="connsiteY6" fmla="*/ 92298 h 4572019"/>
                <a:gd name="connsiteX7" fmla="*/ 2139947 w 4234521"/>
                <a:gd name="connsiteY7" fmla="*/ 19 h 4572019"/>
                <a:gd name="connsiteX8" fmla="*/ 1188590 w 4234521"/>
                <a:gd name="connsiteY8" fmla="*/ 648329 h 4572019"/>
                <a:gd name="connsiteX9" fmla="*/ 157985 w 4234521"/>
                <a:gd name="connsiteY9" fmla="*/ 1147592 h 4572019"/>
                <a:gd name="connsiteX10" fmla="*/ 239823 w 4234521"/>
                <a:gd name="connsiteY10" fmla="*/ 2287086 h 4572019"/>
                <a:gd name="connsiteX11" fmla="*/ 92300 w 4234521"/>
                <a:gd name="connsiteY11" fmla="*/ 3287288 h 4572019"/>
                <a:gd name="connsiteX12" fmla="*/ 85890 w 4234521"/>
                <a:gd name="connsiteY12" fmla="*/ 3717322 h 4572019"/>
                <a:gd name="connsiteX13" fmla="*/ 480920 w 4234521"/>
                <a:gd name="connsiteY13" fmla="*/ 3752946 h 4572019"/>
                <a:gd name="connsiteX14" fmla="*/ 1195143 w 4234521"/>
                <a:gd name="connsiteY14" fmla="*/ 3933845 h 4572019"/>
                <a:gd name="connsiteX15" fmla="*/ 2140023 w 4234521"/>
                <a:gd name="connsiteY15" fmla="*/ 4572020 h 4572019"/>
                <a:gd name="connsiteX16" fmla="*/ 3082998 w 4234521"/>
                <a:gd name="connsiteY16" fmla="*/ 3936588 h 4572019"/>
                <a:gd name="connsiteX17" fmla="*/ 3403038 w 4234521"/>
                <a:gd name="connsiteY17" fmla="*/ 3900240 h 4572019"/>
                <a:gd name="connsiteX18" fmla="*/ 3825300 w 4234521"/>
                <a:gd name="connsiteY18" fmla="*/ 3986851 h 4572019"/>
                <a:gd name="connsiteX19" fmla="*/ 3962270 w 4234521"/>
                <a:gd name="connsiteY19" fmla="*/ 3733820 h 4572019"/>
                <a:gd name="connsiteX20" fmla="*/ 3947030 w 4234521"/>
                <a:gd name="connsiteY20" fmla="*/ 3642380 h 4572019"/>
                <a:gd name="connsiteX21" fmla="*/ 4118023 w 4234521"/>
                <a:gd name="connsiteY21" fmla="*/ 3433287 h 4572019"/>
                <a:gd name="connsiteX22" fmla="*/ 4036184 w 4234521"/>
                <a:gd name="connsiteY22" fmla="*/ 2287239 h 4572019"/>
                <a:gd name="connsiteX23" fmla="*/ 3985815 w 4234521"/>
                <a:gd name="connsiteY23" fmla="*/ 1223791 h 4572019"/>
                <a:gd name="connsiteX24" fmla="*/ 3946877 w 4234521"/>
                <a:gd name="connsiteY24" fmla="*/ 2139182 h 4572019"/>
                <a:gd name="connsiteX25" fmla="*/ 3431537 w 4234521"/>
                <a:gd name="connsiteY25" fmla="*/ 1548480 h 4572019"/>
                <a:gd name="connsiteX26" fmla="*/ 3178857 w 4234521"/>
                <a:gd name="connsiteY26" fmla="*/ 800119 h 4572019"/>
                <a:gd name="connsiteX27" fmla="*/ 3985815 w 4234521"/>
                <a:gd name="connsiteY27" fmla="*/ 1223791 h 4572019"/>
                <a:gd name="connsiteX28" fmla="*/ 3472837 w 4234521"/>
                <a:gd name="connsiteY28" fmla="*/ 1796663 h 4572019"/>
                <a:gd name="connsiteX29" fmla="*/ 3473066 w 4234521"/>
                <a:gd name="connsiteY29" fmla="*/ 1796663 h 4572019"/>
                <a:gd name="connsiteX30" fmla="*/ 3863972 w 4234521"/>
                <a:gd name="connsiteY30" fmla="*/ 2293259 h 4572019"/>
                <a:gd name="connsiteX31" fmla="*/ 3471694 w 4234521"/>
                <a:gd name="connsiteY31" fmla="*/ 2788559 h 4572019"/>
                <a:gd name="connsiteX32" fmla="*/ 3505070 w 4234521"/>
                <a:gd name="connsiteY32" fmla="*/ 2286020 h 4572019"/>
                <a:gd name="connsiteX33" fmla="*/ 3472837 w 4234521"/>
                <a:gd name="connsiteY33" fmla="*/ 1796663 h 4572019"/>
                <a:gd name="connsiteX34" fmla="*/ 3352670 w 4234521"/>
                <a:gd name="connsiteY34" fmla="*/ 2286020 h 4572019"/>
                <a:gd name="connsiteX35" fmla="*/ 3291710 w 4234521"/>
                <a:gd name="connsiteY35" fmla="*/ 2954675 h 4572019"/>
                <a:gd name="connsiteX36" fmla="*/ 2744441 w 4234521"/>
                <a:gd name="connsiteY36" fmla="*/ 3340856 h 4572019"/>
                <a:gd name="connsiteX37" fmla="*/ 2744289 w 4234521"/>
                <a:gd name="connsiteY37" fmla="*/ 3340856 h 4572019"/>
                <a:gd name="connsiteX38" fmla="*/ 2138499 w 4234521"/>
                <a:gd name="connsiteY38" fmla="*/ 3619520 h 4572019"/>
                <a:gd name="connsiteX39" fmla="*/ 1531490 w 4234521"/>
                <a:gd name="connsiteY39" fmla="*/ 3340856 h 4572019"/>
                <a:gd name="connsiteX40" fmla="*/ 989098 w 4234521"/>
                <a:gd name="connsiteY40" fmla="*/ 2958637 h 4572019"/>
                <a:gd name="connsiteX41" fmla="*/ 986507 w 4234521"/>
                <a:gd name="connsiteY41" fmla="*/ 1626890 h 4572019"/>
                <a:gd name="connsiteX42" fmla="*/ 1531490 w 4234521"/>
                <a:gd name="connsiteY42" fmla="*/ 1240327 h 4572019"/>
                <a:gd name="connsiteX43" fmla="*/ 2137966 w 4234521"/>
                <a:gd name="connsiteY43" fmla="*/ 960139 h 4572019"/>
                <a:gd name="connsiteX44" fmla="*/ 3292319 w 4234521"/>
                <a:gd name="connsiteY44" fmla="*/ 1628032 h 4572019"/>
                <a:gd name="connsiteX45" fmla="*/ 3352670 w 4234521"/>
                <a:gd name="connsiteY45" fmla="*/ 2286020 h 4572019"/>
                <a:gd name="connsiteX46" fmla="*/ 3004512 w 4234521"/>
                <a:gd name="connsiteY46" fmla="*/ 794404 h 4572019"/>
                <a:gd name="connsiteX47" fmla="*/ 3238370 w 4234521"/>
                <a:gd name="connsiteY47" fmla="*/ 1388460 h 4572019"/>
                <a:gd name="connsiteX48" fmla="*/ 2820870 w 4234521"/>
                <a:gd name="connsiteY48" fmla="*/ 1108349 h 4572019"/>
                <a:gd name="connsiteX49" fmla="*/ 2372052 w 4234521"/>
                <a:gd name="connsiteY49" fmla="*/ 887369 h 4572019"/>
                <a:gd name="connsiteX50" fmla="*/ 3004512 w 4234521"/>
                <a:gd name="connsiteY50" fmla="*/ 794404 h 4572019"/>
                <a:gd name="connsiteX51" fmla="*/ 2743070 w 4234521"/>
                <a:gd name="connsiteY51" fmla="*/ 152419 h 4572019"/>
                <a:gd name="connsiteX52" fmla="*/ 2895470 w 4234521"/>
                <a:gd name="connsiteY52" fmla="*/ 304819 h 4572019"/>
                <a:gd name="connsiteX53" fmla="*/ 2743070 w 4234521"/>
                <a:gd name="connsiteY53" fmla="*/ 457219 h 4572019"/>
                <a:gd name="connsiteX54" fmla="*/ 2590670 w 4234521"/>
                <a:gd name="connsiteY54" fmla="*/ 304819 h 4572019"/>
                <a:gd name="connsiteX55" fmla="*/ 2743070 w 4234521"/>
                <a:gd name="connsiteY55" fmla="*/ 152419 h 4572019"/>
                <a:gd name="connsiteX56" fmla="*/ 2139947 w 4234521"/>
                <a:gd name="connsiteY56" fmla="*/ 152419 h 4572019"/>
                <a:gd name="connsiteX57" fmla="*/ 2450081 w 4234521"/>
                <a:gd name="connsiteY57" fmla="*/ 225343 h 4572019"/>
                <a:gd name="connsiteX58" fmla="*/ 2438270 w 4234521"/>
                <a:gd name="connsiteY58" fmla="*/ 304819 h 4572019"/>
                <a:gd name="connsiteX59" fmla="*/ 2741089 w 4234521"/>
                <a:gd name="connsiteY59" fmla="*/ 609619 h 4572019"/>
                <a:gd name="connsiteX60" fmla="*/ 2866209 w 4234521"/>
                <a:gd name="connsiteY60" fmla="*/ 583102 h 4572019"/>
                <a:gd name="connsiteX61" fmla="*/ 2914291 w 4234521"/>
                <a:gd name="connsiteY61" fmla="*/ 650005 h 4572019"/>
                <a:gd name="connsiteX62" fmla="*/ 2138118 w 4234521"/>
                <a:gd name="connsiteY62" fmla="*/ 800729 h 4572019"/>
                <a:gd name="connsiteX63" fmla="*/ 1362554 w 4234521"/>
                <a:gd name="connsiteY63" fmla="*/ 650005 h 4572019"/>
                <a:gd name="connsiteX64" fmla="*/ 2139947 w 4234521"/>
                <a:gd name="connsiteY64" fmla="*/ 152419 h 4572019"/>
                <a:gd name="connsiteX65" fmla="*/ 1273781 w 4234521"/>
                <a:gd name="connsiteY65" fmla="*/ 794709 h 4572019"/>
                <a:gd name="connsiteX66" fmla="*/ 1273934 w 4234521"/>
                <a:gd name="connsiteY66" fmla="*/ 794709 h 4572019"/>
                <a:gd name="connsiteX67" fmla="*/ 1904336 w 4234521"/>
                <a:gd name="connsiteY67" fmla="*/ 887597 h 4572019"/>
                <a:gd name="connsiteX68" fmla="*/ 1455671 w 4234521"/>
                <a:gd name="connsiteY68" fmla="*/ 1108577 h 4572019"/>
                <a:gd name="connsiteX69" fmla="*/ 1041143 w 4234521"/>
                <a:gd name="connsiteY69" fmla="*/ 1385336 h 4572019"/>
                <a:gd name="connsiteX70" fmla="*/ 1273781 w 4234521"/>
                <a:gd name="connsiteY70" fmla="*/ 794709 h 4572019"/>
                <a:gd name="connsiteX71" fmla="*/ 290344 w 4234521"/>
                <a:gd name="connsiteY71" fmla="*/ 1223791 h 4572019"/>
                <a:gd name="connsiteX72" fmla="*/ 1104008 w 4234521"/>
                <a:gd name="connsiteY72" fmla="*/ 799738 h 4572019"/>
                <a:gd name="connsiteX73" fmla="*/ 849347 w 4234521"/>
                <a:gd name="connsiteY73" fmla="*/ 1542689 h 4572019"/>
                <a:gd name="connsiteX74" fmla="*/ 328444 w 4234521"/>
                <a:gd name="connsiteY74" fmla="*/ 2137734 h 4572019"/>
                <a:gd name="connsiteX75" fmla="*/ 290344 w 4234521"/>
                <a:gd name="connsiteY75" fmla="*/ 1223791 h 4572019"/>
                <a:gd name="connsiteX76" fmla="*/ 809114 w 4234521"/>
                <a:gd name="connsiteY76" fmla="*/ 2792140 h 4572019"/>
                <a:gd name="connsiteX77" fmla="*/ 809114 w 4234521"/>
                <a:gd name="connsiteY77" fmla="*/ 2792445 h 4572019"/>
                <a:gd name="connsiteX78" fmla="*/ 413331 w 4234521"/>
                <a:gd name="connsiteY78" fmla="*/ 2294783 h 4572019"/>
                <a:gd name="connsiteX79" fmla="*/ 807133 w 4234521"/>
                <a:gd name="connsiteY79" fmla="*/ 1793920 h 4572019"/>
                <a:gd name="connsiteX80" fmla="*/ 809114 w 4234521"/>
                <a:gd name="connsiteY80" fmla="*/ 2792140 h 4572019"/>
                <a:gd name="connsiteX81" fmla="*/ 304670 w 4234521"/>
                <a:gd name="connsiteY81" fmla="*/ 3657620 h 4572019"/>
                <a:gd name="connsiteX82" fmla="*/ 152270 w 4234521"/>
                <a:gd name="connsiteY82" fmla="*/ 3505220 h 4572019"/>
                <a:gd name="connsiteX83" fmla="*/ 304670 w 4234521"/>
                <a:gd name="connsiteY83" fmla="*/ 3352820 h 4572019"/>
                <a:gd name="connsiteX84" fmla="*/ 457070 w 4234521"/>
                <a:gd name="connsiteY84" fmla="*/ 3505220 h 4572019"/>
                <a:gd name="connsiteX85" fmla="*/ 304670 w 4234521"/>
                <a:gd name="connsiteY85" fmla="*/ 3657620 h 4572019"/>
                <a:gd name="connsiteX86" fmla="*/ 580056 w 4234521"/>
                <a:gd name="connsiteY86" fmla="*/ 3633769 h 4572019"/>
                <a:gd name="connsiteX87" fmla="*/ 609470 w 4234521"/>
                <a:gd name="connsiteY87" fmla="*/ 3505220 h 4572019"/>
                <a:gd name="connsiteX88" fmla="*/ 304670 w 4234521"/>
                <a:gd name="connsiteY88" fmla="*/ 3200420 h 4572019"/>
                <a:gd name="connsiteX89" fmla="*/ 227479 w 4234521"/>
                <a:gd name="connsiteY89" fmla="*/ 3211545 h 4572019"/>
                <a:gd name="connsiteX90" fmla="*/ 333016 w 4234521"/>
                <a:gd name="connsiteY90" fmla="*/ 2444668 h 4572019"/>
                <a:gd name="connsiteX91" fmla="*/ 851176 w 4234521"/>
                <a:gd name="connsiteY91" fmla="*/ 3039028 h 4572019"/>
                <a:gd name="connsiteX92" fmla="*/ 1107818 w 4234521"/>
                <a:gd name="connsiteY92" fmla="*/ 3779540 h 4572019"/>
                <a:gd name="connsiteX93" fmla="*/ 580056 w 4234521"/>
                <a:gd name="connsiteY93" fmla="*/ 3633769 h 4572019"/>
                <a:gd name="connsiteX94" fmla="*/ 1043810 w 4234521"/>
                <a:gd name="connsiteY94" fmla="*/ 3197600 h 4572019"/>
                <a:gd name="connsiteX95" fmla="*/ 1455290 w 4234521"/>
                <a:gd name="connsiteY95" fmla="*/ 3472834 h 4572019"/>
                <a:gd name="connsiteX96" fmla="*/ 1901365 w 4234521"/>
                <a:gd name="connsiteY96" fmla="*/ 3692595 h 4572019"/>
                <a:gd name="connsiteX97" fmla="*/ 1277287 w 4234521"/>
                <a:gd name="connsiteY97" fmla="*/ 3784035 h 4572019"/>
                <a:gd name="connsiteX98" fmla="*/ 1043810 w 4234521"/>
                <a:gd name="connsiteY98" fmla="*/ 3197600 h 4572019"/>
                <a:gd name="connsiteX99" fmla="*/ 2139947 w 4234521"/>
                <a:gd name="connsiteY99" fmla="*/ 4419620 h 4572019"/>
                <a:gd name="connsiteX100" fmla="*/ 1368041 w 4234521"/>
                <a:gd name="connsiteY100" fmla="*/ 3930416 h 4572019"/>
                <a:gd name="connsiteX101" fmla="*/ 2134613 w 4234521"/>
                <a:gd name="connsiteY101" fmla="*/ 3779921 h 4572019"/>
                <a:gd name="connsiteX102" fmla="*/ 2909490 w 4234521"/>
                <a:gd name="connsiteY102" fmla="*/ 3933692 h 4572019"/>
                <a:gd name="connsiteX103" fmla="*/ 2139947 w 4234521"/>
                <a:gd name="connsiteY103" fmla="*/ 4419620 h 4572019"/>
                <a:gd name="connsiteX104" fmla="*/ 3002150 w 4234521"/>
                <a:gd name="connsiteY104" fmla="*/ 3784340 h 4572019"/>
                <a:gd name="connsiteX105" fmla="*/ 2372890 w 4234521"/>
                <a:gd name="connsiteY105" fmla="*/ 3691909 h 4572019"/>
                <a:gd name="connsiteX106" fmla="*/ 2820489 w 4234521"/>
                <a:gd name="connsiteY106" fmla="*/ 3472834 h 4572019"/>
                <a:gd name="connsiteX107" fmla="*/ 3236922 w 4234521"/>
                <a:gd name="connsiteY107" fmla="*/ 3193942 h 4572019"/>
                <a:gd name="connsiteX108" fmla="*/ 3002150 w 4234521"/>
                <a:gd name="connsiteY108" fmla="*/ 3784340 h 4572019"/>
                <a:gd name="connsiteX109" fmla="*/ 3657470 w 4234521"/>
                <a:gd name="connsiteY109" fmla="*/ 3886220 h 4572019"/>
                <a:gd name="connsiteX110" fmla="*/ 3505070 w 4234521"/>
                <a:gd name="connsiteY110" fmla="*/ 3733820 h 4572019"/>
                <a:gd name="connsiteX111" fmla="*/ 3657470 w 4234521"/>
                <a:gd name="connsiteY111" fmla="*/ 3581420 h 4572019"/>
                <a:gd name="connsiteX112" fmla="*/ 3809870 w 4234521"/>
                <a:gd name="connsiteY112" fmla="*/ 3733820 h 4572019"/>
                <a:gd name="connsiteX113" fmla="*/ 3657470 w 4234521"/>
                <a:gd name="connsiteY113" fmla="*/ 3886220 h 4572019"/>
                <a:gd name="connsiteX114" fmla="*/ 3985815 w 4234521"/>
                <a:gd name="connsiteY114" fmla="*/ 3357392 h 4572019"/>
                <a:gd name="connsiteX115" fmla="*/ 3863134 w 4234521"/>
                <a:gd name="connsiteY115" fmla="*/ 3510325 h 4572019"/>
                <a:gd name="connsiteX116" fmla="*/ 3433975 w 4234521"/>
                <a:gd name="connsiteY116" fmla="*/ 3525860 h 4572019"/>
                <a:gd name="connsiteX117" fmla="*/ 3352670 w 4234521"/>
                <a:gd name="connsiteY117" fmla="*/ 3733820 h 4572019"/>
                <a:gd name="connsiteX118" fmla="*/ 3354803 w 4234521"/>
                <a:gd name="connsiteY118" fmla="*/ 3754698 h 4572019"/>
                <a:gd name="connsiteX119" fmla="*/ 3172609 w 4234521"/>
                <a:gd name="connsiteY119" fmla="*/ 3778549 h 4572019"/>
                <a:gd name="connsiteX120" fmla="*/ 3429556 w 4234521"/>
                <a:gd name="connsiteY120" fmla="*/ 3034532 h 4572019"/>
                <a:gd name="connsiteX121" fmla="*/ 3944515 w 4234521"/>
                <a:gd name="connsiteY121" fmla="*/ 2442458 h 4572019"/>
                <a:gd name="connsiteX122" fmla="*/ 3985815 w 4234521"/>
                <a:gd name="connsiteY122" fmla="*/ 3357392 h 457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234521" h="4572019">
                  <a:moveTo>
                    <a:pt x="4036184" y="2287239"/>
                  </a:moveTo>
                  <a:cubicBezTo>
                    <a:pt x="4256402" y="1876521"/>
                    <a:pt x="4301360" y="1465498"/>
                    <a:pt x="4117794" y="1147592"/>
                  </a:cubicBezTo>
                  <a:cubicBezTo>
                    <a:pt x="3934228" y="829685"/>
                    <a:pt x="3558410" y="664179"/>
                    <a:pt x="3094504" y="648634"/>
                  </a:cubicBezTo>
                  <a:cubicBezTo>
                    <a:pt x="3060824" y="593179"/>
                    <a:pt x="3024353" y="539468"/>
                    <a:pt x="2985234" y="487699"/>
                  </a:cubicBezTo>
                  <a:cubicBezTo>
                    <a:pt x="3025610" y="435264"/>
                    <a:pt x="3047622" y="370999"/>
                    <a:pt x="3047870" y="304819"/>
                  </a:cubicBezTo>
                  <a:cubicBezTo>
                    <a:pt x="3048127" y="136732"/>
                    <a:pt x="2912081" y="267"/>
                    <a:pt x="2744003" y="0"/>
                  </a:cubicBezTo>
                  <a:cubicBezTo>
                    <a:pt x="2661584" y="-133"/>
                    <a:pt x="2582640" y="33176"/>
                    <a:pt x="2525214" y="92298"/>
                  </a:cubicBezTo>
                  <a:cubicBezTo>
                    <a:pt x="2405504" y="32576"/>
                    <a:pt x="2273726" y="1010"/>
                    <a:pt x="2139947" y="19"/>
                  </a:cubicBezTo>
                  <a:cubicBezTo>
                    <a:pt x="1770453" y="19"/>
                    <a:pt x="1434944" y="247517"/>
                    <a:pt x="1188590" y="648329"/>
                  </a:cubicBezTo>
                  <a:cubicBezTo>
                    <a:pt x="721484" y="662350"/>
                    <a:pt x="341932" y="828999"/>
                    <a:pt x="157985" y="1147592"/>
                  </a:cubicBezTo>
                  <a:cubicBezTo>
                    <a:pt x="-25962" y="1466184"/>
                    <a:pt x="19682" y="1876368"/>
                    <a:pt x="239823" y="2287086"/>
                  </a:cubicBezTo>
                  <a:cubicBezTo>
                    <a:pt x="49323" y="2638597"/>
                    <a:pt x="-10417" y="2990793"/>
                    <a:pt x="92300" y="3287288"/>
                  </a:cubicBezTo>
                  <a:cubicBezTo>
                    <a:pt x="-28220" y="3404264"/>
                    <a:pt x="-31087" y="3596802"/>
                    <a:pt x="85890" y="3717322"/>
                  </a:cubicBezTo>
                  <a:cubicBezTo>
                    <a:pt x="190646" y="3825241"/>
                    <a:pt x="358553" y="3840385"/>
                    <a:pt x="480920" y="3752946"/>
                  </a:cubicBezTo>
                  <a:cubicBezTo>
                    <a:pt x="699757" y="3872942"/>
                    <a:pt x="945569" y="3935197"/>
                    <a:pt x="1195143" y="3933845"/>
                  </a:cubicBezTo>
                  <a:cubicBezTo>
                    <a:pt x="1440659" y="4328561"/>
                    <a:pt x="1773501" y="4572020"/>
                    <a:pt x="2140023" y="4572020"/>
                  </a:cubicBezTo>
                  <a:cubicBezTo>
                    <a:pt x="2506545" y="4572020"/>
                    <a:pt x="2837710" y="4329704"/>
                    <a:pt x="3082998" y="3936588"/>
                  </a:cubicBezTo>
                  <a:cubicBezTo>
                    <a:pt x="3190535" y="3933854"/>
                    <a:pt x="3297625" y="3921691"/>
                    <a:pt x="3403038" y="3900240"/>
                  </a:cubicBezTo>
                  <a:cubicBezTo>
                    <a:pt x="3495726" y="4040763"/>
                    <a:pt x="3684778" y="4079539"/>
                    <a:pt x="3825300" y="3986851"/>
                  </a:cubicBezTo>
                  <a:cubicBezTo>
                    <a:pt x="3910397" y="3930720"/>
                    <a:pt x="3961803" y="3835766"/>
                    <a:pt x="3962270" y="3733820"/>
                  </a:cubicBezTo>
                  <a:cubicBezTo>
                    <a:pt x="3961936" y="3702740"/>
                    <a:pt x="3956802" y="3671888"/>
                    <a:pt x="3947030" y="3642380"/>
                  </a:cubicBezTo>
                  <a:cubicBezTo>
                    <a:pt x="4014743" y="3582172"/>
                    <a:pt x="4072455" y="3511601"/>
                    <a:pt x="4118023" y="3433287"/>
                  </a:cubicBezTo>
                  <a:cubicBezTo>
                    <a:pt x="4298083" y="3121324"/>
                    <a:pt x="4268365" y="2715635"/>
                    <a:pt x="4036184" y="2287239"/>
                  </a:cubicBezTo>
                  <a:close/>
                  <a:moveTo>
                    <a:pt x="3985815" y="1223791"/>
                  </a:moveTo>
                  <a:cubicBezTo>
                    <a:pt x="4132653" y="1478147"/>
                    <a:pt x="4107736" y="1803902"/>
                    <a:pt x="3946877" y="2139182"/>
                  </a:cubicBezTo>
                  <a:cubicBezTo>
                    <a:pt x="3802536" y="1919936"/>
                    <a:pt x="3629181" y="1721235"/>
                    <a:pt x="3431537" y="1548480"/>
                  </a:cubicBezTo>
                  <a:cubicBezTo>
                    <a:pt x="3380969" y="1288895"/>
                    <a:pt x="3295987" y="1037225"/>
                    <a:pt x="3178857" y="800119"/>
                  </a:cubicBezTo>
                  <a:cubicBezTo>
                    <a:pt x="3547056" y="829533"/>
                    <a:pt x="3839664" y="970655"/>
                    <a:pt x="3985815" y="1223791"/>
                  </a:cubicBezTo>
                  <a:close/>
                  <a:moveTo>
                    <a:pt x="3472837" y="1796663"/>
                  </a:moveTo>
                  <a:lnTo>
                    <a:pt x="3473066" y="1796663"/>
                  </a:lnTo>
                  <a:cubicBezTo>
                    <a:pt x="3623370" y="1945425"/>
                    <a:pt x="3754672" y="2112226"/>
                    <a:pt x="3863972" y="2293259"/>
                  </a:cubicBezTo>
                  <a:cubicBezTo>
                    <a:pt x="3754006" y="2473814"/>
                    <a:pt x="3622256" y="2640159"/>
                    <a:pt x="3471694" y="2788559"/>
                  </a:cubicBezTo>
                  <a:cubicBezTo>
                    <a:pt x="3493992" y="2621976"/>
                    <a:pt x="3505146" y="2454088"/>
                    <a:pt x="3505070" y="2286020"/>
                  </a:cubicBezTo>
                  <a:cubicBezTo>
                    <a:pt x="3504946" y="2122371"/>
                    <a:pt x="3494173" y="1958912"/>
                    <a:pt x="3472837" y="1796663"/>
                  </a:cubicBezTo>
                  <a:close/>
                  <a:moveTo>
                    <a:pt x="3352670" y="2286020"/>
                  </a:moveTo>
                  <a:cubicBezTo>
                    <a:pt x="3353098" y="2510314"/>
                    <a:pt x="3332696" y="2734161"/>
                    <a:pt x="3291710" y="2954675"/>
                  </a:cubicBezTo>
                  <a:cubicBezTo>
                    <a:pt x="3121603" y="3100017"/>
                    <a:pt x="2938399" y="3229299"/>
                    <a:pt x="2744441" y="3340856"/>
                  </a:cubicBezTo>
                  <a:lnTo>
                    <a:pt x="2744289" y="3340856"/>
                  </a:lnTo>
                  <a:cubicBezTo>
                    <a:pt x="2551398" y="3452260"/>
                    <a:pt x="2348601" y="3545548"/>
                    <a:pt x="2138499" y="3619520"/>
                  </a:cubicBezTo>
                  <a:cubicBezTo>
                    <a:pt x="1927930" y="3545720"/>
                    <a:pt x="1724714" y="3452423"/>
                    <a:pt x="1531490" y="3340856"/>
                  </a:cubicBezTo>
                  <a:cubicBezTo>
                    <a:pt x="1339399" y="3230290"/>
                    <a:pt x="1157834" y="3102350"/>
                    <a:pt x="989098" y="2958637"/>
                  </a:cubicBezTo>
                  <a:cubicBezTo>
                    <a:pt x="907174" y="2518582"/>
                    <a:pt x="906297" y="2067259"/>
                    <a:pt x="986507" y="1626890"/>
                  </a:cubicBezTo>
                  <a:cubicBezTo>
                    <a:pt x="1155633" y="1481214"/>
                    <a:pt x="1338094" y="1351788"/>
                    <a:pt x="1531490" y="1240327"/>
                  </a:cubicBezTo>
                  <a:cubicBezTo>
                    <a:pt x="1724580" y="1128437"/>
                    <a:pt x="1927606" y="1034644"/>
                    <a:pt x="2137966" y="960139"/>
                  </a:cubicBezTo>
                  <a:cubicBezTo>
                    <a:pt x="2560457" y="1110101"/>
                    <a:pt x="2951743" y="1336501"/>
                    <a:pt x="3292319" y="1628032"/>
                  </a:cubicBezTo>
                  <a:cubicBezTo>
                    <a:pt x="3332563" y="1845050"/>
                    <a:pt x="3352765" y="2065306"/>
                    <a:pt x="3352670" y="2286020"/>
                  </a:cubicBezTo>
                  <a:close/>
                  <a:moveTo>
                    <a:pt x="3004512" y="794404"/>
                  </a:moveTo>
                  <a:cubicBezTo>
                    <a:pt x="3106601" y="982047"/>
                    <a:pt x="3185154" y="1181577"/>
                    <a:pt x="3238370" y="1388460"/>
                  </a:cubicBezTo>
                  <a:cubicBezTo>
                    <a:pt x="3105496" y="1286028"/>
                    <a:pt x="2966031" y="1192454"/>
                    <a:pt x="2820870" y="1108349"/>
                  </a:cubicBezTo>
                  <a:cubicBezTo>
                    <a:pt x="2676309" y="1024852"/>
                    <a:pt x="2526376" y="951024"/>
                    <a:pt x="2372052" y="887369"/>
                  </a:cubicBezTo>
                  <a:cubicBezTo>
                    <a:pt x="2578192" y="830238"/>
                    <a:pt x="2790647" y="799005"/>
                    <a:pt x="3004512" y="794404"/>
                  </a:cubicBezTo>
                  <a:close/>
                  <a:moveTo>
                    <a:pt x="2743070" y="152419"/>
                  </a:moveTo>
                  <a:cubicBezTo>
                    <a:pt x="2827242" y="152419"/>
                    <a:pt x="2895470" y="220647"/>
                    <a:pt x="2895470" y="304819"/>
                  </a:cubicBezTo>
                  <a:cubicBezTo>
                    <a:pt x="2895470" y="388992"/>
                    <a:pt x="2827242" y="457219"/>
                    <a:pt x="2743070" y="457219"/>
                  </a:cubicBezTo>
                  <a:cubicBezTo>
                    <a:pt x="2658897" y="457219"/>
                    <a:pt x="2590670" y="388992"/>
                    <a:pt x="2590670" y="304819"/>
                  </a:cubicBezTo>
                  <a:cubicBezTo>
                    <a:pt x="2590670" y="220647"/>
                    <a:pt x="2658897" y="152419"/>
                    <a:pt x="2743070" y="152419"/>
                  </a:cubicBezTo>
                  <a:close/>
                  <a:moveTo>
                    <a:pt x="2139947" y="152419"/>
                  </a:moveTo>
                  <a:cubicBezTo>
                    <a:pt x="2247455" y="153391"/>
                    <a:pt x="2353402" y="178308"/>
                    <a:pt x="2450081" y="225343"/>
                  </a:cubicBezTo>
                  <a:cubicBezTo>
                    <a:pt x="2442613" y="251194"/>
                    <a:pt x="2438641" y="277921"/>
                    <a:pt x="2438270" y="304819"/>
                  </a:cubicBezTo>
                  <a:cubicBezTo>
                    <a:pt x="2437727" y="472612"/>
                    <a:pt x="2573296" y="609067"/>
                    <a:pt x="2741089" y="609619"/>
                  </a:cubicBezTo>
                  <a:cubicBezTo>
                    <a:pt x="2784208" y="609762"/>
                    <a:pt x="2826861" y="600723"/>
                    <a:pt x="2866209" y="583102"/>
                  </a:cubicBezTo>
                  <a:cubicBezTo>
                    <a:pt x="2882621" y="604847"/>
                    <a:pt x="2898642" y="627146"/>
                    <a:pt x="2914291" y="650005"/>
                  </a:cubicBezTo>
                  <a:cubicBezTo>
                    <a:pt x="2649944" y="664931"/>
                    <a:pt x="2388835" y="715633"/>
                    <a:pt x="2138118" y="800729"/>
                  </a:cubicBezTo>
                  <a:cubicBezTo>
                    <a:pt x="1887610" y="715623"/>
                    <a:pt x="1626702" y="664922"/>
                    <a:pt x="1362554" y="650005"/>
                  </a:cubicBezTo>
                  <a:cubicBezTo>
                    <a:pt x="1573247" y="339643"/>
                    <a:pt x="1844367" y="152419"/>
                    <a:pt x="2139947" y="152419"/>
                  </a:cubicBezTo>
                  <a:close/>
                  <a:moveTo>
                    <a:pt x="1273781" y="794709"/>
                  </a:moveTo>
                  <a:lnTo>
                    <a:pt x="1273934" y="794709"/>
                  </a:lnTo>
                  <a:cubicBezTo>
                    <a:pt x="1487103" y="799491"/>
                    <a:pt x="1698854" y="830685"/>
                    <a:pt x="1904336" y="887597"/>
                  </a:cubicBezTo>
                  <a:cubicBezTo>
                    <a:pt x="1750060" y="951253"/>
                    <a:pt x="1600175" y="1025071"/>
                    <a:pt x="1455671" y="1108577"/>
                  </a:cubicBezTo>
                  <a:cubicBezTo>
                    <a:pt x="1311615" y="1191711"/>
                    <a:pt x="1173150" y="1284161"/>
                    <a:pt x="1041143" y="1385336"/>
                  </a:cubicBezTo>
                  <a:cubicBezTo>
                    <a:pt x="1094130" y="1179653"/>
                    <a:pt x="1172264" y="981275"/>
                    <a:pt x="1273781" y="794709"/>
                  </a:cubicBezTo>
                  <a:close/>
                  <a:moveTo>
                    <a:pt x="290344" y="1223791"/>
                  </a:moveTo>
                  <a:cubicBezTo>
                    <a:pt x="437334" y="969131"/>
                    <a:pt x="732685" y="828009"/>
                    <a:pt x="1104008" y="799738"/>
                  </a:cubicBezTo>
                  <a:cubicBezTo>
                    <a:pt x="986183" y="1034844"/>
                    <a:pt x="900535" y="1284742"/>
                    <a:pt x="849347" y="1542689"/>
                  </a:cubicBezTo>
                  <a:cubicBezTo>
                    <a:pt x="649579" y="1716548"/>
                    <a:pt x="474348" y="1916726"/>
                    <a:pt x="328444" y="2137734"/>
                  </a:cubicBezTo>
                  <a:cubicBezTo>
                    <a:pt x="168500" y="1802988"/>
                    <a:pt x="143659" y="1477766"/>
                    <a:pt x="290344" y="1223791"/>
                  </a:cubicBezTo>
                  <a:close/>
                  <a:moveTo>
                    <a:pt x="809114" y="2792140"/>
                  </a:moveTo>
                  <a:lnTo>
                    <a:pt x="809114" y="2792445"/>
                  </a:lnTo>
                  <a:cubicBezTo>
                    <a:pt x="657190" y="2643493"/>
                    <a:pt x="524259" y="2476339"/>
                    <a:pt x="413331" y="2294783"/>
                  </a:cubicBezTo>
                  <a:cubicBezTo>
                    <a:pt x="523573" y="2112312"/>
                    <a:pt x="655828" y="1944101"/>
                    <a:pt x="807133" y="1793920"/>
                  </a:cubicBezTo>
                  <a:cubicBezTo>
                    <a:pt x="763527" y="2125276"/>
                    <a:pt x="764194" y="2460956"/>
                    <a:pt x="809114" y="2792140"/>
                  </a:cubicBezTo>
                  <a:close/>
                  <a:moveTo>
                    <a:pt x="304670" y="3657620"/>
                  </a:moveTo>
                  <a:cubicBezTo>
                    <a:pt x="220497" y="3657620"/>
                    <a:pt x="152270" y="3589392"/>
                    <a:pt x="152270" y="3505220"/>
                  </a:cubicBezTo>
                  <a:cubicBezTo>
                    <a:pt x="152270" y="3421047"/>
                    <a:pt x="220497" y="3352820"/>
                    <a:pt x="304670" y="3352820"/>
                  </a:cubicBezTo>
                  <a:cubicBezTo>
                    <a:pt x="388842" y="3352820"/>
                    <a:pt x="457070" y="3421047"/>
                    <a:pt x="457070" y="3505220"/>
                  </a:cubicBezTo>
                  <a:cubicBezTo>
                    <a:pt x="457070" y="3589392"/>
                    <a:pt x="388833" y="3657620"/>
                    <a:pt x="304670" y="3657620"/>
                  </a:cubicBezTo>
                  <a:close/>
                  <a:moveTo>
                    <a:pt x="580056" y="3633769"/>
                  </a:moveTo>
                  <a:cubicBezTo>
                    <a:pt x="599211" y="3593612"/>
                    <a:pt x="609260" y="3549711"/>
                    <a:pt x="609470" y="3505220"/>
                  </a:cubicBezTo>
                  <a:cubicBezTo>
                    <a:pt x="609470" y="3336884"/>
                    <a:pt x="473005" y="3200420"/>
                    <a:pt x="304670" y="3200420"/>
                  </a:cubicBezTo>
                  <a:cubicBezTo>
                    <a:pt x="278562" y="3200762"/>
                    <a:pt x="252616" y="3204506"/>
                    <a:pt x="227479" y="3211545"/>
                  </a:cubicBezTo>
                  <a:cubicBezTo>
                    <a:pt x="159356" y="2985688"/>
                    <a:pt x="201800" y="2718455"/>
                    <a:pt x="333016" y="2444668"/>
                  </a:cubicBezTo>
                  <a:cubicBezTo>
                    <a:pt x="478225" y="2665181"/>
                    <a:pt x="652523" y="2865102"/>
                    <a:pt x="851176" y="3039028"/>
                  </a:cubicBezTo>
                  <a:cubicBezTo>
                    <a:pt x="903078" y="3296270"/>
                    <a:pt x="989403" y="3545348"/>
                    <a:pt x="1107818" y="3779540"/>
                  </a:cubicBezTo>
                  <a:cubicBezTo>
                    <a:pt x="923395" y="3769872"/>
                    <a:pt x="743296" y="3720123"/>
                    <a:pt x="580056" y="3633769"/>
                  </a:cubicBezTo>
                  <a:close/>
                  <a:moveTo>
                    <a:pt x="1043810" y="3197600"/>
                  </a:moveTo>
                  <a:cubicBezTo>
                    <a:pt x="1174788" y="3298260"/>
                    <a:pt x="1312243" y="3390205"/>
                    <a:pt x="1455290" y="3472834"/>
                  </a:cubicBezTo>
                  <a:cubicBezTo>
                    <a:pt x="1599098" y="3555616"/>
                    <a:pt x="1748098" y="3629026"/>
                    <a:pt x="1901365" y="3692595"/>
                  </a:cubicBezTo>
                  <a:cubicBezTo>
                    <a:pt x="1697853" y="3748431"/>
                    <a:pt x="1488265" y="3779140"/>
                    <a:pt x="1277287" y="3784035"/>
                  </a:cubicBezTo>
                  <a:cubicBezTo>
                    <a:pt x="1175664" y="3598888"/>
                    <a:pt x="1097245" y="3401930"/>
                    <a:pt x="1043810" y="3197600"/>
                  </a:cubicBezTo>
                  <a:close/>
                  <a:moveTo>
                    <a:pt x="2139947" y="4419620"/>
                  </a:moveTo>
                  <a:cubicBezTo>
                    <a:pt x="1846958" y="4419620"/>
                    <a:pt x="1577896" y="4235825"/>
                    <a:pt x="1368041" y="3930416"/>
                  </a:cubicBezTo>
                  <a:cubicBezTo>
                    <a:pt x="1629083" y="3914280"/>
                    <a:pt x="1886848" y="3863674"/>
                    <a:pt x="2134613" y="3779921"/>
                  </a:cubicBezTo>
                  <a:cubicBezTo>
                    <a:pt x="2384663" y="3866341"/>
                    <a:pt x="2645381" y="3918071"/>
                    <a:pt x="2909490" y="3933692"/>
                  </a:cubicBezTo>
                  <a:cubicBezTo>
                    <a:pt x="2700017" y="4237197"/>
                    <a:pt x="2431869" y="4419620"/>
                    <a:pt x="2139947" y="4419620"/>
                  </a:cubicBezTo>
                  <a:close/>
                  <a:moveTo>
                    <a:pt x="3002150" y="3784340"/>
                  </a:moveTo>
                  <a:cubicBezTo>
                    <a:pt x="2789399" y="3779463"/>
                    <a:pt x="2578059" y="3748421"/>
                    <a:pt x="2372890" y="3691909"/>
                  </a:cubicBezTo>
                  <a:cubicBezTo>
                    <a:pt x="2526795" y="3628911"/>
                    <a:pt x="2676319" y="3555721"/>
                    <a:pt x="2820489" y="3472834"/>
                  </a:cubicBezTo>
                  <a:cubicBezTo>
                    <a:pt x="2965336" y="3389215"/>
                    <a:pt x="3104448" y="3296041"/>
                    <a:pt x="3236922" y="3193942"/>
                  </a:cubicBezTo>
                  <a:cubicBezTo>
                    <a:pt x="3183372" y="3399692"/>
                    <a:pt x="3104515" y="3598003"/>
                    <a:pt x="3002150" y="3784340"/>
                  </a:cubicBezTo>
                  <a:close/>
                  <a:moveTo>
                    <a:pt x="3657470" y="3886220"/>
                  </a:moveTo>
                  <a:cubicBezTo>
                    <a:pt x="3573297" y="3886220"/>
                    <a:pt x="3505070" y="3817992"/>
                    <a:pt x="3505070" y="3733820"/>
                  </a:cubicBezTo>
                  <a:cubicBezTo>
                    <a:pt x="3505070" y="3649647"/>
                    <a:pt x="3573297" y="3581420"/>
                    <a:pt x="3657470" y="3581420"/>
                  </a:cubicBezTo>
                  <a:cubicBezTo>
                    <a:pt x="3741642" y="3581420"/>
                    <a:pt x="3809870" y="3649647"/>
                    <a:pt x="3809870" y="3733820"/>
                  </a:cubicBezTo>
                  <a:cubicBezTo>
                    <a:pt x="3809870" y="3817992"/>
                    <a:pt x="3741633" y="3886220"/>
                    <a:pt x="3657470" y="3886220"/>
                  </a:cubicBezTo>
                  <a:close/>
                  <a:moveTo>
                    <a:pt x="3985815" y="3357392"/>
                  </a:moveTo>
                  <a:cubicBezTo>
                    <a:pt x="3952288" y="3413865"/>
                    <a:pt x="3910987" y="3465348"/>
                    <a:pt x="3863134" y="3510325"/>
                  </a:cubicBezTo>
                  <a:cubicBezTo>
                    <a:pt x="3740337" y="3396111"/>
                    <a:pt x="3548199" y="3403064"/>
                    <a:pt x="3433975" y="3525860"/>
                  </a:cubicBezTo>
                  <a:cubicBezTo>
                    <a:pt x="3381445" y="3582334"/>
                    <a:pt x="3352374" y="3656686"/>
                    <a:pt x="3352670" y="3733820"/>
                  </a:cubicBezTo>
                  <a:cubicBezTo>
                    <a:pt x="3352670" y="3740982"/>
                    <a:pt x="3354270" y="3747688"/>
                    <a:pt x="3354803" y="3754698"/>
                  </a:cubicBezTo>
                  <a:cubicBezTo>
                    <a:pt x="3294577" y="3766138"/>
                    <a:pt x="3233750" y="3774101"/>
                    <a:pt x="3172609" y="3778549"/>
                  </a:cubicBezTo>
                  <a:cubicBezTo>
                    <a:pt x="3291395" y="3543253"/>
                    <a:pt x="3377825" y="3292984"/>
                    <a:pt x="3429556" y="3034532"/>
                  </a:cubicBezTo>
                  <a:cubicBezTo>
                    <a:pt x="3626971" y="2861149"/>
                    <a:pt x="3800183" y="2662010"/>
                    <a:pt x="3944515" y="2442458"/>
                  </a:cubicBezTo>
                  <a:cubicBezTo>
                    <a:pt x="4111698" y="2790768"/>
                    <a:pt x="4127395" y="3112104"/>
                    <a:pt x="3985815" y="3357392"/>
                  </a:cubicBez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85">
              <a:extLst>
                <a:ext uri="{FF2B5EF4-FFF2-40B4-BE49-F238E27FC236}">
                  <a16:creationId xmlns:a16="http://schemas.microsoft.com/office/drawing/2014/main" id="{F2AD60A1-4CF4-4FAC-BFAA-DDA5E983B11A}"/>
                </a:ext>
              </a:extLst>
            </p:cNvPr>
            <p:cNvSpPr/>
            <p:nvPr/>
          </p:nvSpPr>
          <p:spPr>
            <a:xfrm>
              <a:off x="5350221" y="8758854"/>
              <a:ext cx="1524000" cy="1524000"/>
            </a:xfrm>
            <a:custGeom>
              <a:avLst/>
              <a:gdLst>
                <a:gd name="connsiteX0" fmla="*/ 762000 w 1524000"/>
                <a:gd name="connsiteY0" fmla="*/ 0 h 1524000"/>
                <a:gd name="connsiteX1" fmla="*/ 0 w 1524000"/>
                <a:gd name="connsiteY1" fmla="*/ 762000 h 1524000"/>
                <a:gd name="connsiteX2" fmla="*/ 762000 w 1524000"/>
                <a:gd name="connsiteY2" fmla="*/ 1524000 h 1524000"/>
                <a:gd name="connsiteX3" fmla="*/ 1524000 w 1524000"/>
                <a:gd name="connsiteY3" fmla="*/ 762000 h 1524000"/>
                <a:gd name="connsiteX4" fmla="*/ 762000 w 1524000"/>
                <a:gd name="connsiteY4" fmla="*/ 0 h 1524000"/>
                <a:gd name="connsiteX5" fmla="*/ 762000 w 1524000"/>
                <a:gd name="connsiteY5" fmla="*/ 1371600 h 1524000"/>
                <a:gd name="connsiteX6" fmla="*/ 152400 w 1524000"/>
                <a:gd name="connsiteY6" fmla="*/ 762000 h 1524000"/>
                <a:gd name="connsiteX7" fmla="*/ 762000 w 1524000"/>
                <a:gd name="connsiteY7" fmla="*/ 152400 h 1524000"/>
                <a:gd name="connsiteX8" fmla="*/ 1371600 w 1524000"/>
                <a:gd name="connsiteY8" fmla="*/ 762000 h 1524000"/>
                <a:gd name="connsiteX9" fmla="*/ 762000 w 1524000"/>
                <a:gd name="connsiteY9" fmla="*/ 137160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0" h="1524000">
                  <a:moveTo>
                    <a:pt x="762000" y="0"/>
                  </a:moveTo>
                  <a:cubicBezTo>
                    <a:pt x="341157" y="0"/>
                    <a:pt x="0" y="341157"/>
                    <a:pt x="0" y="762000"/>
                  </a:cubicBezTo>
                  <a:cubicBezTo>
                    <a:pt x="0" y="1182843"/>
                    <a:pt x="341157" y="1524000"/>
                    <a:pt x="762000" y="1524000"/>
                  </a:cubicBezTo>
                  <a:cubicBezTo>
                    <a:pt x="1182843" y="1524000"/>
                    <a:pt x="1524000" y="1182843"/>
                    <a:pt x="1524000" y="762000"/>
                  </a:cubicBezTo>
                  <a:cubicBezTo>
                    <a:pt x="1523533" y="341347"/>
                    <a:pt x="1182643" y="457"/>
                    <a:pt x="762000" y="0"/>
                  </a:cubicBezTo>
                  <a:close/>
                  <a:moveTo>
                    <a:pt x="762000" y="1371600"/>
                  </a:moveTo>
                  <a:cubicBezTo>
                    <a:pt x="425329" y="1371600"/>
                    <a:pt x="152400" y="1098671"/>
                    <a:pt x="152400" y="762000"/>
                  </a:cubicBezTo>
                  <a:cubicBezTo>
                    <a:pt x="152400" y="425329"/>
                    <a:pt x="425329" y="152400"/>
                    <a:pt x="762000" y="152400"/>
                  </a:cubicBezTo>
                  <a:cubicBezTo>
                    <a:pt x="1098671" y="152400"/>
                    <a:pt x="1371600" y="425329"/>
                    <a:pt x="1371600" y="762000"/>
                  </a:cubicBezTo>
                  <a:cubicBezTo>
                    <a:pt x="1371219" y="1098518"/>
                    <a:pt x="1098518" y="1371219"/>
                    <a:pt x="762000" y="1371600"/>
                  </a:cubicBezTo>
                  <a:close/>
                </a:path>
              </a:pathLst>
            </a:custGeom>
            <a:grpFill/>
            <a:ln w="6350"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93" name="Graphic 49">
            <a:extLst>
              <a:ext uri="{FF2B5EF4-FFF2-40B4-BE49-F238E27FC236}">
                <a16:creationId xmlns:a16="http://schemas.microsoft.com/office/drawing/2014/main" id="{8CC17727-C013-435C-A739-C83F9C807146}"/>
              </a:ext>
            </a:extLst>
          </p:cNvPr>
          <p:cNvGrpSpPr>
            <a:grpSpLocks noChangeAspect="1"/>
          </p:cNvGrpSpPr>
          <p:nvPr/>
        </p:nvGrpSpPr>
        <p:grpSpPr>
          <a:xfrm>
            <a:off x="8254922" y="2775266"/>
            <a:ext cx="302596" cy="302596"/>
            <a:chOff x="6463702" y="2100908"/>
            <a:chExt cx="695325" cy="695325"/>
          </a:xfrm>
          <a:solidFill>
            <a:schemeClr val="tx2"/>
          </a:solidFill>
        </p:grpSpPr>
        <p:sp>
          <p:nvSpPr>
            <p:cNvPr id="94" name="Vrije vorm: vorm 85">
              <a:extLst>
                <a:ext uri="{FF2B5EF4-FFF2-40B4-BE49-F238E27FC236}">
                  <a16:creationId xmlns:a16="http://schemas.microsoft.com/office/drawing/2014/main" id="{D9950EF3-0EF3-4D37-B9F1-365BF0D45F40}"/>
                </a:ext>
              </a:extLst>
            </p:cNvPr>
            <p:cNvSpPr/>
            <p:nvPr/>
          </p:nvSpPr>
          <p:spPr>
            <a:xfrm>
              <a:off x="6510619" y="2150110"/>
              <a:ext cx="419100" cy="419100"/>
            </a:xfrm>
            <a:custGeom>
              <a:avLst/>
              <a:gdLst>
                <a:gd name="connsiteX0" fmla="*/ 209550 w 419100"/>
                <a:gd name="connsiteY0" fmla="*/ 0 h 419100"/>
                <a:gd name="connsiteX1" fmla="*/ 0 w 419100"/>
                <a:gd name="connsiteY1" fmla="*/ 209550 h 419100"/>
                <a:gd name="connsiteX2" fmla="*/ 209550 w 419100"/>
                <a:gd name="connsiteY2" fmla="*/ 419100 h 419100"/>
                <a:gd name="connsiteX3" fmla="*/ 419100 w 419100"/>
                <a:gd name="connsiteY3" fmla="*/ 209550 h 419100"/>
                <a:gd name="connsiteX4" fmla="*/ 209550 w 419100"/>
                <a:gd name="connsiteY4" fmla="*/ 0 h 419100"/>
                <a:gd name="connsiteX5" fmla="*/ 209550 w 419100"/>
                <a:gd name="connsiteY5" fmla="*/ 400050 h 419100"/>
                <a:gd name="connsiteX6" fmla="*/ 19050 w 419100"/>
                <a:gd name="connsiteY6" fmla="*/ 209550 h 419100"/>
                <a:gd name="connsiteX7" fmla="*/ 209550 w 419100"/>
                <a:gd name="connsiteY7" fmla="*/ 19050 h 419100"/>
                <a:gd name="connsiteX8" fmla="*/ 400050 w 419100"/>
                <a:gd name="connsiteY8" fmla="*/ 209550 h 419100"/>
                <a:gd name="connsiteX9" fmla="*/ 209550 w 419100"/>
                <a:gd name="connsiteY9" fmla="*/ 40005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100" h="419100">
                  <a:moveTo>
                    <a:pt x="209550" y="0"/>
                  </a:moveTo>
                  <a:cubicBezTo>
                    <a:pt x="93818" y="0"/>
                    <a:pt x="0" y="93818"/>
                    <a:pt x="0" y="209550"/>
                  </a:cubicBezTo>
                  <a:cubicBezTo>
                    <a:pt x="0" y="325282"/>
                    <a:pt x="93818" y="419100"/>
                    <a:pt x="209550" y="419100"/>
                  </a:cubicBezTo>
                  <a:cubicBezTo>
                    <a:pt x="325282" y="419100"/>
                    <a:pt x="419100" y="325282"/>
                    <a:pt x="419100" y="209550"/>
                  </a:cubicBezTo>
                  <a:cubicBezTo>
                    <a:pt x="419100" y="93818"/>
                    <a:pt x="325282" y="0"/>
                    <a:pt x="209550" y="0"/>
                  </a:cubicBezTo>
                  <a:close/>
                  <a:moveTo>
                    <a:pt x="209550" y="400050"/>
                  </a:moveTo>
                  <a:cubicBezTo>
                    <a:pt x="104340" y="400050"/>
                    <a:pt x="19050" y="314760"/>
                    <a:pt x="19050" y="209550"/>
                  </a:cubicBezTo>
                  <a:cubicBezTo>
                    <a:pt x="19050" y="104340"/>
                    <a:pt x="104340" y="19050"/>
                    <a:pt x="209550" y="19050"/>
                  </a:cubicBezTo>
                  <a:cubicBezTo>
                    <a:pt x="314760" y="19050"/>
                    <a:pt x="400050" y="104340"/>
                    <a:pt x="400050" y="209550"/>
                  </a:cubicBezTo>
                  <a:cubicBezTo>
                    <a:pt x="400050" y="314760"/>
                    <a:pt x="314760" y="400050"/>
                    <a:pt x="209550" y="400050"/>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95" name="Vrije vorm: vorm 86">
              <a:extLst>
                <a:ext uri="{FF2B5EF4-FFF2-40B4-BE49-F238E27FC236}">
                  <a16:creationId xmlns:a16="http://schemas.microsoft.com/office/drawing/2014/main" id="{60B0C1B0-2487-4F91-BE47-8E90B0939B0E}"/>
                </a:ext>
              </a:extLst>
            </p:cNvPr>
            <p:cNvSpPr/>
            <p:nvPr/>
          </p:nvSpPr>
          <p:spPr>
            <a:xfrm>
              <a:off x="6463702" y="2100908"/>
              <a:ext cx="695325" cy="695325"/>
            </a:xfrm>
            <a:custGeom>
              <a:avLst/>
              <a:gdLst>
                <a:gd name="connsiteX0" fmla="*/ 685759 w 695325"/>
                <a:gd name="connsiteY0" fmla="*/ 600509 h 695325"/>
                <a:gd name="connsiteX1" fmla="*/ 561934 w 695325"/>
                <a:gd name="connsiteY1" fmla="*/ 475827 h 695325"/>
                <a:gd name="connsiteX2" fmla="*/ 557267 w 695325"/>
                <a:gd name="connsiteY2" fmla="*/ 450966 h 695325"/>
                <a:gd name="connsiteX3" fmla="*/ 557267 w 695325"/>
                <a:gd name="connsiteY3" fmla="*/ 450966 h 695325"/>
                <a:gd name="connsiteX4" fmla="*/ 555362 w 695325"/>
                <a:gd name="connsiteY4" fmla="*/ 449252 h 695325"/>
                <a:gd name="connsiteX5" fmla="*/ 539550 w 695325"/>
                <a:gd name="connsiteY5" fmla="*/ 442680 h 695325"/>
                <a:gd name="connsiteX6" fmla="*/ 539550 w 695325"/>
                <a:gd name="connsiteY6" fmla="*/ 442680 h 695325"/>
                <a:gd name="connsiteX7" fmla="*/ 522882 w 695325"/>
                <a:gd name="connsiteY7" fmla="*/ 449633 h 695325"/>
                <a:gd name="connsiteX8" fmla="*/ 505641 w 695325"/>
                <a:gd name="connsiteY8" fmla="*/ 467159 h 695325"/>
                <a:gd name="connsiteX9" fmla="*/ 457254 w 695325"/>
                <a:gd name="connsiteY9" fmla="*/ 418772 h 695325"/>
                <a:gd name="connsiteX10" fmla="*/ 418772 w 695325"/>
                <a:gd name="connsiteY10" fmla="*/ 57113 h 695325"/>
                <a:gd name="connsiteX11" fmla="*/ 57113 w 695325"/>
                <a:gd name="connsiteY11" fmla="*/ 95595 h 695325"/>
                <a:gd name="connsiteX12" fmla="*/ 95596 w 695325"/>
                <a:gd name="connsiteY12" fmla="*/ 457254 h 695325"/>
                <a:gd name="connsiteX13" fmla="*/ 416868 w 695325"/>
                <a:gd name="connsiteY13" fmla="*/ 458777 h 695325"/>
                <a:gd name="connsiteX14" fmla="*/ 465351 w 695325"/>
                <a:gd name="connsiteY14" fmla="*/ 507259 h 695325"/>
                <a:gd name="connsiteX15" fmla="*/ 448491 w 695325"/>
                <a:gd name="connsiteY15" fmla="*/ 524880 h 695325"/>
                <a:gd name="connsiteX16" fmla="*/ 448491 w 695325"/>
                <a:gd name="connsiteY16" fmla="*/ 557361 h 695325"/>
                <a:gd name="connsiteX17" fmla="*/ 450015 w 695325"/>
                <a:gd name="connsiteY17" fmla="*/ 558885 h 695325"/>
                <a:gd name="connsiteX18" fmla="*/ 465827 w 695325"/>
                <a:gd name="connsiteY18" fmla="*/ 565457 h 695325"/>
                <a:gd name="connsiteX19" fmla="*/ 475352 w 695325"/>
                <a:gd name="connsiteY19" fmla="*/ 563457 h 695325"/>
                <a:gd name="connsiteX20" fmla="*/ 599177 w 695325"/>
                <a:gd name="connsiteY20" fmla="*/ 688044 h 695325"/>
                <a:gd name="connsiteX21" fmla="*/ 624228 w 695325"/>
                <a:gd name="connsiteY21" fmla="*/ 698426 h 695325"/>
                <a:gd name="connsiteX22" fmla="*/ 624228 w 695325"/>
                <a:gd name="connsiteY22" fmla="*/ 698426 h 695325"/>
                <a:gd name="connsiteX23" fmla="*/ 648516 w 695325"/>
                <a:gd name="connsiteY23" fmla="*/ 688044 h 695325"/>
                <a:gd name="connsiteX24" fmla="*/ 685950 w 695325"/>
                <a:gd name="connsiteY24" fmla="*/ 650515 h 695325"/>
                <a:gd name="connsiteX25" fmla="*/ 685759 w 695325"/>
                <a:gd name="connsiteY25" fmla="*/ 600509 h 695325"/>
                <a:gd name="connsiteX26" fmla="*/ 18342 w 695325"/>
                <a:gd name="connsiteY26" fmla="*/ 258752 h 695325"/>
                <a:gd name="connsiteX27" fmla="*/ 256467 w 695325"/>
                <a:gd name="connsiteY27" fmla="*/ 20627 h 695325"/>
                <a:gd name="connsiteX28" fmla="*/ 494592 w 695325"/>
                <a:gd name="connsiteY28" fmla="*/ 258752 h 695325"/>
                <a:gd name="connsiteX29" fmla="*/ 256467 w 695325"/>
                <a:gd name="connsiteY29" fmla="*/ 496877 h 695325"/>
                <a:gd name="connsiteX30" fmla="*/ 18342 w 695325"/>
                <a:gd name="connsiteY30" fmla="*/ 258752 h 695325"/>
                <a:gd name="connsiteX31" fmla="*/ 445062 w 695325"/>
                <a:gd name="connsiteY31" fmla="*/ 433821 h 695325"/>
                <a:gd name="connsiteX32" fmla="*/ 492687 w 695325"/>
                <a:gd name="connsiteY32" fmla="*/ 480970 h 695325"/>
                <a:gd name="connsiteX33" fmla="*/ 479162 w 695325"/>
                <a:gd name="connsiteY33" fmla="*/ 494496 h 695325"/>
                <a:gd name="connsiteX34" fmla="*/ 432108 w 695325"/>
                <a:gd name="connsiteY34" fmla="*/ 446871 h 695325"/>
                <a:gd name="connsiteX35" fmla="*/ 462684 w 695325"/>
                <a:gd name="connsiteY35" fmla="*/ 545454 h 695325"/>
                <a:gd name="connsiteX36" fmla="*/ 461255 w 695325"/>
                <a:gd name="connsiteY36" fmla="*/ 543930 h 695325"/>
                <a:gd name="connsiteX37" fmla="*/ 461253 w 695325"/>
                <a:gd name="connsiteY37" fmla="*/ 538408 h 695325"/>
                <a:gd name="connsiteX38" fmla="*/ 461255 w 695325"/>
                <a:gd name="connsiteY38" fmla="*/ 538406 h 695325"/>
                <a:gd name="connsiteX39" fmla="*/ 536026 w 695325"/>
                <a:gd name="connsiteY39" fmla="*/ 463349 h 695325"/>
                <a:gd name="connsiteX40" fmla="*/ 539169 w 695325"/>
                <a:gd name="connsiteY40" fmla="*/ 462015 h 695325"/>
                <a:gd name="connsiteX41" fmla="*/ 541551 w 695325"/>
                <a:gd name="connsiteY41" fmla="*/ 462968 h 695325"/>
                <a:gd name="connsiteX42" fmla="*/ 542979 w 695325"/>
                <a:gd name="connsiteY42" fmla="*/ 464397 h 695325"/>
                <a:gd name="connsiteX43" fmla="*/ 542979 w 695325"/>
                <a:gd name="connsiteY43" fmla="*/ 470016 h 695325"/>
                <a:gd name="connsiteX44" fmla="*/ 468208 w 695325"/>
                <a:gd name="connsiteY44" fmla="*/ 544978 h 695325"/>
                <a:gd name="connsiteX45" fmla="*/ 462684 w 695325"/>
                <a:gd name="connsiteY45" fmla="*/ 545454 h 695325"/>
                <a:gd name="connsiteX46" fmla="*/ 672234 w 695325"/>
                <a:gd name="connsiteY46" fmla="*/ 637085 h 695325"/>
                <a:gd name="connsiteX47" fmla="*/ 634800 w 695325"/>
                <a:gd name="connsiteY47" fmla="*/ 674613 h 695325"/>
                <a:gd name="connsiteX48" fmla="*/ 623466 w 695325"/>
                <a:gd name="connsiteY48" fmla="*/ 679376 h 695325"/>
                <a:gd name="connsiteX49" fmla="*/ 623466 w 695325"/>
                <a:gd name="connsiteY49" fmla="*/ 679376 h 695325"/>
                <a:gd name="connsiteX50" fmla="*/ 611940 w 695325"/>
                <a:gd name="connsiteY50" fmla="*/ 674518 h 695325"/>
                <a:gd name="connsiteX51" fmla="*/ 529359 w 695325"/>
                <a:gd name="connsiteY51" fmla="*/ 592127 h 695325"/>
                <a:gd name="connsiteX52" fmla="*/ 566316 w 695325"/>
                <a:gd name="connsiteY52" fmla="*/ 555170 h 695325"/>
                <a:gd name="connsiteX53" fmla="*/ 566316 w 695325"/>
                <a:gd name="connsiteY53" fmla="*/ 541740 h 695325"/>
                <a:gd name="connsiteX54" fmla="*/ 552845 w 695325"/>
                <a:gd name="connsiteY54" fmla="*/ 541684 h 695325"/>
                <a:gd name="connsiteX55" fmla="*/ 552790 w 695325"/>
                <a:gd name="connsiteY55" fmla="*/ 541740 h 695325"/>
                <a:gd name="connsiteX56" fmla="*/ 515928 w 695325"/>
                <a:gd name="connsiteY56" fmla="*/ 578601 h 695325"/>
                <a:gd name="connsiteX57" fmla="*/ 488973 w 695325"/>
                <a:gd name="connsiteY57" fmla="*/ 551169 h 695325"/>
                <a:gd name="connsiteX58" fmla="*/ 549361 w 695325"/>
                <a:gd name="connsiteY58" fmla="*/ 490590 h 695325"/>
                <a:gd name="connsiteX59" fmla="*/ 623466 w 695325"/>
                <a:gd name="connsiteY59" fmla="*/ 564885 h 695325"/>
                <a:gd name="connsiteX60" fmla="*/ 599939 w 695325"/>
                <a:gd name="connsiteY60" fmla="*/ 588412 h 695325"/>
                <a:gd name="connsiteX61" fmla="*/ 599939 w 695325"/>
                <a:gd name="connsiteY61" fmla="*/ 601842 h 695325"/>
                <a:gd name="connsiteX62" fmla="*/ 613409 w 695325"/>
                <a:gd name="connsiteY62" fmla="*/ 601898 h 695325"/>
                <a:gd name="connsiteX63" fmla="*/ 613464 w 695325"/>
                <a:gd name="connsiteY63" fmla="*/ 601842 h 695325"/>
                <a:gd name="connsiteX64" fmla="*/ 636896 w 695325"/>
                <a:gd name="connsiteY64" fmla="*/ 578411 h 695325"/>
                <a:gd name="connsiteX65" fmla="*/ 672234 w 695325"/>
                <a:gd name="connsiteY65" fmla="*/ 613939 h 695325"/>
                <a:gd name="connsiteX66" fmla="*/ 672329 w 695325"/>
                <a:gd name="connsiteY66" fmla="*/ 637085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95325" h="695325">
                  <a:moveTo>
                    <a:pt x="685759" y="600509"/>
                  </a:moveTo>
                  <a:lnTo>
                    <a:pt x="561934" y="475827"/>
                  </a:lnTo>
                  <a:cubicBezTo>
                    <a:pt x="565496" y="467353"/>
                    <a:pt x="563660" y="457571"/>
                    <a:pt x="557267" y="450966"/>
                  </a:cubicBezTo>
                  <a:lnTo>
                    <a:pt x="557267" y="450966"/>
                  </a:lnTo>
                  <a:lnTo>
                    <a:pt x="555362" y="449252"/>
                  </a:lnTo>
                  <a:cubicBezTo>
                    <a:pt x="551201" y="445007"/>
                    <a:pt x="545494" y="442635"/>
                    <a:pt x="539550" y="442680"/>
                  </a:cubicBezTo>
                  <a:lnTo>
                    <a:pt x="539550" y="442680"/>
                  </a:lnTo>
                  <a:cubicBezTo>
                    <a:pt x="533288" y="442677"/>
                    <a:pt x="527285" y="445181"/>
                    <a:pt x="522882" y="449633"/>
                  </a:cubicBezTo>
                  <a:lnTo>
                    <a:pt x="505641" y="467159"/>
                  </a:lnTo>
                  <a:lnTo>
                    <a:pt x="457254" y="418772"/>
                  </a:lnTo>
                  <a:cubicBezTo>
                    <a:pt x="546497" y="308276"/>
                    <a:pt x="529268" y="146356"/>
                    <a:pt x="418772" y="57113"/>
                  </a:cubicBezTo>
                  <a:cubicBezTo>
                    <a:pt x="308276" y="-32130"/>
                    <a:pt x="146355" y="-14900"/>
                    <a:pt x="57113" y="95595"/>
                  </a:cubicBezTo>
                  <a:cubicBezTo>
                    <a:pt x="-32129" y="206091"/>
                    <a:pt x="-14900" y="368011"/>
                    <a:pt x="95596" y="457254"/>
                  </a:cubicBezTo>
                  <a:cubicBezTo>
                    <a:pt x="189157" y="532819"/>
                    <a:pt x="322595" y="533452"/>
                    <a:pt x="416868" y="458777"/>
                  </a:cubicBezTo>
                  <a:lnTo>
                    <a:pt x="465351" y="507259"/>
                  </a:lnTo>
                  <a:lnTo>
                    <a:pt x="448491" y="524880"/>
                  </a:lnTo>
                  <a:cubicBezTo>
                    <a:pt x="439568" y="533868"/>
                    <a:pt x="439568" y="548373"/>
                    <a:pt x="448491" y="557361"/>
                  </a:cubicBezTo>
                  <a:lnTo>
                    <a:pt x="450015" y="558885"/>
                  </a:lnTo>
                  <a:cubicBezTo>
                    <a:pt x="454201" y="563094"/>
                    <a:pt x="459892" y="565459"/>
                    <a:pt x="465827" y="565457"/>
                  </a:cubicBezTo>
                  <a:cubicBezTo>
                    <a:pt x="469104" y="565445"/>
                    <a:pt x="472346" y="564764"/>
                    <a:pt x="475352" y="563457"/>
                  </a:cubicBezTo>
                  <a:lnTo>
                    <a:pt x="599177" y="688044"/>
                  </a:lnTo>
                  <a:cubicBezTo>
                    <a:pt x="605814" y="694698"/>
                    <a:pt x="614829" y="698434"/>
                    <a:pt x="624228" y="698426"/>
                  </a:cubicBezTo>
                  <a:lnTo>
                    <a:pt x="624228" y="698426"/>
                  </a:lnTo>
                  <a:cubicBezTo>
                    <a:pt x="633373" y="698285"/>
                    <a:pt x="642096" y="694557"/>
                    <a:pt x="648516" y="688044"/>
                  </a:cubicBezTo>
                  <a:lnTo>
                    <a:pt x="685950" y="650515"/>
                  </a:lnTo>
                  <a:cubicBezTo>
                    <a:pt x="699666" y="636637"/>
                    <a:pt x="699581" y="614282"/>
                    <a:pt x="685759" y="600509"/>
                  </a:cubicBezTo>
                  <a:close/>
                  <a:moveTo>
                    <a:pt x="18342" y="258752"/>
                  </a:moveTo>
                  <a:cubicBezTo>
                    <a:pt x="18342" y="127239"/>
                    <a:pt x="124955" y="20627"/>
                    <a:pt x="256467" y="20627"/>
                  </a:cubicBezTo>
                  <a:cubicBezTo>
                    <a:pt x="387980" y="20627"/>
                    <a:pt x="494592" y="127239"/>
                    <a:pt x="494592" y="258752"/>
                  </a:cubicBezTo>
                  <a:cubicBezTo>
                    <a:pt x="494592" y="390265"/>
                    <a:pt x="387980" y="496877"/>
                    <a:pt x="256467" y="496877"/>
                  </a:cubicBezTo>
                  <a:cubicBezTo>
                    <a:pt x="124955" y="496877"/>
                    <a:pt x="18342" y="390265"/>
                    <a:pt x="18342" y="258752"/>
                  </a:cubicBezTo>
                  <a:close/>
                  <a:moveTo>
                    <a:pt x="445062" y="433821"/>
                  </a:moveTo>
                  <a:lnTo>
                    <a:pt x="492687" y="480970"/>
                  </a:lnTo>
                  <a:lnTo>
                    <a:pt x="479162" y="494496"/>
                  </a:lnTo>
                  <a:lnTo>
                    <a:pt x="432108" y="446871"/>
                  </a:lnTo>
                  <a:close/>
                  <a:moveTo>
                    <a:pt x="462684" y="545454"/>
                  </a:moveTo>
                  <a:lnTo>
                    <a:pt x="461255" y="543930"/>
                  </a:lnTo>
                  <a:cubicBezTo>
                    <a:pt x="459729" y="542405"/>
                    <a:pt x="459729" y="539933"/>
                    <a:pt x="461253" y="538408"/>
                  </a:cubicBezTo>
                  <a:cubicBezTo>
                    <a:pt x="461254" y="538407"/>
                    <a:pt x="461254" y="538407"/>
                    <a:pt x="461255" y="538406"/>
                  </a:cubicBezTo>
                  <a:lnTo>
                    <a:pt x="536026" y="463349"/>
                  </a:lnTo>
                  <a:cubicBezTo>
                    <a:pt x="536857" y="462507"/>
                    <a:pt x="537986" y="462027"/>
                    <a:pt x="539169" y="462015"/>
                  </a:cubicBezTo>
                  <a:cubicBezTo>
                    <a:pt x="540054" y="462023"/>
                    <a:pt x="540905" y="462363"/>
                    <a:pt x="541551" y="462968"/>
                  </a:cubicBezTo>
                  <a:lnTo>
                    <a:pt x="542979" y="464397"/>
                  </a:lnTo>
                  <a:cubicBezTo>
                    <a:pt x="544467" y="465975"/>
                    <a:pt x="544467" y="468438"/>
                    <a:pt x="542979" y="470016"/>
                  </a:cubicBezTo>
                  <a:lnTo>
                    <a:pt x="468208" y="544978"/>
                  </a:lnTo>
                  <a:cubicBezTo>
                    <a:pt x="465922" y="547359"/>
                    <a:pt x="464303" y="546978"/>
                    <a:pt x="462684" y="545454"/>
                  </a:cubicBezTo>
                  <a:close/>
                  <a:moveTo>
                    <a:pt x="672234" y="637085"/>
                  </a:moveTo>
                  <a:lnTo>
                    <a:pt x="634800" y="674613"/>
                  </a:lnTo>
                  <a:cubicBezTo>
                    <a:pt x="631819" y="677665"/>
                    <a:pt x="627732" y="679383"/>
                    <a:pt x="623466" y="679376"/>
                  </a:cubicBezTo>
                  <a:lnTo>
                    <a:pt x="623466" y="679376"/>
                  </a:lnTo>
                  <a:cubicBezTo>
                    <a:pt x="619121" y="679399"/>
                    <a:pt x="614958" y="677643"/>
                    <a:pt x="611940" y="674518"/>
                  </a:cubicBezTo>
                  <a:lnTo>
                    <a:pt x="529359" y="592127"/>
                  </a:lnTo>
                  <a:lnTo>
                    <a:pt x="566316" y="555170"/>
                  </a:lnTo>
                  <a:cubicBezTo>
                    <a:pt x="570008" y="551455"/>
                    <a:pt x="570008" y="545454"/>
                    <a:pt x="566316" y="541740"/>
                  </a:cubicBezTo>
                  <a:cubicBezTo>
                    <a:pt x="562611" y="538005"/>
                    <a:pt x="556580" y="537980"/>
                    <a:pt x="552845" y="541684"/>
                  </a:cubicBezTo>
                  <a:cubicBezTo>
                    <a:pt x="552827" y="541703"/>
                    <a:pt x="552808" y="541722"/>
                    <a:pt x="552790" y="541740"/>
                  </a:cubicBezTo>
                  <a:lnTo>
                    <a:pt x="515928" y="578601"/>
                  </a:lnTo>
                  <a:lnTo>
                    <a:pt x="488973" y="551169"/>
                  </a:lnTo>
                  <a:lnTo>
                    <a:pt x="549361" y="490590"/>
                  </a:lnTo>
                  <a:lnTo>
                    <a:pt x="623466" y="564885"/>
                  </a:lnTo>
                  <a:lnTo>
                    <a:pt x="599939" y="588412"/>
                  </a:lnTo>
                  <a:cubicBezTo>
                    <a:pt x="596246" y="592127"/>
                    <a:pt x="596246" y="598128"/>
                    <a:pt x="599939" y="601842"/>
                  </a:cubicBezTo>
                  <a:cubicBezTo>
                    <a:pt x="603643" y="605577"/>
                    <a:pt x="609674" y="605602"/>
                    <a:pt x="613409" y="601898"/>
                  </a:cubicBezTo>
                  <a:cubicBezTo>
                    <a:pt x="613427" y="601880"/>
                    <a:pt x="613446" y="601860"/>
                    <a:pt x="613464" y="601842"/>
                  </a:cubicBezTo>
                  <a:lnTo>
                    <a:pt x="636896" y="578411"/>
                  </a:lnTo>
                  <a:lnTo>
                    <a:pt x="672234" y="613939"/>
                  </a:lnTo>
                  <a:cubicBezTo>
                    <a:pt x="678642" y="620309"/>
                    <a:pt x="678685" y="630663"/>
                    <a:pt x="672329" y="637085"/>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96" name="Vrije vorm: vorm 87">
              <a:extLst>
                <a:ext uri="{FF2B5EF4-FFF2-40B4-BE49-F238E27FC236}">
                  <a16:creationId xmlns:a16="http://schemas.microsoft.com/office/drawing/2014/main" id="{644FF159-6B9E-40D4-A43E-88218ABC6C71}"/>
                </a:ext>
              </a:extLst>
            </p:cNvPr>
            <p:cNvSpPr/>
            <p:nvPr/>
          </p:nvSpPr>
          <p:spPr>
            <a:xfrm>
              <a:off x="6595474" y="2450494"/>
              <a:ext cx="171450" cy="57150"/>
            </a:xfrm>
            <a:custGeom>
              <a:avLst/>
              <a:gdLst>
                <a:gd name="connsiteX0" fmla="*/ 165367 w 171450"/>
                <a:gd name="connsiteY0" fmla="*/ 38896 h 57150"/>
                <a:gd name="connsiteX1" fmla="*/ 16872 w 171450"/>
                <a:gd name="connsiteY1" fmla="*/ 3463 h 57150"/>
                <a:gd name="connsiteX2" fmla="*/ 3463 w 171450"/>
                <a:gd name="connsiteY2" fmla="*/ 2178 h 57150"/>
                <a:gd name="connsiteX3" fmla="*/ 2179 w 171450"/>
                <a:gd name="connsiteY3" fmla="*/ 15588 h 57150"/>
                <a:gd name="connsiteX4" fmla="*/ 3156 w 171450"/>
                <a:gd name="connsiteY4" fmla="*/ 16608 h 57150"/>
                <a:gd name="connsiteX5" fmla="*/ 171653 w 171450"/>
                <a:gd name="connsiteY5" fmla="*/ 56899 h 57150"/>
                <a:gd name="connsiteX6" fmla="*/ 177511 w 171450"/>
                <a:gd name="connsiteY6" fmla="*/ 44754 h 57150"/>
                <a:gd name="connsiteX7" fmla="*/ 165367 w 171450"/>
                <a:gd name="connsiteY7" fmla="*/ 3889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450" h="57150">
                  <a:moveTo>
                    <a:pt x="165367" y="38896"/>
                  </a:moveTo>
                  <a:cubicBezTo>
                    <a:pt x="113206" y="57279"/>
                    <a:pt x="55113" y="43417"/>
                    <a:pt x="16872" y="3463"/>
                  </a:cubicBezTo>
                  <a:cubicBezTo>
                    <a:pt x="13524" y="-594"/>
                    <a:pt x="7520" y="-1170"/>
                    <a:pt x="3463" y="2178"/>
                  </a:cubicBezTo>
                  <a:cubicBezTo>
                    <a:pt x="-595" y="5526"/>
                    <a:pt x="-1169" y="11530"/>
                    <a:pt x="2179" y="15588"/>
                  </a:cubicBezTo>
                  <a:cubicBezTo>
                    <a:pt x="2479" y="15952"/>
                    <a:pt x="2805" y="16293"/>
                    <a:pt x="3156" y="16608"/>
                  </a:cubicBezTo>
                  <a:cubicBezTo>
                    <a:pt x="46540" y="61953"/>
                    <a:pt x="112449" y="77714"/>
                    <a:pt x="171653" y="56899"/>
                  </a:cubicBezTo>
                  <a:cubicBezTo>
                    <a:pt x="176624" y="55162"/>
                    <a:pt x="179248" y="49725"/>
                    <a:pt x="177511" y="44754"/>
                  </a:cubicBezTo>
                  <a:cubicBezTo>
                    <a:pt x="175775" y="39783"/>
                    <a:pt x="170338" y="37160"/>
                    <a:pt x="165367" y="38896"/>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97" name="Vrije vorm: vorm 88">
              <a:extLst>
                <a:ext uri="{FF2B5EF4-FFF2-40B4-BE49-F238E27FC236}">
                  <a16:creationId xmlns:a16="http://schemas.microsoft.com/office/drawing/2014/main" id="{BA6EF175-031B-4230-99A4-63925A27BF3A}"/>
                </a:ext>
              </a:extLst>
            </p:cNvPr>
            <p:cNvSpPr/>
            <p:nvPr/>
          </p:nvSpPr>
          <p:spPr>
            <a:xfrm>
              <a:off x="6558217" y="2340591"/>
              <a:ext cx="28575" cy="95250"/>
            </a:xfrm>
            <a:custGeom>
              <a:avLst/>
              <a:gdLst>
                <a:gd name="connsiteX0" fmla="*/ 19362 w 28575"/>
                <a:gd name="connsiteY0" fmla="*/ 9544 h 95250"/>
                <a:gd name="connsiteX1" fmla="*/ 10409 w 28575"/>
                <a:gd name="connsiteY1" fmla="*/ 19 h 95250"/>
                <a:gd name="connsiteX2" fmla="*/ 312 w 28575"/>
                <a:gd name="connsiteY2" fmla="*/ 8877 h 95250"/>
                <a:gd name="connsiteX3" fmla="*/ 17362 w 28575"/>
                <a:gd name="connsiteY3" fmla="*/ 92030 h 95250"/>
                <a:gd name="connsiteX4" fmla="*/ 25935 w 28575"/>
                <a:gd name="connsiteY4" fmla="*/ 97269 h 95250"/>
                <a:gd name="connsiteX5" fmla="*/ 30221 w 28575"/>
                <a:gd name="connsiteY5" fmla="*/ 96317 h 95250"/>
                <a:gd name="connsiteX6" fmla="*/ 34446 w 28575"/>
                <a:gd name="connsiteY6" fmla="*/ 83526 h 95250"/>
                <a:gd name="connsiteX7" fmla="*/ 34412 w 28575"/>
                <a:gd name="connsiteY7" fmla="*/ 83458 h 95250"/>
                <a:gd name="connsiteX8" fmla="*/ 19362 w 28575"/>
                <a:gd name="connsiteY8" fmla="*/ 954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95250">
                  <a:moveTo>
                    <a:pt x="19362" y="9544"/>
                  </a:moveTo>
                  <a:cubicBezTo>
                    <a:pt x="19372" y="4498"/>
                    <a:pt x="15445" y="322"/>
                    <a:pt x="10409" y="19"/>
                  </a:cubicBezTo>
                  <a:cubicBezTo>
                    <a:pt x="5180" y="-308"/>
                    <a:pt x="669" y="3650"/>
                    <a:pt x="312" y="8877"/>
                  </a:cubicBezTo>
                  <a:cubicBezTo>
                    <a:pt x="-1472" y="37616"/>
                    <a:pt x="4412" y="66313"/>
                    <a:pt x="17362" y="92030"/>
                  </a:cubicBezTo>
                  <a:cubicBezTo>
                    <a:pt x="18992" y="95264"/>
                    <a:pt x="22313" y="97294"/>
                    <a:pt x="25935" y="97269"/>
                  </a:cubicBezTo>
                  <a:cubicBezTo>
                    <a:pt x="27418" y="97290"/>
                    <a:pt x="28885" y="96963"/>
                    <a:pt x="30221" y="96317"/>
                  </a:cubicBezTo>
                  <a:cubicBezTo>
                    <a:pt x="34919" y="93952"/>
                    <a:pt x="36812" y="88225"/>
                    <a:pt x="34446" y="83526"/>
                  </a:cubicBezTo>
                  <a:cubicBezTo>
                    <a:pt x="34435" y="83504"/>
                    <a:pt x="34423" y="83481"/>
                    <a:pt x="34412" y="83458"/>
                  </a:cubicBezTo>
                  <a:cubicBezTo>
                    <a:pt x="22865" y="60613"/>
                    <a:pt x="17667" y="35085"/>
                    <a:pt x="19362" y="9544"/>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sp>
          <p:nvSpPr>
            <p:cNvPr id="98" name="Vrije vorm: vorm 89">
              <a:extLst>
                <a:ext uri="{FF2B5EF4-FFF2-40B4-BE49-F238E27FC236}">
                  <a16:creationId xmlns:a16="http://schemas.microsoft.com/office/drawing/2014/main" id="{FAAA40F0-01EC-4803-8D84-9A362993AA3E}"/>
                </a:ext>
              </a:extLst>
            </p:cNvPr>
            <p:cNvSpPr/>
            <p:nvPr/>
          </p:nvSpPr>
          <p:spPr>
            <a:xfrm>
              <a:off x="7074349" y="2726889"/>
              <a:ext cx="28575" cy="28575"/>
            </a:xfrm>
            <a:custGeom>
              <a:avLst/>
              <a:gdLst>
                <a:gd name="connsiteX0" fmla="*/ 16248 w 28575"/>
                <a:gd name="connsiteY0" fmla="*/ 2817 h 28575"/>
                <a:gd name="connsiteX1" fmla="*/ 2817 w 28575"/>
                <a:gd name="connsiteY1" fmla="*/ 16248 h 28575"/>
                <a:gd name="connsiteX2" fmla="*/ 2762 w 28575"/>
                <a:gd name="connsiteY2" fmla="*/ 29718 h 28575"/>
                <a:gd name="connsiteX3" fmla="*/ 2817 w 28575"/>
                <a:gd name="connsiteY3" fmla="*/ 29773 h 28575"/>
                <a:gd name="connsiteX4" fmla="*/ 16248 w 28575"/>
                <a:gd name="connsiteY4" fmla="*/ 29773 h 28575"/>
                <a:gd name="connsiteX5" fmla="*/ 29773 w 28575"/>
                <a:gd name="connsiteY5" fmla="*/ 16248 h 28575"/>
                <a:gd name="connsiteX6" fmla="*/ 29773 w 28575"/>
                <a:gd name="connsiteY6" fmla="*/ 2817 h 28575"/>
                <a:gd name="connsiteX7" fmla="*/ 16303 w 28575"/>
                <a:gd name="connsiteY7" fmla="*/ 2762 h 28575"/>
                <a:gd name="connsiteX8" fmla="*/ 16248 w 28575"/>
                <a:gd name="connsiteY8" fmla="*/ 281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75" h="28575">
                  <a:moveTo>
                    <a:pt x="16248" y="2817"/>
                  </a:moveTo>
                  <a:lnTo>
                    <a:pt x="2817" y="16248"/>
                  </a:lnTo>
                  <a:cubicBezTo>
                    <a:pt x="-917" y="19952"/>
                    <a:pt x="-942" y="25983"/>
                    <a:pt x="2762" y="29718"/>
                  </a:cubicBezTo>
                  <a:cubicBezTo>
                    <a:pt x="2780" y="29736"/>
                    <a:pt x="2799" y="29755"/>
                    <a:pt x="2817" y="29773"/>
                  </a:cubicBezTo>
                  <a:cubicBezTo>
                    <a:pt x="6532" y="33466"/>
                    <a:pt x="12533" y="33466"/>
                    <a:pt x="16248" y="29773"/>
                  </a:cubicBezTo>
                  <a:lnTo>
                    <a:pt x="29773" y="16248"/>
                  </a:lnTo>
                  <a:cubicBezTo>
                    <a:pt x="33466" y="12533"/>
                    <a:pt x="33466" y="6532"/>
                    <a:pt x="29773" y="2817"/>
                  </a:cubicBezTo>
                  <a:cubicBezTo>
                    <a:pt x="26069" y="-917"/>
                    <a:pt x="20038" y="-942"/>
                    <a:pt x="16303" y="2762"/>
                  </a:cubicBezTo>
                  <a:cubicBezTo>
                    <a:pt x="16285" y="2780"/>
                    <a:pt x="16266" y="2799"/>
                    <a:pt x="16248" y="2817"/>
                  </a:cubicBezTo>
                  <a:close/>
                </a:path>
              </a:pathLst>
            </a:custGeom>
            <a:grpFill/>
            <a:ln w="9525" cap="flat">
              <a:noFill/>
              <a:prstDash val="solid"/>
              <a:miter/>
            </a:ln>
          </p:spPr>
          <p:txBody>
            <a:bodyPr rtlCol="0" anchor="ct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nl-NL" sz="1797"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455553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F8F55DF-81F7-8338-0A8A-343844832E6B}"/>
              </a:ext>
            </a:extLst>
          </p:cNvPr>
          <p:cNvSpPr/>
          <p:nvPr/>
        </p:nvSpPr>
        <p:spPr>
          <a:xfrm>
            <a:off x="8211312" y="411480"/>
            <a:ext cx="3566160" cy="929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ea typeface="+mn-ea"/>
              <a:cs typeface="+mn-cs"/>
            </a:endParaRPr>
          </a:p>
        </p:txBody>
      </p:sp>
      <p:pic>
        <p:nvPicPr>
          <p:cNvPr id="8" name="Tijdelijke aanduiding voor afbeelding 7" descr="Ready for export.ai"/>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4830" t="-39071" r="-9535" b="-2274"/>
          <a:stretch/>
        </p:blipFill>
        <p:spPr>
          <a:xfrm>
            <a:off x="8426968" y="2721166"/>
            <a:ext cx="2987266" cy="3692300"/>
          </a:xfrm>
        </p:spPr>
      </p:pic>
      <p:sp>
        <p:nvSpPr>
          <p:cNvPr id="5" name="Tijdelijke aanduiding voor verticale tekst 4">
            <a:extLst>
              <a:ext uri="{FF2B5EF4-FFF2-40B4-BE49-F238E27FC236}">
                <a16:creationId xmlns:a16="http://schemas.microsoft.com/office/drawing/2014/main" id="{7C38D5C8-CD23-49B2-85C3-64A9F90E8729}"/>
              </a:ext>
            </a:extLst>
          </p:cNvPr>
          <p:cNvSpPr>
            <a:spLocks noGrp="1"/>
          </p:cNvSpPr>
          <p:nvPr>
            <p:ph type="body" orient="vert" idx="1"/>
          </p:nvPr>
        </p:nvSpPr>
        <p:spPr>
          <a:xfrm>
            <a:off x="515941" y="1420266"/>
            <a:ext cx="7614507" cy="4993200"/>
          </a:xfrm>
        </p:spPr>
        <p:txBody>
          <a:bodyPr vert="horz" lIns="0" tIns="0" rIns="0" bIns="0" rtlCol="0" anchor="t">
            <a:noAutofit/>
          </a:bodyPr>
          <a:lstStyle/>
          <a:p>
            <a:pPr marL="0" indent="0">
              <a:lnSpc>
                <a:spcPct val="100000"/>
              </a:lnSpc>
              <a:buClr>
                <a:srgbClr val="002857"/>
              </a:buClr>
              <a:buNone/>
            </a:pPr>
            <a:r>
              <a:rPr lang="nl-NL" sz="1400" b="1" dirty="0">
                <a:solidFill>
                  <a:srgbClr val="002857"/>
                </a:solidFill>
              </a:rPr>
              <a:t>Steeds vaker zorg digitaal of hybride</a:t>
            </a:r>
            <a:br>
              <a:rPr lang="nl-NL" sz="1400" b="1" dirty="0"/>
            </a:br>
            <a:r>
              <a:rPr lang="nl-NL" sz="1200" dirty="0">
                <a:solidFill>
                  <a:srgbClr val="002857"/>
                </a:solidFill>
              </a:rPr>
              <a:t>Gezondheid is een groot goed. Maar de druk op de zorg is groter dan ooit. Hoe houden we goede zorg toegankelijk en betaalbaar voor iedereen? Nu en in de toekomst? Digitale zorg speelt hierin volgens Zilveren Kruis een belangrijke rol. Daarom zetten wij volop in op de opschaling van digitale zorg.</a:t>
            </a:r>
            <a:endParaRPr lang="nl-NL" sz="1400" b="1" dirty="0">
              <a:solidFill>
                <a:srgbClr val="002857"/>
              </a:solidFill>
            </a:endParaRPr>
          </a:p>
          <a:p>
            <a:pPr marL="0" indent="0">
              <a:lnSpc>
                <a:spcPct val="100000"/>
              </a:lnSpc>
              <a:buClr>
                <a:srgbClr val="002857"/>
              </a:buClr>
              <a:buNone/>
            </a:pPr>
            <a:r>
              <a:rPr lang="nl-NL" sz="1400" b="1" dirty="0">
                <a:solidFill>
                  <a:srgbClr val="002857"/>
                </a:solidFill>
              </a:rPr>
              <a:t>Nieuwe zorgvormen vervangen bestaande: digitaal waar het kan, fysiek waar het moet</a:t>
            </a:r>
            <a:br>
              <a:rPr lang="nl-NL" sz="1400" b="1" dirty="0"/>
            </a:br>
            <a:r>
              <a:rPr lang="nl-NL" sz="1200" dirty="0">
                <a:solidFill>
                  <a:srgbClr val="002857"/>
                </a:solidFill>
              </a:rPr>
              <a:t>‘De Juiste Zorg op de Juiste Plek’ betekent: digitaal waar het kan, gecombineerd met fysiek waar het moet (hybride zorg). Zorgpaden worden hier op aangepast.</a:t>
            </a:r>
            <a:r>
              <a:rPr lang="nl-NL" sz="1400" dirty="0">
                <a:ea typeface="+mn-lt"/>
                <a:cs typeface="+mn-lt"/>
              </a:rPr>
              <a:t> </a:t>
            </a:r>
            <a:r>
              <a:rPr lang="nl-NL" sz="1200" dirty="0"/>
              <a:t>Opschalen van deze nieuwe vorm van zorg betekent dat deze bestaande zorg vervangt en er dus niet bovenop komt.</a:t>
            </a:r>
            <a:endParaRPr lang="nl-NL" sz="1400" b="1" dirty="0">
              <a:solidFill>
                <a:srgbClr val="002857"/>
              </a:solidFill>
            </a:endParaRPr>
          </a:p>
          <a:p>
            <a:pPr marL="0" indent="0">
              <a:lnSpc>
                <a:spcPct val="100000"/>
              </a:lnSpc>
              <a:buNone/>
            </a:pPr>
            <a:r>
              <a:rPr lang="nl-NL" sz="1400" b="1" dirty="0">
                <a:solidFill>
                  <a:srgbClr val="002857"/>
                </a:solidFill>
              </a:rPr>
              <a:t>Keuzerecht voor de patiënt is een belangrijk vertrekpunt bij digitale zorg</a:t>
            </a:r>
            <a:br>
              <a:rPr lang="nl-NL" sz="1400" b="1" dirty="0"/>
            </a:br>
            <a:r>
              <a:rPr lang="nl-NL" sz="1200" dirty="0"/>
              <a:t>De keuze voor digitale zorg wordt gemaakt in overleg met de patiënt en zijn/haar naasten. De vraag naar digitale zorg neemt toe. Zilveren Kruis promoot digitale zorg actief en zet zich in voor de beschikbaarheid van digitale zorg voor haar verzekerden.</a:t>
            </a:r>
            <a:endParaRPr lang="nl-NL" dirty="0"/>
          </a:p>
          <a:p>
            <a:pPr marL="0" indent="0">
              <a:lnSpc>
                <a:spcPct val="100000"/>
              </a:lnSpc>
              <a:buClr>
                <a:srgbClr val="002857"/>
              </a:buClr>
              <a:buNone/>
            </a:pPr>
            <a:r>
              <a:rPr lang="nl-NL" sz="1400" b="1" dirty="0">
                <a:solidFill>
                  <a:srgbClr val="002857"/>
                </a:solidFill>
              </a:rPr>
              <a:t>Goed benaderbare landelijke zorginfrastructuur is belangrijk </a:t>
            </a:r>
            <a:br>
              <a:rPr lang="nl-NL" sz="1400" b="1" dirty="0">
                <a:solidFill>
                  <a:srgbClr val="002857"/>
                </a:solidFill>
              </a:rPr>
            </a:br>
            <a:r>
              <a:rPr lang="nl-NL" sz="1200" dirty="0"/>
              <a:t>In een goed benaderbare en privacy-veilige landelijke zorginfrastructuur kunnen patiëntgegevens veilig worden ingezien en uitgewisseld. Om dit te realiseren wil Zilveren Kruis tot afspraken komen waarin noodzakelijke randvoorwaarden geborgd zijn.</a:t>
            </a:r>
            <a:endParaRPr lang="nl-NL" sz="1200" dirty="0">
              <a:cs typeface="Arial"/>
            </a:endParaRPr>
          </a:p>
          <a:p>
            <a:pPr marL="0" indent="0">
              <a:lnSpc>
                <a:spcPct val="100000"/>
              </a:lnSpc>
              <a:buNone/>
            </a:pPr>
            <a:r>
              <a:rPr lang="nl-NL" sz="1400" b="1" dirty="0">
                <a:solidFill>
                  <a:srgbClr val="002857"/>
                </a:solidFill>
              </a:rPr>
              <a:t>Medische service centra krijgen op termijn een belangrijke rol</a:t>
            </a:r>
            <a:br>
              <a:rPr lang="nl-NL" sz="1400" b="1" dirty="0"/>
            </a:br>
            <a:r>
              <a:rPr lang="nl-NL" sz="1200" dirty="0">
                <a:ea typeface="+mn-lt"/>
                <a:cs typeface="+mn-lt"/>
              </a:rPr>
              <a:t>Een Medisch Service Centrum (MSC) bieden, door middel van digitale ondersteuning, patiënten de mogelijkheid om zorg buiten de muren van de zorgaanbieder te ontvangen. </a:t>
            </a:r>
            <a:r>
              <a:rPr lang="nl-NL" sz="1200" dirty="0" err="1">
                <a:ea typeface="+mn-lt"/>
                <a:cs typeface="+mn-lt"/>
              </a:rPr>
              <a:t>MSC’s</a:t>
            </a:r>
            <a:r>
              <a:rPr lang="nl-NL" sz="1200" dirty="0">
                <a:ea typeface="+mn-lt"/>
                <a:cs typeface="+mn-lt"/>
              </a:rPr>
              <a:t> nemen basis zorgtaken over en ontlasten daarmee de zorg. </a:t>
            </a:r>
            <a:r>
              <a:rPr lang="nl-NL" sz="1200" dirty="0" err="1">
                <a:ea typeface="+mn-lt"/>
                <a:cs typeface="+mn-lt"/>
              </a:rPr>
              <a:t>MSC’s</a:t>
            </a:r>
            <a:r>
              <a:rPr lang="nl-NL" sz="1200" dirty="0">
                <a:ea typeface="+mn-lt"/>
                <a:cs typeface="+mn-lt"/>
              </a:rPr>
              <a:t> krijgen een belangrijke rol in het opschalen van de inzet van digitale zorg.</a:t>
            </a:r>
          </a:p>
          <a:p>
            <a:pPr marL="0" indent="0">
              <a:lnSpc>
                <a:spcPct val="100000"/>
              </a:lnSpc>
              <a:buClr>
                <a:srgbClr val="002857"/>
              </a:buClr>
              <a:buNone/>
            </a:pPr>
            <a:endParaRPr lang="nl-NL" sz="1200" dirty="0"/>
          </a:p>
          <a:p>
            <a:pPr marL="0" indent="0">
              <a:lnSpc>
                <a:spcPct val="100000"/>
              </a:lnSpc>
              <a:buClr>
                <a:srgbClr val="002857"/>
              </a:buClr>
              <a:buNone/>
            </a:pPr>
            <a:endParaRPr lang="nl-NL" sz="1200" dirty="0"/>
          </a:p>
          <a:p>
            <a:pPr marL="0" lvl="0" indent="0">
              <a:lnSpc>
                <a:spcPct val="100000"/>
              </a:lnSpc>
              <a:buClr>
                <a:srgbClr val="002857"/>
              </a:buClr>
              <a:buNone/>
            </a:pPr>
            <a:endParaRPr lang="nl-NL" sz="1400" dirty="0">
              <a:solidFill>
                <a:srgbClr val="002857"/>
              </a:solidFill>
            </a:endParaRPr>
          </a:p>
        </p:txBody>
      </p:sp>
      <p:sp>
        <p:nvSpPr>
          <p:cNvPr id="2" name="Titel 1">
            <a:extLst>
              <a:ext uri="{FF2B5EF4-FFF2-40B4-BE49-F238E27FC236}">
                <a16:creationId xmlns:a16="http://schemas.microsoft.com/office/drawing/2014/main" id="{7B34451E-5F53-47AC-B9EF-72C6BE214953}"/>
              </a:ext>
            </a:extLst>
          </p:cNvPr>
          <p:cNvSpPr>
            <a:spLocks noGrp="1"/>
          </p:cNvSpPr>
          <p:nvPr>
            <p:ph type="title"/>
          </p:nvPr>
        </p:nvSpPr>
        <p:spPr>
          <a:xfrm>
            <a:off x="515941" y="517525"/>
            <a:ext cx="11154506" cy="488950"/>
          </a:xfrm>
        </p:spPr>
        <p:txBody>
          <a:bodyPr/>
          <a:lstStyle/>
          <a:p>
            <a:r>
              <a:rPr lang="nl-NL" dirty="0"/>
              <a:t>Digitale zorg vormt een belangrijke rol in innovatie</a:t>
            </a:r>
          </a:p>
        </p:txBody>
      </p:sp>
    </p:spTree>
    <p:extLst>
      <p:ext uri="{BB962C8B-B14F-4D97-AF65-F5344CB8AC3E}">
        <p14:creationId xmlns:p14="http://schemas.microsoft.com/office/powerpoint/2010/main" val="352461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9B2BB2-88F1-BC7E-5E0E-8733E708E09D}"/>
              </a:ext>
            </a:extLst>
          </p:cNvPr>
          <p:cNvSpPr>
            <a:spLocks noGrp="1"/>
          </p:cNvSpPr>
          <p:nvPr>
            <p:ph type="title"/>
          </p:nvPr>
        </p:nvSpPr>
        <p:spPr/>
        <p:txBody>
          <a:bodyPr/>
          <a:lstStyle/>
          <a:p>
            <a:r>
              <a:rPr lang="nl-NL" dirty="0"/>
              <a:t>Hoe maken we innovatie concreet en toekomstbestendig?</a:t>
            </a:r>
          </a:p>
        </p:txBody>
      </p:sp>
      <p:sp>
        <p:nvSpPr>
          <p:cNvPr id="4" name="Tijdelijke aanduiding voor dianummer 3">
            <a:extLst>
              <a:ext uri="{FF2B5EF4-FFF2-40B4-BE49-F238E27FC236}">
                <a16:creationId xmlns:a16="http://schemas.microsoft.com/office/drawing/2014/main" id="{3194AD5E-0C23-53B6-2BC1-E69028476E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02C9A5-716F-45E6-800B-D4D02CE26F90}" type="slidenum">
              <a:rPr kumimoji="0" lang="nl-NL" sz="900"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9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5" name="Tijdelijke aanduiding voor verticale tekst 4">
            <a:extLst>
              <a:ext uri="{FF2B5EF4-FFF2-40B4-BE49-F238E27FC236}">
                <a16:creationId xmlns:a16="http://schemas.microsoft.com/office/drawing/2014/main" id="{6741825C-018B-B1DA-E3BD-2CC1055F9B7D}"/>
              </a:ext>
            </a:extLst>
          </p:cNvPr>
          <p:cNvSpPr txBox="1">
            <a:spLocks/>
          </p:cNvSpPr>
          <p:nvPr/>
        </p:nvSpPr>
        <p:spPr>
          <a:xfrm>
            <a:off x="515941" y="1420266"/>
            <a:ext cx="11154506" cy="4993200"/>
          </a:xfrm>
          <a:prstGeom prst="rect">
            <a:avLst/>
          </a:prstGeom>
        </p:spPr>
        <p:txBody>
          <a:bodyPr vert="horz" lIns="0" tIns="0" rIns="0" bIns="0" rtlCol="0" anchor="t">
            <a:noAutofit/>
          </a:bodyPr>
          <a:lstStyle>
            <a:lvl1pPr marL="263525" indent="-263525" algn="l" defTabSz="719138" rtl="0" eaLnBrk="1" latinLnBrk="0" hangingPunct="1">
              <a:lnSpc>
                <a:spcPct val="80000"/>
              </a:lnSpc>
              <a:spcBef>
                <a:spcPts val="0"/>
              </a:spcBef>
              <a:spcAft>
                <a:spcPts val="1100"/>
              </a:spcAft>
              <a:buClrTx/>
              <a:buSzPct val="100000"/>
              <a:buFont typeface="Segoe UI Light" panose="020B0502040204020203" pitchFamily="34" charset="0"/>
              <a:buChar char="•"/>
              <a:defRPr sz="1600" kern="1200">
                <a:solidFill>
                  <a:schemeClr val="tx2"/>
                </a:solidFill>
                <a:latin typeface="+mn-lt"/>
                <a:ea typeface="+mn-ea"/>
                <a:cs typeface="+mn-cs"/>
              </a:defRPr>
            </a:lvl1pPr>
            <a:lvl2pPr marL="538163" indent="-274638" algn="l" defTabSz="719138" rtl="0" eaLnBrk="1" latinLnBrk="0" hangingPunct="1">
              <a:lnSpc>
                <a:spcPct val="80000"/>
              </a:lnSpc>
              <a:spcBef>
                <a:spcPts val="0"/>
              </a:spcBef>
              <a:spcAft>
                <a:spcPts val="1100"/>
              </a:spcAft>
              <a:buClr>
                <a:schemeClr val="accent1"/>
              </a:buClr>
              <a:buSzPct val="100000"/>
              <a:buFont typeface="Calibri Light" panose="020F0302020204030204" pitchFamily="34" charset="0"/>
              <a:buChar char="─"/>
              <a:defRPr sz="1600" i="0" kern="1200">
                <a:solidFill>
                  <a:schemeClr val="tx2"/>
                </a:solidFill>
                <a:latin typeface="+mn-lt"/>
                <a:ea typeface="+mn-ea"/>
                <a:cs typeface="+mn-cs"/>
              </a:defRPr>
            </a:lvl2pPr>
            <a:lvl3pPr marL="0" indent="0" algn="l" defTabSz="719138" rtl="0" eaLnBrk="1" latinLnBrk="0" hangingPunct="1">
              <a:lnSpc>
                <a:spcPct val="80000"/>
              </a:lnSpc>
              <a:spcBef>
                <a:spcPts val="0"/>
              </a:spcBef>
              <a:spcAft>
                <a:spcPts val="1100"/>
              </a:spcAft>
              <a:buClr>
                <a:srgbClr val="0070C0"/>
              </a:buClr>
              <a:buSzPct val="85000"/>
              <a:buFont typeface="Arial" panose="020B0604020202020204" pitchFamily="34" charset="0"/>
              <a:buNone/>
              <a:defRPr sz="1600" i="0" kern="1200">
                <a:solidFill>
                  <a:schemeClr val="tx2"/>
                </a:solidFill>
                <a:latin typeface="+mn-lt"/>
                <a:ea typeface="+mn-ea"/>
                <a:cs typeface="+mn-cs"/>
              </a:defRPr>
            </a:lvl3pPr>
            <a:lvl4pPr marL="0" indent="0" algn="l" defTabSz="719138" rtl="0" eaLnBrk="1" latinLnBrk="0" hangingPunct="1">
              <a:lnSpc>
                <a:spcPct val="80000"/>
              </a:lnSpc>
              <a:spcBef>
                <a:spcPts val="0"/>
              </a:spcBef>
              <a:spcAft>
                <a:spcPts val="1100"/>
              </a:spcAft>
              <a:buFont typeface="Arial" panose="020B0604020202020204" pitchFamily="34" charset="0"/>
              <a:buNone/>
              <a:defRPr sz="2000" b="1" kern="1200" cap="none" spc="30" baseline="0">
                <a:solidFill>
                  <a:schemeClr val="accent1"/>
                </a:solidFill>
                <a:latin typeface="+mj-lt"/>
                <a:ea typeface="+mn-ea"/>
                <a:cs typeface="Calibri" panose="020F0502020204030204" pitchFamily="34" charset="0"/>
              </a:defRPr>
            </a:lvl4pPr>
            <a:lvl5pPr marL="263525" indent="-263525" algn="l" defTabSz="719138" rtl="0" eaLnBrk="1" latinLnBrk="0" hangingPunct="1">
              <a:lnSpc>
                <a:spcPct val="80000"/>
              </a:lnSpc>
              <a:spcBef>
                <a:spcPts val="0"/>
              </a:spcBef>
              <a:spcAft>
                <a:spcPts val="1100"/>
              </a:spcAft>
              <a:buClr>
                <a:schemeClr val="tx2"/>
              </a:buClr>
              <a:buFont typeface="+mj-lt"/>
              <a:buAutoNum type="arabicPeriod"/>
              <a:defRPr sz="1600" i="0" kern="1200">
                <a:solidFill>
                  <a:schemeClr val="tx2"/>
                </a:solidFill>
                <a:latin typeface="+mn-lt"/>
                <a:ea typeface="+mn-ea"/>
                <a:cs typeface="+mn-cs"/>
              </a:defRPr>
            </a:lvl5pPr>
            <a:lvl6pPr marL="538163" indent="-274638" algn="l" defTabSz="914400" rtl="0" eaLnBrk="1" latinLnBrk="0" hangingPunct="1">
              <a:lnSpc>
                <a:spcPct val="80000"/>
              </a:lnSpc>
              <a:spcBef>
                <a:spcPts val="0"/>
              </a:spcBef>
              <a:spcAft>
                <a:spcPts val="1100"/>
              </a:spcAft>
              <a:buClr>
                <a:schemeClr val="accent1"/>
              </a:buClr>
              <a:buFont typeface="+mj-lt"/>
              <a:buAutoNum type="alphaLcPeriod"/>
              <a:defRPr sz="1600" b="0" i="0" kern="1200">
                <a:solidFill>
                  <a:schemeClr val="tx2"/>
                </a:solidFill>
                <a:latin typeface="+mn-lt"/>
                <a:ea typeface="+mn-ea"/>
                <a:cs typeface="+mn-cs"/>
              </a:defRPr>
            </a:lvl6pPr>
            <a:lvl7pPr marL="538163" indent="-274638" algn="l" defTabSz="914400" rtl="0" eaLnBrk="1" latinLnBrk="0" hangingPunct="1">
              <a:lnSpc>
                <a:spcPct val="80000"/>
              </a:lnSpc>
              <a:spcBef>
                <a:spcPts val="0"/>
              </a:spcBef>
              <a:spcAft>
                <a:spcPts val="1100"/>
              </a:spcAft>
              <a:buClr>
                <a:schemeClr val="accent1"/>
              </a:buClr>
              <a:buFont typeface="Arial" panose="020B0604020202020204" pitchFamily="34" charset="0"/>
              <a:buChar char="•"/>
              <a:defRPr sz="1600" b="0" i="0" kern="1200">
                <a:solidFill>
                  <a:schemeClr val="tx2"/>
                </a:solidFill>
                <a:latin typeface="+mn-lt"/>
                <a:ea typeface="+mn-ea"/>
                <a:cs typeface="+mn-cs"/>
              </a:defRPr>
            </a:lvl7pPr>
            <a:lvl8pPr marL="0" indent="0" algn="l" defTabSz="914400" rtl="0" eaLnBrk="1" latinLnBrk="0" hangingPunct="1">
              <a:lnSpc>
                <a:spcPct val="80000"/>
              </a:lnSpc>
              <a:spcBef>
                <a:spcPts val="0"/>
              </a:spcBef>
              <a:spcAft>
                <a:spcPts val="1100"/>
              </a:spcAft>
              <a:buFontTx/>
              <a:buNone/>
              <a:defRPr sz="1600" i="0" kern="1200">
                <a:solidFill>
                  <a:schemeClr val="tx2"/>
                </a:solidFill>
                <a:latin typeface="+mn-lt"/>
                <a:ea typeface="+mn-ea"/>
                <a:cs typeface="+mn-cs"/>
              </a:defRPr>
            </a:lvl8pPr>
            <a:lvl9pPr marL="0" indent="0" algn="l" defTabSz="914400" rtl="0" eaLnBrk="1" latinLnBrk="0" hangingPunct="1">
              <a:lnSpc>
                <a:spcPct val="80000"/>
              </a:lnSpc>
              <a:spcBef>
                <a:spcPts val="0"/>
              </a:spcBef>
              <a:spcAft>
                <a:spcPts val="1100"/>
              </a:spcAft>
              <a:buFontTx/>
              <a:buNone/>
              <a:defRPr sz="2400" b="1" kern="1200">
                <a:solidFill>
                  <a:schemeClr val="accent1"/>
                </a:solidFill>
                <a:latin typeface="+mj-lt"/>
                <a:ea typeface="+mn-ea"/>
                <a:cs typeface="+mn-cs"/>
              </a:defRPr>
            </a:lvl9pPr>
          </a:lstStyle>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endParaRPr kumimoji="0" lang="nl-NL" sz="1400" b="0" i="0" u="none" strike="noStrike" kern="1200" cap="none" spc="0" normalizeH="0" baseline="0" noProof="0">
              <a:ln>
                <a:noFill/>
              </a:ln>
              <a:solidFill>
                <a:srgbClr val="002857"/>
              </a:solidFill>
              <a:effectLst/>
              <a:uLnTx/>
              <a:uFillTx/>
              <a:latin typeface="Arial"/>
              <a:ea typeface="+mn-ea"/>
              <a:cs typeface="+mn-cs"/>
            </a:endParaRPr>
          </a:p>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r>
              <a:rPr kumimoji="0" lang="nl-NL" sz="1400" b="0" i="0" u="none" strike="noStrike" kern="1200" cap="none" spc="0" normalizeH="0" baseline="0" noProof="0">
                <a:ln>
                  <a:noFill/>
                </a:ln>
                <a:solidFill>
                  <a:srgbClr val="002857"/>
                </a:solidFill>
                <a:effectLst/>
                <a:uLnTx/>
                <a:uFillTx/>
                <a:latin typeface="Arial"/>
                <a:ea typeface="+mn-ea"/>
                <a:cs typeface="+mn-cs"/>
              </a:rPr>
              <a:t>Ons </a:t>
            </a:r>
            <a:r>
              <a:rPr kumimoji="0" lang="nl-NL" sz="1400" b="0" i="0" u="none" strike="noStrike" kern="1200" cap="none" spc="0" normalizeH="0" baseline="0" noProof="0" dirty="0">
                <a:ln>
                  <a:noFill/>
                </a:ln>
                <a:solidFill>
                  <a:srgbClr val="002857"/>
                </a:solidFill>
                <a:effectLst/>
                <a:uLnTx/>
                <a:uFillTx/>
                <a:latin typeface="Arial"/>
                <a:ea typeface="+mn-ea"/>
                <a:cs typeface="+mn-cs"/>
              </a:rPr>
              <a:t>doel is gezondheid dichterbij voor onze verzekerden en daartoe willen we: </a:t>
            </a:r>
          </a:p>
          <a:p>
            <a:pPr marL="263525" marR="0" lvl="0" indent="-263525" algn="l" defTabSz="719138" rtl="0" eaLnBrk="1" fontAlgn="base" latinLnBrk="0" hangingPunct="1">
              <a:lnSpc>
                <a:spcPct val="80000"/>
              </a:lnSpc>
              <a:spcBef>
                <a:spcPts val="0"/>
              </a:spcBef>
              <a:spcAft>
                <a:spcPts val="1100"/>
              </a:spcAft>
              <a:buClrTx/>
              <a:buSzPct val="100000"/>
              <a:buFont typeface="Wingdings" panose="05000000000000000000" pitchFamily="2" charset="2"/>
              <a:buChar char="§"/>
              <a:tabLst/>
              <a:defRPr/>
            </a:pPr>
            <a:r>
              <a:rPr kumimoji="0" lang="nl-NL" sz="1400" b="0" i="0" u="none" strike="noStrike" kern="1200" cap="none" spc="0" normalizeH="0" baseline="0" noProof="0" dirty="0">
                <a:ln>
                  <a:noFill/>
                </a:ln>
                <a:solidFill>
                  <a:srgbClr val="002857"/>
                </a:solidFill>
                <a:effectLst/>
                <a:uLnTx/>
                <a:uFillTx/>
                <a:latin typeface="Arial"/>
                <a:ea typeface="+mn-ea"/>
                <a:cs typeface="+mn-cs"/>
              </a:rPr>
              <a:t>vormen van </a:t>
            </a:r>
            <a:r>
              <a:rPr kumimoji="0" lang="nl-NL" sz="1400" b="1" i="0" u="none" strike="noStrike" kern="1200" cap="none" spc="0" normalizeH="0" baseline="0" noProof="0" dirty="0">
                <a:ln>
                  <a:noFill/>
                </a:ln>
                <a:solidFill>
                  <a:srgbClr val="002857"/>
                </a:solidFill>
                <a:effectLst/>
                <a:uLnTx/>
                <a:uFillTx/>
                <a:latin typeface="Arial"/>
                <a:ea typeface="+mn-ea"/>
                <a:cs typeface="+mn-cs"/>
              </a:rPr>
              <a:t>zorg vervangen </a:t>
            </a:r>
            <a:r>
              <a:rPr kumimoji="0" lang="nl-NL" sz="1400" b="0" i="0" u="none" strike="noStrike" kern="1200" cap="none" spc="0" normalizeH="0" baseline="0" noProof="0" dirty="0">
                <a:ln>
                  <a:noFill/>
                </a:ln>
                <a:solidFill>
                  <a:srgbClr val="002857"/>
                </a:solidFill>
                <a:effectLst/>
                <a:uLnTx/>
                <a:uFillTx/>
                <a:latin typeface="Arial"/>
                <a:ea typeface="+mn-ea"/>
                <a:cs typeface="+mn-cs"/>
              </a:rPr>
              <a:t>(bijvoorbeeld door eHealth);  </a:t>
            </a:r>
          </a:p>
          <a:p>
            <a:pPr marL="263525" marR="0" lvl="0" indent="-263525" algn="l" defTabSz="719138" rtl="0" eaLnBrk="1" fontAlgn="base" latinLnBrk="0" hangingPunct="1">
              <a:lnSpc>
                <a:spcPct val="80000"/>
              </a:lnSpc>
              <a:spcBef>
                <a:spcPts val="0"/>
              </a:spcBef>
              <a:spcAft>
                <a:spcPts val="1100"/>
              </a:spcAft>
              <a:buClrTx/>
              <a:buSzPct val="100000"/>
              <a:buFont typeface="Wingdings" panose="05000000000000000000" pitchFamily="2" charset="2"/>
              <a:buChar char="§"/>
              <a:tabLst/>
              <a:defRPr/>
            </a:pPr>
            <a:r>
              <a:rPr kumimoji="0" lang="nl-NL" sz="1400" b="1" i="0" u="none" strike="noStrike" kern="1200" cap="none" spc="0" normalizeH="0" baseline="0" noProof="0" dirty="0">
                <a:ln>
                  <a:noFill/>
                </a:ln>
                <a:solidFill>
                  <a:srgbClr val="002857"/>
                </a:solidFill>
                <a:effectLst/>
                <a:uLnTx/>
                <a:uFillTx/>
                <a:latin typeface="Arial"/>
                <a:ea typeface="+mn-ea"/>
                <a:cs typeface="+mn-cs"/>
              </a:rPr>
              <a:t>dat de zorg verplaatst wordt </a:t>
            </a:r>
            <a:r>
              <a:rPr kumimoji="0" lang="nl-NL" sz="1400" b="0" i="0" u="none" strike="noStrike" kern="1200" cap="none" spc="0" normalizeH="0" baseline="0" noProof="0" dirty="0">
                <a:ln>
                  <a:noFill/>
                </a:ln>
                <a:solidFill>
                  <a:srgbClr val="002857"/>
                </a:solidFill>
                <a:effectLst/>
                <a:uLnTx/>
                <a:uFillTx/>
                <a:latin typeface="Arial"/>
                <a:ea typeface="+mn-ea"/>
                <a:cs typeface="+mn-cs"/>
              </a:rPr>
              <a:t>(bijvoorbeeld door chemotherapie van het ziekenhuis te verplaatsen naar thuis of in de wijk uitgevoerd door de wijkverpleging, onder regie van de behandelaar in het ziekenhuis) of; </a:t>
            </a:r>
          </a:p>
          <a:p>
            <a:pPr marL="263525" marR="0" lvl="0" indent="-263525" algn="l" defTabSz="719138" rtl="0" eaLnBrk="1" fontAlgn="base" latinLnBrk="0" hangingPunct="1">
              <a:lnSpc>
                <a:spcPct val="80000"/>
              </a:lnSpc>
              <a:spcBef>
                <a:spcPts val="0"/>
              </a:spcBef>
              <a:spcAft>
                <a:spcPts val="1100"/>
              </a:spcAft>
              <a:buClrTx/>
              <a:buSzPct val="100000"/>
              <a:buFont typeface="Wingdings" panose="05000000000000000000" pitchFamily="2" charset="2"/>
              <a:buChar char="§"/>
              <a:tabLst/>
              <a:defRPr/>
            </a:pPr>
            <a:r>
              <a:rPr kumimoji="0" lang="nl-NL" sz="1400" b="1" i="0" u="none" strike="noStrike" kern="1200" cap="none" spc="0" normalizeH="0" baseline="0" noProof="0" dirty="0">
                <a:ln>
                  <a:noFill/>
                </a:ln>
                <a:solidFill>
                  <a:srgbClr val="002857"/>
                </a:solidFill>
                <a:effectLst/>
                <a:uLnTx/>
                <a:uFillTx/>
                <a:latin typeface="Arial"/>
                <a:ea typeface="+mn-ea"/>
                <a:cs typeface="+mn-cs"/>
              </a:rPr>
              <a:t>dat zorg voorkomen wordt door preventie en voorkomen van onnodige en/of ondoelmatige zorg</a:t>
            </a:r>
            <a:r>
              <a:rPr kumimoji="0" lang="nl-NL" sz="1400" b="0" i="0" u="none" strike="noStrike" kern="1200" cap="none" spc="0" normalizeH="0" baseline="0" noProof="0" dirty="0">
                <a:ln>
                  <a:noFill/>
                </a:ln>
                <a:solidFill>
                  <a:srgbClr val="002857"/>
                </a:solidFill>
                <a:effectLst/>
                <a:uLnTx/>
                <a:uFillTx/>
                <a:latin typeface="Arial"/>
                <a:ea typeface="+mn-ea"/>
                <a:cs typeface="+mn-cs"/>
              </a:rPr>
              <a:t>. Denk dan aan meer aandacht voor leefstijl en screening zodat hartklachten verminderen en behandeling in de tweede lijn wordt voorkomen.</a:t>
            </a:r>
          </a:p>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endParaRPr kumimoji="0" lang="nl-NL" sz="1200" b="0" i="0" u="none" strike="noStrike" kern="1200" cap="none" spc="0" normalizeH="0" baseline="0" noProof="0" dirty="0">
              <a:ln>
                <a:noFill/>
              </a:ln>
              <a:solidFill>
                <a:srgbClr val="002857"/>
              </a:solidFill>
              <a:effectLst/>
              <a:uLnTx/>
              <a:uFillTx/>
              <a:latin typeface="Arial"/>
              <a:ea typeface="+mn-ea"/>
              <a:cs typeface="+mn-cs"/>
            </a:endParaRPr>
          </a:p>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Hoe maken we dat concreet</a:t>
            </a:r>
            <a:r>
              <a:rPr kumimoji="0" lang="nl-NL" sz="1400" b="0" i="0" u="none" strike="noStrike" kern="1200" cap="none" spc="0" normalizeH="0" baseline="0" noProof="0" dirty="0">
                <a:ln>
                  <a:noFill/>
                </a:ln>
                <a:solidFill>
                  <a:srgbClr val="002857"/>
                </a:solidFill>
                <a:effectLst/>
                <a:uLnTx/>
                <a:uFillTx/>
                <a:latin typeface="Arial"/>
                <a:ea typeface="+mn-ea"/>
                <a:cs typeface="+mn-cs"/>
              </a:rPr>
              <a:t>?</a:t>
            </a:r>
          </a:p>
          <a:p>
            <a:pPr marL="342900" marR="0" lvl="0" indent="-342900" algn="l" defTabSz="719138" rtl="0" eaLnBrk="1" fontAlgn="base" latinLnBrk="0" hangingPunct="1">
              <a:lnSpc>
                <a:spcPct val="80000"/>
              </a:lnSpc>
              <a:spcBef>
                <a:spcPts val="0"/>
              </a:spcBef>
              <a:spcAft>
                <a:spcPts val="1100"/>
              </a:spcAft>
              <a:buClrTx/>
              <a:buSzPct val="100000"/>
              <a:buFont typeface="+mj-lt"/>
              <a:buAutoNum type="arabicPeriod"/>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Bepalen van </a:t>
            </a:r>
            <a:r>
              <a:rPr kumimoji="0" lang="nl-NL" sz="1200" b="1" i="0" u="none" strike="noStrike" kern="1200" cap="none" spc="0" normalizeH="0" baseline="0" noProof="0" dirty="0">
                <a:ln>
                  <a:noFill/>
                </a:ln>
                <a:solidFill>
                  <a:srgbClr val="002857"/>
                </a:solidFill>
                <a:effectLst/>
                <a:uLnTx/>
                <a:uFillTx/>
                <a:latin typeface="Arial"/>
                <a:ea typeface="+mn-ea"/>
                <a:cs typeface="+mn-cs"/>
              </a:rPr>
              <a:t>meerjarige uitganspunten </a:t>
            </a:r>
            <a:r>
              <a:rPr kumimoji="0" lang="nl-NL" sz="1200" b="0" i="0" u="none" strike="noStrike" kern="1200" cap="none" spc="0" normalizeH="0" baseline="0" noProof="0" dirty="0">
                <a:ln>
                  <a:noFill/>
                </a:ln>
                <a:solidFill>
                  <a:srgbClr val="002857"/>
                </a:solidFill>
                <a:effectLst/>
                <a:uLnTx/>
                <a:uFillTx/>
                <a:latin typeface="Arial"/>
                <a:ea typeface="+mn-ea"/>
                <a:cs typeface="+mn-cs"/>
              </a:rPr>
              <a:t>van wat we met het contract willen bereiken: welke doelen we met elkaar willen bereiken, wat daarvoor nodig is (projecten) en welk volume dit betreft;</a:t>
            </a:r>
          </a:p>
          <a:p>
            <a:pPr marL="342900" marR="0" lvl="0" indent="-342900" algn="l" defTabSz="719138" rtl="0" eaLnBrk="1" fontAlgn="base" latinLnBrk="0" hangingPunct="1">
              <a:lnSpc>
                <a:spcPct val="80000"/>
              </a:lnSpc>
              <a:spcBef>
                <a:spcPts val="0"/>
              </a:spcBef>
              <a:spcAft>
                <a:spcPts val="1100"/>
              </a:spcAft>
              <a:buClrTx/>
              <a:buSzPct val="100000"/>
              <a:buFont typeface="+mj-lt"/>
              <a:buAutoNum type="arabicPeriod"/>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Verandering van zorgaanbieders vraagt om </a:t>
            </a:r>
            <a:r>
              <a:rPr kumimoji="0" lang="nl-NL" sz="1200" b="1" i="0" u="none" strike="noStrike" kern="1200" cap="none" spc="0" normalizeH="0" baseline="0" noProof="0" dirty="0">
                <a:ln>
                  <a:noFill/>
                </a:ln>
                <a:solidFill>
                  <a:srgbClr val="002857"/>
                </a:solidFill>
                <a:effectLst/>
                <a:uLnTx/>
                <a:uFillTx/>
                <a:latin typeface="Arial"/>
                <a:ea typeface="+mn-ea"/>
                <a:cs typeface="+mn-cs"/>
              </a:rPr>
              <a:t>financiële ruimte voor projectmatige aanpak </a:t>
            </a:r>
            <a:r>
              <a:rPr kumimoji="0" lang="nl-NL" sz="1200" b="0" i="0" u="none" strike="noStrike" kern="1200" cap="none" spc="0" normalizeH="0" baseline="0" noProof="0" dirty="0">
                <a:ln>
                  <a:noFill/>
                </a:ln>
                <a:solidFill>
                  <a:srgbClr val="002857"/>
                </a:solidFill>
                <a:effectLst/>
                <a:uLnTx/>
                <a:uFillTx/>
                <a:latin typeface="Arial"/>
                <a:ea typeface="+mn-ea"/>
                <a:cs typeface="+mn-cs"/>
              </a:rPr>
              <a:t>en de ruimte daarvan moet voornamelijk binnen het afgesproken budget gevonden worden;</a:t>
            </a:r>
          </a:p>
          <a:p>
            <a:pPr marL="342900" marR="0" lvl="0" indent="-342900" algn="l" defTabSz="719138" rtl="0" eaLnBrk="1" fontAlgn="base" latinLnBrk="0" hangingPunct="1">
              <a:lnSpc>
                <a:spcPct val="80000"/>
              </a:lnSpc>
              <a:spcBef>
                <a:spcPts val="0"/>
              </a:spcBef>
              <a:spcAft>
                <a:spcPts val="1100"/>
              </a:spcAft>
              <a:buClrTx/>
              <a:buSzPct val="100000"/>
              <a:buFont typeface="+mj-lt"/>
              <a:buAutoNum type="arabicPeriod"/>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Om de voortgang te meten </a:t>
            </a:r>
            <a:r>
              <a:rPr kumimoji="0" lang="nl-NL" sz="1200" b="1" i="0" u="none" strike="noStrike" kern="1200" cap="none" spc="0" normalizeH="0" baseline="0" noProof="0" dirty="0">
                <a:ln>
                  <a:noFill/>
                </a:ln>
                <a:solidFill>
                  <a:srgbClr val="002857"/>
                </a:solidFill>
                <a:effectLst/>
                <a:uLnTx/>
                <a:uFillTx/>
                <a:latin typeface="Arial"/>
                <a:ea typeface="+mn-ea"/>
                <a:cs typeface="+mn-cs"/>
              </a:rPr>
              <a:t>worden </a:t>
            </a:r>
            <a:r>
              <a:rPr kumimoji="0" lang="nl-NL" sz="1200" b="1" i="0" u="none" strike="noStrike" kern="1200" cap="none" spc="0" normalizeH="0" baseline="0" noProof="0" dirty="0" err="1">
                <a:ln>
                  <a:noFill/>
                </a:ln>
                <a:solidFill>
                  <a:srgbClr val="002857"/>
                </a:solidFill>
                <a:effectLst/>
                <a:uLnTx/>
                <a:uFillTx/>
                <a:latin typeface="Arial"/>
                <a:ea typeface="+mn-ea"/>
                <a:cs typeface="+mn-cs"/>
              </a:rPr>
              <a:t>KPI’s</a:t>
            </a:r>
            <a:r>
              <a:rPr kumimoji="0" lang="nl-NL" sz="1200" b="1" i="0" u="none" strike="noStrike" kern="1200" cap="none" spc="0" normalizeH="0" baseline="0" noProof="0" dirty="0">
                <a:ln>
                  <a:noFill/>
                </a:ln>
                <a:solidFill>
                  <a:srgbClr val="002857"/>
                </a:solidFill>
                <a:effectLst/>
                <a:uLnTx/>
                <a:uFillTx/>
                <a:latin typeface="Arial"/>
                <a:ea typeface="+mn-ea"/>
                <a:cs typeface="+mn-cs"/>
              </a:rPr>
              <a:t> toegevoegd</a:t>
            </a:r>
            <a:r>
              <a:rPr kumimoji="0" lang="nl-NL" sz="1200" b="0" i="0" u="none" strike="noStrike" kern="1200" cap="none" spc="0" normalizeH="0" baseline="0" noProof="0" dirty="0">
                <a:ln>
                  <a:noFill/>
                </a:ln>
                <a:solidFill>
                  <a:srgbClr val="002857"/>
                </a:solidFill>
                <a:effectLst/>
                <a:uLnTx/>
                <a:uFillTx/>
                <a:latin typeface="Arial"/>
                <a:ea typeface="+mn-ea"/>
                <a:cs typeface="+mn-cs"/>
              </a:rPr>
              <a:t>. Die </a:t>
            </a:r>
            <a:r>
              <a:rPr kumimoji="0" lang="nl-NL" sz="1200" b="0" i="0" u="none" strike="noStrike" kern="1200" cap="none" spc="0" normalizeH="0" baseline="0" noProof="0" dirty="0" err="1">
                <a:ln>
                  <a:noFill/>
                </a:ln>
                <a:solidFill>
                  <a:srgbClr val="002857"/>
                </a:solidFill>
                <a:effectLst/>
                <a:uLnTx/>
                <a:uFillTx/>
                <a:latin typeface="Arial"/>
                <a:ea typeface="+mn-ea"/>
                <a:cs typeface="+mn-cs"/>
              </a:rPr>
              <a:t>KPI’s</a:t>
            </a:r>
            <a:r>
              <a:rPr kumimoji="0" lang="nl-NL" sz="1200" b="0" i="0" u="none" strike="noStrike" kern="1200" cap="none" spc="0" normalizeH="0" baseline="0" noProof="0" dirty="0">
                <a:ln>
                  <a:noFill/>
                </a:ln>
                <a:solidFill>
                  <a:srgbClr val="002857"/>
                </a:solidFill>
                <a:effectLst/>
                <a:uLnTx/>
                <a:uFillTx/>
                <a:latin typeface="Arial"/>
                <a:ea typeface="+mn-ea"/>
                <a:cs typeface="+mn-cs"/>
              </a:rPr>
              <a:t> zijn zo gekozen in de inkoopcontracten dat ze die gelijkgericht tussen ketenpartners bevorderen zodat bijvoorbeeld afbouw van behandelingen in een ziekenhuis één op één aansluiten met opbouw van die zorg door wijkverpleging;</a:t>
            </a:r>
          </a:p>
          <a:p>
            <a:pPr marL="342900" marR="0" lvl="0" indent="-342900" algn="l" defTabSz="719138" rtl="0" eaLnBrk="1" fontAlgn="base" latinLnBrk="0" hangingPunct="1">
              <a:lnSpc>
                <a:spcPct val="80000"/>
              </a:lnSpc>
              <a:spcBef>
                <a:spcPts val="0"/>
              </a:spcBef>
              <a:spcAft>
                <a:spcPts val="1100"/>
              </a:spcAft>
              <a:buClrTx/>
              <a:buSzPct val="100000"/>
              <a:buFont typeface="+mj-lt"/>
              <a:buAutoNum type="arabicPeriod"/>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Er is niet alleen </a:t>
            </a:r>
            <a:r>
              <a:rPr kumimoji="0" lang="nl-NL" sz="1200" b="0" i="0" u="none" strike="noStrike" kern="1200" cap="none" spc="0" normalizeH="0" baseline="0" noProof="0" dirty="0" err="1">
                <a:ln>
                  <a:noFill/>
                </a:ln>
                <a:solidFill>
                  <a:srgbClr val="002857"/>
                </a:solidFill>
                <a:effectLst/>
                <a:uLnTx/>
                <a:uFillTx/>
                <a:latin typeface="Arial"/>
                <a:ea typeface="+mn-ea"/>
                <a:cs typeface="+mn-cs"/>
              </a:rPr>
              <a:t>gelijkgerichtheid</a:t>
            </a:r>
            <a:r>
              <a:rPr kumimoji="0" lang="nl-NL" sz="1200" b="0" i="0" u="none" strike="noStrike" kern="1200" cap="none" spc="0" normalizeH="0" baseline="0" noProof="0" dirty="0">
                <a:ln>
                  <a:noFill/>
                </a:ln>
                <a:solidFill>
                  <a:srgbClr val="002857"/>
                </a:solidFill>
                <a:effectLst/>
                <a:uLnTx/>
                <a:uFillTx/>
                <a:latin typeface="Arial"/>
                <a:ea typeface="+mn-ea"/>
                <a:cs typeface="+mn-cs"/>
              </a:rPr>
              <a:t> nodig tussen zorgaanbieder en zorgverzekeraar of zorgaanbieders onderling maar nadrukkelijk ook </a:t>
            </a:r>
            <a:r>
              <a:rPr kumimoji="0" lang="nl-NL" sz="1200" b="1" i="0" u="none" strike="noStrike" kern="1200" cap="none" spc="0" normalizeH="0" baseline="0" noProof="0" dirty="0" err="1">
                <a:ln>
                  <a:noFill/>
                </a:ln>
                <a:solidFill>
                  <a:srgbClr val="002857"/>
                </a:solidFill>
                <a:effectLst/>
                <a:uLnTx/>
                <a:uFillTx/>
                <a:latin typeface="Arial"/>
                <a:ea typeface="+mn-ea"/>
                <a:cs typeface="+mn-cs"/>
              </a:rPr>
              <a:t>gelijkgerichtheid</a:t>
            </a:r>
            <a:r>
              <a:rPr kumimoji="0" lang="nl-NL" sz="1200" b="1" i="0" u="none" strike="noStrike" kern="1200" cap="none" spc="0" normalizeH="0" baseline="0" noProof="0" dirty="0">
                <a:ln>
                  <a:noFill/>
                </a:ln>
                <a:solidFill>
                  <a:srgbClr val="002857"/>
                </a:solidFill>
                <a:effectLst/>
                <a:uLnTx/>
                <a:uFillTx/>
                <a:latin typeface="Arial"/>
                <a:ea typeface="+mn-ea"/>
                <a:cs typeface="+mn-cs"/>
              </a:rPr>
              <a:t> binnen organisaties;</a:t>
            </a:r>
          </a:p>
          <a:p>
            <a:pPr marL="342900" marR="0" lvl="0" indent="-342900" algn="l" defTabSz="719138" rtl="0" eaLnBrk="1" fontAlgn="base" latinLnBrk="0" hangingPunct="1">
              <a:lnSpc>
                <a:spcPct val="80000"/>
              </a:lnSpc>
              <a:spcBef>
                <a:spcPts val="0"/>
              </a:spcBef>
              <a:spcAft>
                <a:spcPts val="1100"/>
              </a:spcAft>
              <a:buClrTx/>
              <a:buSzPct val="100000"/>
              <a:buFont typeface="+mj-lt"/>
              <a:buAutoNum type="arabicPeriod"/>
              <a:tabLst/>
              <a:defRPr/>
            </a:pPr>
            <a:r>
              <a:rPr kumimoji="0" lang="nl-NL" sz="1200" b="0" i="0" u="none" strike="noStrike" kern="1200" cap="none" spc="0" normalizeH="0" baseline="0" noProof="0" dirty="0">
                <a:ln>
                  <a:noFill/>
                </a:ln>
                <a:solidFill>
                  <a:srgbClr val="002857"/>
                </a:solidFill>
                <a:effectLst/>
                <a:uLnTx/>
                <a:uFillTx/>
                <a:latin typeface="Arial"/>
                <a:ea typeface="+mn-ea"/>
                <a:cs typeface="+mn-cs"/>
              </a:rPr>
              <a:t>Tot slot brengen we samen met zorgaanbieders in kaart of en welke </a:t>
            </a:r>
            <a:r>
              <a:rPr kumimoji="0" lang="nl-NL" sz="1200" b="1" i="0" u="none" strike="noStrike" kern="1200" cap="none" spc="0" normalizeH="0" baseline="0" noProof="0" dirty="0">
                <a:ln>
                  <a:noFill/>
                </a:ln>
                <a:solidFill>
                  <a:srgbClr val="002857"/>
                </a:solidFill>
                <a:effectLst/>
                <a:uLnTx/>
                <a:uFillTx/>
                <a:latin typeface="Arial"/>
                <a:ea typeface="+mn-ea"/>
                <a:cs typeface="+mn-cs"/>
              </a:rPr>
              <a:t>drempels in bekostiging voor opschalen</a:t>
            </a:r>
            <a:r>
              <a:rPr kumimoji="0" lang="nl-NL" sz="1200" b="0" i="0" u="none" strike="noStrike" kern="1200" cap="none" spc="0" normalizeH="0" baseline="0" noProof="0" dirty="0">
                <a:ln>
                  <a:noFill/>
                </a:ln>
                <a:solidFill>
                  <a:srgbClr val="002857"/>
                </a:solidFill>
                <a:effectLst/>
                <a:uLnTx/>
                <a:uFillTx/>
                <a:latin typeface="Arial"/>
                <a:ea typeface="+mn-ea"/>
                <a:cs typeface="+mn-cs"/>
              </a:rPr>
              <a:t> er na bovenstaande aanpak voor innovatieve </a:t>
            </a:r>
            <a:r>
              <a:rPr kumimoji="0" lang="nl-NL" sz="1200" b="0" i="0" u="none" strike="noStrike" kern="1200" cap="none" spc="0" normalizeH="0" baseline="0" noProof="0" dirty="0" err="1">
                <a:ln>
                  <a:noFill/>
                </a:ln>
                <a:solidFill>
                  <a:srgbClr val="002857"/>
                </a:solidFill>
                <a:effectLst/>
                <a:uLnTx/>
                <a:uFillTx/>
                <a:latin typeface="Arial"/>
                <a:ea typeface="+mn-ea"/>
                <a:cs typeface="+mn-cs"/>
              </a:rPr>
              <a:t>contracting</a:t>
            </a:r>
            <a:r>
              <a:rPr kumimoji="0" lang="nl-NL" sz="1200" b="0" i="0" u="none" strike="noStrike" kern="1200" cap="none" spc="0" normalizeH="0" baseline="0" noProof="0" dirty="0">
                <a:ln>
                  <a:noFill/>
                </a:ln>
                <a:solidFill>
                  <a:srgbClr val="002857"/>
                </a:solidFill>
                <a:effectLst/>
                <a:uLnTx/>
                <a:uFillTx/>
                <a:latin typeface="Arial"/>
                <a:ea typeface="+mn-ea"/>
                <a:cs typeface="+mn-cs"/>
              </a:rPr>
              <a:t> nog zijn.</a:t>
            </a:r>
            <a:endParaRPr kumimoji="0" lang="nl-NL" sz="1200" b="1" i="0" u="none" strike="noStrike" kern="1200" cap="none" spc="0" normalizeH="0" baseline="0" noProof="0" dirty="0">
              <a:ln>
                <a:noFill/>
              </a:ln>
              <a:solidFill>
                <a:srgbClr val="002857"/>
              </a:solidFill>
              <a:effectLst/>
              <a:uLnTx/>
              <a:uFillTx/>
              <a:latin typeface="Arial"/>
              <a:ea typeface="+mn-ea"/>
              <a:cs typeface="+mn-cs"/>
            </a:endParaRPr>
          </a:p>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endParaRPr kumimoji="0" lang="nl-NL" sz="1400" b="0" i="0" u="none" strike="noStrike" kern="1200" cap="none" spc="0" normalizeH="0" baseline="0" noProof="0" dirty="0">
              <a:ln>
                <a:noFill/>
              </a:ln>
              <a:solidFill>
                <a:srgbClr val="002857"/>
              </a:solidFill>
              <a:effectLst/>
              <a:uLnTx/>
              <a:uFillTx/>
              <a:latin typeface="Arial"/>
              <a:ea typeface="+mn-ea"/>
              <a:cs typeface="+mn-cs"/>
            </a:endParaRPr>
          </a:p>
          <a:p>
            <a:pPr marL="0" marR="0" lvl="0" indent="0" algn="l" defTabSz="719138" rtl="0" eaLnBrk="1" fontAlgn="base" latinLnBrk="0" hangingPunct="1">
              <a:lnSpc>
                <a:spcPct val="80000"/>
              </a:lnSpc>
              <a:spcBef>
                <a:spcPts val="0"/>
              </a:spcBef>
              <a:spcAft>
                <a:spcPts val="1100"/>
              </a:spcAft>
              <a:buClrTx/>
              <a:buSzPct val="100000"/>
              <a:buFont typeface="Segoe UI Light" panose="020B0502040204020203" pitchFamily="34" charset="0"/>
              <a:buNone/>
              <a:tabLst/>
              <a:defRPr/>
            </a:pPr>
            <a:endParaRPr kumimoji="0" lang="nl-NL" sz="1400" b="0" i="0" u="none" strike="noStrike" kern="1200" cap="none" spc="0" normalizeH="0" baseline="0" noProof="0" dirty="0">
              <a:ln>
                <a:noFill/>
              </a:ln>
              <a:solidFill>
                <a:srgbClr val="002857"/>
              </a:solidFill>
              <a:effectLst/>
              <a:uLnTx/>
              <a:uFillTx/>
              <a:latin typeface="Arial"/>
              <a:ea typeface="+mn-ea"/>
              <a:cs typeface="+mn-cs"/>
            </a:endParaRPr>
          </a:p>
        </p:txBody>
      </p:sp>
    </p:spTree>
    <p:extLst>
      <p:ext uri="{BB962C8B-B14F-4D97-AF65-F5344CB8AC3E}">
        <p14:creationId xmlns:p14="http://schemas.microsoft.com/office/powerpoint/2010/main" val="58961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E7FE6747-BE3B-4E16-80BE-3D30E2E74FEC}"/>
              </a:ext>
            </a:extLst>
          </p:cNvPr>
          <p:cNvSpPr txBox="1"/>
          <p:nvPr/>
        </p:nvSpPr>
        <p:spPr>
          <a:xfrm>
            <a:off x="3486150" y="5803682"/>
            <a:ext cx="521208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2060"/>
                </a:solidFill>
                <a:effectLst/>
                <a:uLnTx/>
                <a:uFillTx/>
                <a:latin typeface="Arial"/>
                <a:ea typeface="+mn-ea"/>
                <a:cs typeface="+mn-cs"/>
              </a:rPr>
              <a:t>Rutger.de.vries@zilverenkruis.n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2060"/>
                </a:solidFill>
                <a:effectLst/>
                <a:uLnTx/>
                <a:uFillTx/>
                <a:latin typeface="Arial"/>
                <a:ea typeface="+mn-ea"/>
                <a:cs typeface="+mn-cs"/>
              </a:rPr>
              <a:t>0620961031</a:t>
            </a:r>
          </a:p>
        </p:txBody>
      </p:sp>
    </p:spTree>
    <p:extLst>
      <p:ext uri="{BB962C8B-B14F-4D97-AF65-F5344CB8AC3E}">
        <p14:creationId xmlns:p14="http://schemas.microsoft.com/office/powerpoint/2010/main" val="3351053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sz="6000" dirty="0"/>
              <a:t>Innovatie die bijdraagt aan passende zorg</a:t>
            </a:r>
          </a:p>
        </p:txBody>
      </p:sp>
      <p:sp>
        <p:nvSpPr>
          <p:cNvPr id="3" name="Ondertitel 2"/>
          <p:cNvSpPr>
            <a:spLocks noGrp="1"/>
          </p:cNvSpPr>
          <p:nvPr>
            <p:ph type="subTitle" idx="1"/>
          </p:nvPr>
        </p:nvSpPr>
        <p:spPr/>
        <p:txBody>
          <a:bodyPr/>
          <a:lstStyle/>
          <a:p>
            <a:r>
              <a:rPr lang="nl-NL" sz="2800" dirty="0"/>
              <a:t>Nederlandse Zorgautoriteit (NZa)</a:t>
            </a:r>
          </a:p>
        </p:txBody>
      </p:sp>
      <p:sp>
        <p:nvSpPr>
          <p:cNvPr id="21" name="Tijdelijke aanduiding voor tekst 20"/>
          <p:cNvSpPr>
            <a:spLocks noGrp="1"/>
          </p:cNvSpPr>
          <p:nvPr>
            <p:ph type="body" sz="quarter" idx="10"/>
          </p:nvPr>
        </p:nvSpPr>
        <p:spPr/>
        <p:txBody>
          <a:bodyPr/>
          <a:lstStyle/>
          <a:p>
            <a:r>
              <a:rPr lang="nl-NL" dirty="0"/>
              <a:t>Willemien Alting</a:t>
            </a:r>
          </a:p>
        </p:txBody>
      </p:sp>
      <p:sp>
        <p:nvSpPr>
          <p:cNvPr id="22" name="Tijdelijke aanduiding voor tekst 21"/>
          <p:cNvSpPr>
            <a:spLocks noGrp="1"/>
          </p:cNvSpPr>
          <p:nvPr>
            <p:ph type="body" sz="quarter" idx="11"/>
          </p:nvPr>
        </p:nvSpPr>
        <p:spPr/>
        <p:txBody>
          <a:bodyPr/>
          <a:lstStyle/>
          <a:p>
            <a:r>
              <a:rPr lang="nl-NL" dirty="0"/>
              <a:t>Beleidsmedewerker innovatie</a:t>
            </a:r>
          </a:p>
        </p:txBody>
      </p:sp>
      <p:sp>
        <p:nvSpPr>
          <p:cNvPr id="6" name="Tijdelijke aanduiding voor tekst 5"/>
          <p:cNvSpPr>
            <a:spLocks noGrp="1"/>
          </p:cNvSpPr>
          <p:nvPr>
            <p:ph type="body" sz="quarter" idx="12"/>
          </p:nvPr>
        </p:nvSpPr>
        <p:spPr/>
        <p:txBody>
          <a:bodyPr/>
          <a:lstStyle/>
          <a:p>
            <a:r>
              <a:rPr lang="nl-NL" dirty="0"/>
              <a:t>29-9-2022</a:t>
            </a:r>
          </a:p>
        </p:txBody>
      </p:sp>
    </p:spTree>
    <p:extLst>
      <p:ext uri="{BB962C8B-B14F-4D97-AF65-F5344CB8AC3E}">
        <p14:creationId xmlns:p14="http://schemas.microsoft.com/office/powerpoint/2010/main" val="5104206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321706" y="564614"/>
            <a:ext cx="4728898" cy="1080000"/>
          </a:xfrm>
        </p:spPr>
        <p:txBody>
          <a:bodyPr/>
          <a:lstStyle/>
          <a:p>
            <a:r>
              <a:rPr lang="nl-NL" sz="2800" dirty="0"/>
              <a:t>Onze organisatie</a:t>
            </a:r>
          </a:p>
        </p:txBody>
      </p:sp>
      <p:sp>
        <p:nvSpPr>
          <p:cNvPr id="3" name="Tijdelijke aanduiding voor tekst 2"/>
          <p:cNvSpPr>
            <a:spLocks noGrp="1"/>
          </p:cNvSpPr>
          <p:nvPr>
            <p:ph type="body" sz="quarter" idx="13"/>
          </p:nvPr>
        </p:nvSpPr>
        <p:spPr/>
        <p:txBody>
          <a:bodyPr/>
          <a:lstStyle/>
          <a:p>
            <a:pPr marL="0" indent="0">
              <a:buNone/>
            </a:pPr>
            <a:r>
              <a:rPr lang="nl-NL" dirty="0"/>
              <a:t>De NZa is een zelfstandig bestuursorgaan van het Ministerie van Volksgezondheid, Welzijn en Sport (VWS).</a:t>
            </a:r>
          </a:p>
          <a:p>
            <a:pPr marL="0" indent="0">
              <a:buNone/>
            </a:pPr>
            <a:endParaRPr lang="nl-NL" dirty="0"/>
          </a:p>
        </p:txBody>
      </p:sp>
      <p:pic>
        <p:nvPicPr>
          <p:cNvPr id="12" name="Tijdelijke aanduiding voor afbeelding 11">
            <a:extLst>
              <a:ext uri="{FF2B5EF4-FFF2-40B4-BE49-F238E27FC236}">
                <a16:creationId xmlns:a16="http://schemas.microsoft.com/office/drawing/2014/main" id="{1A49EB62-D50B-244A-90CD-AF2D36CA369B}"/>
              </a:ext>
              <a:ext uri="{C183D7F6-B498-43B3-948B-1728B52AA6E4}">
                <adec:decorative xmlns:adec="http://schemas.microsoft.com/office/drawing/2017/decorative" val="1"/>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tretch/>
        </p:blipFill>
        <p:spPr>
          <a:xfrm>
            <a:off x="6231260" y="1628775"/>
            <a:ext cx="5278855" cy="3714750"/>
          </a:xfrm>
        </p:spPr>
      </p:pic>
      <p:sp>
        <p:nvSpPr>
          <p:cNvPr id="13" name="Tekstvak 12">
            <a:extLst>
              <a:ext uri="{FF2B5EF4-FFF2-40B4-BE49-F238E27FC236}">
                <a16:creationId xmlns:a16="http://schemas.microsoft.com/office/drawing/2014/main" id="{5D4C3D9A-CF02-FC4B-ADEC-B39182001D9A}"/>
              </a:ext>
            </a:extLst>
          </p:cNvPr>
          <p:cNvSpPr txBox="1"/>
          <p:nvPr/>
        </p:nvSpPr>
        <p:spPr>
          <a:xfrm>
            <a:off x="6189925" y="5447097"/>
            <a:ext cx="144622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Maakt </a:t>
            </a:r>
            <a:br>
              <a:rPr kumimoji="0" lang="nl-NL" sz="1400" b="1" i="0" u="none" strike="noStrike" kern="1200" cap="none" spc="0" normalizeH="0" baseline="0" noProof="0" dirty="0">
                <a:ln>
                  <a:noFill/>
                </a:ln>
                <a:solidFill>
                  <a:srgbClr val="000000"/>
                </a:solidFill>
                <a:effectLst/>
                <a:uLnTx/>
                <a:uFillTx/>
                <a:latin typeface="Arial"/>
                <a:ea typeface="+mn-ea"/>
                <a:cs typeface="+mn-cs"/>
              </a:rPr>
            </a:br>
            <a:r>
              <a:rPr kumimoji="0" lang="nl-NL" sz="1400" b="1" i="0" u="none" strike="noStrike" kern="1200" cap="none" spc="0" normalizeH="0" baseline="0" noProof="0" dirty="0">
                <a:ln>
                  <a:noFill/>
                </a:ln>
                <a:solidFill>
                  <a:srgbClr val="000000"/>
                </a:solidFill>
                <a:effectLst/>
                <a:uLnTx/>
                <a:uFillTx/>
                <a:latin typeface="Arial"/>
                <a:ea typeface="+mn-ea"/>
                <a:cs typeface="+mn-cs"/>
              </a:rPr>
              <a:t>(</a:t>
            </a:r>
            <a:r>
              <a:rPr kumimoji="0" lang="nl-NL" sz="1400" b="1" i="0" u="none" strike="noStrike" kern="1200" cap="none" spc="0" normalizeH="0" baseline="0" noProof="0" dirty="0" err="1">
                <a:ln>
                  <a:noFill/>
                </a:ln>
                <a:solidFill>
                  <a:srgbClr val="000000"/>
                </a:solidFill>
                <a:effectLst/>
                <a:uLnTx/>
                <a:uFillTx/>
                <a:latin typeface="Arial"/>
                <a:ea typeface="+mn-ea"/>
                <a:cs typeface="+mn-cs"/>
              </a:rPr>
              <a:t>beleids</a:t>
            </a:r>
            <a:r>
              <a:rPr kumimoji="0" lang="nl-NL" sz="1400" b="1" i="0" u="none" strike="noStrike" kern="1200" cap="none" spc="0" normalizeH="0" baseline="0" noProof="0" dirty="0">
                <a:ln>
                  <a:noFill/>
                </a:ln>
                <a:solidFill>
                  <a:srgbClr val="000000"/>
                </a:solidFill>
                <a:effectLst/>
                <a:uLnTx/>
                <a:uFillTx/>
                <a:latin typeface="Arial"/>
                <a:ea typeface="+mn-ea"/>
                <a:cs typeface="+mn-cs"/>
              </a:rPr>
              <a:t>)regels</a:t>
            </a:r>
          </a:p>
        </p:txBody>
      </p:sp>
      <p:sp>
        <p:nvSpPr>
          <p:cNvPr id="15" name="Tekstvak 14">
            <a:extLst>
              <a:ext uri="{FF2B5EF4-FFF2-40B4-BE49-F238E27FC236}">
                <a16:creationId xmlns:a16="http://schemas.microsoft.com/office/drawing/2014/main" id="{7D41428C-6163-D946-84D0-A1F9F12A3FE6}"/>
              </a:ext>
            </a:extLst>
          </p:cNvPr>
          <p:cNvSpPr txBox="1"/>
          <p:nvPr/>
        </p:nvSpPr>
        <p:spPr>
          <a:xfrm>
            <a:off x="8146765" y="5456515"/>
            <a:ext cx="1425390" cy="523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Houdt toezicht</a:t>
            </a:r>
            <a:endParaRPr kumimoji="0" lang="nl-NL"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a:t>
            </a:r>
            <a:r>
              <a:rPr kumimoji="0" lang="nl-NL" sz="1400" b="1" i="0" u="none" strike="noStrike" kern="1200" cap="none" spc="0" normalizeH="0" baseline="0" noProof="0" dirty="0" err="1">
                <a:ln>
                  <a:noFill/>
                </a:ln>
                <a:solidFill>
                  <a:srgbClr val="000000"/>
                </a:solidFill>
                <a:effectLst/>
                <a:uLnTx/>
                <a:uFillTx/>
                <a:latin typeface="Arial"/>
                <a:ea typeface="+mn-ea"/>
                <a:cs typeface="+mn-cs"/>
              </a:rPr>
              <a:t>Wlz</a:t>
            </a:r>
            <a:r>
              <a:rPr kumimoji="0" lang="nl-NL" sz="1400" b="1" i="0" u="none" strike="noStrike" kern="1200" cap="none" spc="0" normalizeH="0" baseline="0" noProof="0" dirty="0">
                <a:ln>
                  <a:noFill/>
                </a:ln>
                <a:solidFill>
                  <a:srgbClr val="000000"/>
                </a:solidFill>
                <a:effectLst/>
                <a:uLnTx/>
                <a:uFillTx/>
                <a:latin typeface="Arial"/>
                <a:ea typeface="+mn-ea"/>
                <a:cs typeface="+mn-cs"/>
              </a:rPr>
              <a:t> en </a:t>
            </a:r>
            <a:r>
              <a:rPr kumimoji="0" lang="nl-NL" sz="1400" b="1" i="0" u="none" strike="noStrike" kern="1200" cap="none" spc="0" normalizeH="0" baseline="0" noProof="0" dirty="0" err="1">
                <a:ln>
                  <a:noFill/>
                </a:ln>
                <a:solidFill>
                  <a:srgbClr val="000000"/>
                </a:solidFill>
                <a:effectLst/>
                <a:uLnTx/>
                <a:uFillTx/>
                <a:latin typeface="Arial"/>
                <a:ea typeface="+mn-ea"/>
                <a:cs typeface="+mn-cs"/>
              </a:rPr>
              <a:t>zvw</a:t>
            </a:r>
            <a:r>
              <a:rPr kumimoji="0" lang="nl-NL" sz="1400" b="1" i="0" u="none" strike="noStrike" kern="1200" cap="none" spc="0" normalizeH="0" baseline="0" noProof="0" dirty="0">
                <a:ln>
                  <a:noFill/>
                </a:ln>
                <a:solidFill>
                  <a:srgbClr val="000000"/>
                </a:solidFill>
                <a:effectLst/>
                <a:uLnTx/>
                <a:uFillTx/>
                <a:latin typeface="Arial"/>
                <a:ea typeface="+mn-ea"/>
                <a:cs typeface="+mn-cs"/>
              </a:rPr>
              <a:t>)</a:t>
            </a:r>
            <a:endParaRPr kumimoji="0" lang="nl-N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kstvak 16">
            <a:extLst>
              <a:ext uri="{FF2B5EF4-FFF2-40B4-BE49-F238E27FC236}">
                <a16:creationId xmlns:a16="http://schemas.microsoft.com/office/drawing/2014/main" id="{51D3E8D7-57C1-6348-999F-86D87A8E903A}"/>
              </a:ext>
            </a:extLst>
          </p:cNvPr>
          <p:cNvSpPr txBox="1"/>
          <p:nvPr/>
        </p:nvSpPr>
        <p:spPr>
          <a:xfrm>
            <a:off x="10029293" y="5456516"/>
            <a:ext cx="157607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Doet onderzoe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en adviseert</a:t>
            </a:r>
            <a:endParaRPr kumimoji="0" lang="nl-N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Tekstvak 17">
            <a:extLst>
              <a:ext uri="{FF2B5EF4-FFF2-40B4-BE49-F238E27FC236}">
                <a16:creationId xmlns:a16="http://schemas.microsoft.com/office/drawing/2014/main" id="{5D168E2E-0C18-3748-806E-339F8C5C6A70}"/>
              </a:ext>
            </a:extLst>
          </p:cNvPr>
          <p:cNvSpPr txBox="1"/>
          <p:nvPr/>
        </p:nvSpPr>
        <p:spPr>
          <a:xfrm>
            <a:off x="7049313" y="3172110"/>
            <a:ext cx="168507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Opgericht in 2006</a:t>
            </a:r>
            <a:endParaRPr kumimoji="0" lang="nl-N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kstvak 18">
            <a:extLst>
              <a:ext uri="{FF2B5EF4-FFF2-40B4-BE49-F238E27FC236}">
                <a16:creationId xmlns:a16="http://schemas.microsoft.com/office/drawing/2014/main" id="{13A2DFC7-99B7-A649-8C4E-71C7723B3070}"/>
              </a:ext>
            </a:extLst>
          </p:cNvPr>
          <p:cNvSpPr txBox="1"/>
          <p:nvPr/>
        </p:nvSpPr>
        <p:spPr>
          <a:xfrm>
            <a:off x="8991520" y="3172110"/>
            <a:ext cx="16786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0000"/>
                </a:solidFill>
                <a:effectLst/>
                <a:uLnTx/>
                <a:uFillTx/>
                <a:latin typeface="Arial"/>
                <a:ea typeface="+mn-ea"/>
                <a:cs typeface="+mn-cs"/>
              </a:rPr>
              <a:t>575 medewerkers</a:t>
            </a:r>
            <a:endParaRPr kumimoji="0" lang="nl-NL"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ijdelijke aanduiding voor dianummer 13">
            <a:extLst>
              <a:ext uri="{FF2B5EF4-FFF2-40B4-BE49-F238E27FC236}">
                <a16:creationId xmlns:a16="http://schemas.microsoft.com/office/drawing/2014/main" id="{7EF1F9D4-448C-B244-8F1B-D9C3D83FA3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sp>
        <p:nvSpPr>
          <p:cNvPr id="5" name="Rechthoek 4"/>
          <p:cNvSpPr/>
          <p:nvPr/>
        </p:nvSpPr>
        <p:spPr>
          <a:xfrm>
            <a:off x="2862583" y="3470469"/>
            <a:ext cx="2649858" cy="1976628"/>
          </a:xfrm>
          <a:prstGeom prst="rect">
            <a:avLst/>
          </a:prstGeom>
          <a:ln w="15875">
            <a:solidFill>
              <a:schemeClr val="accent1"/>
            </a:solidFill>
          </a:ln>
          <a:effectLst>
            <a:softEdge rad="0"/>
          </a:effectLst>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Arial"/>
                <a:ea typeface="+mn-ea"/>
                <a:cs typeface="+mn-cs"/>
              </a:rPr>
              <a:t>Wij bepalen hoe zorgaanbieders zorg in rekening mogen brengen en in sommige sectoren ook tegen welk (maximum) tarief. </a:t>
            </a:r>
          </a:p>
        </p:txBody>
      </p:sp>
      <p:cxnSp>
        <p:nvCxnSpPr>
          <p:cNvPr id="9" name="Gekromde verbindingslijn 8"/>
          <p:cNvCxnSpPr>
            <a:stCxn id="13" idx="2"/>
            <a:endCxn id="5" idx="2"/>
          </p:cNvCxnSpPr>
          <p:nvPr/>
        </p:nvCxnSpPr>
        <p:spPr>
          <a:xfrm rot="5400000" flipH="1">
            <a:off x="5288666" y="4345943"/>
            <a:ext cx="523220" cy="2725528"/>
          </a:xfrm>
          <a:prstGeom prst="curvedConnector3">
            <a:avLst>
              <a:gd name="adj1" fmla="val -4369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52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9655AF-B72A-0A42-B0CB-F242832F8EBE}"/>
              </a:ext>
            </a:extLst>
          </p:cNvPr>
          <p:cNvSpPr>
            <a:spLocks noGrp="1"/>
          </p:cNvSpPr>
          <p:nvPr>
            <p:ph type="title"/>
          </p:nvPr>
        </p:nvSpPr>
        <p:spPr>
          <a:xfrm>
            <a:off x="1321707" y="564614"/>
            <a:ext cx="9400572" cy="1080000"/>
          </a:xfrm>
        </p:spPr>
        <p:txBody>
          <a:bodyPr/>
          <a:lstStyle/>
          <a:p>
            <a:r>
              <a:rPr lang="nl-NL" sz="2800" dirty="0"/>
              <a:t>De </a:t>
            </a:r>
            <a:r>
              <a:rPr lang="nl-NL" sz="2800" dirty="0" err="1"/>
              <a:t>NZa</a:t>
            </a:r>
            <a:r>
              <a:rPr lang="nl-NL" sz="2800" dirty="0"/>
              <a:t> werkt aan toegankelijke </a:t>
            </a:r>
            <a:br>
              <a:rPr lang="nl-NL" sz="2800" dirty="0"/>
            </a:br>
            <a:r>
              <a:rPr lang="nl-NL" sz="2800" dirty="0"/>
              <a:t>en betaalbare zorg voor alle </a:t>
            </a:r>
            <a:br>
              <a:rPr lang="nl-NL" sz="2800" dirty="0"/>
            </a:br>
            <a:r>
              <a:rPr lang="nl-NL" sz="2800" dirty="0"/>
              <a:t>inwoners van Nederland</a:t>
            </a:r>
          </a:p>
        </p:txBody>
      </p:sp>
      <p:sp>
        <p:nvSpPr>
          <p:cNvPr id="3" name="Tijdelijke aanduiding voor tekst 2">
            <a:extLst>
              <a:ext uri="{FF2B5EF4-FFF2-40B4-BE49-F238E27FC236}">
                <a16:creationId xmlns:a16="http://schemas.microsoft.com/office/drawing/2014/main" id="{C7BEE4E9-7CF0-2946-A84B-23D4F103D691}"/>
              </a:ext>
            </a:extLst>
          </p:cNvPr>
          <p:cNvSpPr>
            <a:spLocks noGrp="1"/>
          </p:cNvSpPr>
          <p:nvPr>
            <p:ph type="body" sz="quarter" idx="13"/>
          </p:nvPr>
        </p:nvSpPr>
        <p:spPr>
          <a:xfrm>
            <a:off x="1321707" y="2206185"/>
            <a:ext cx="5280416" cy="3652310"/>
          </a:xfrm>
        </p:spPr>
        <p:txBody>
          <a:bodyPr/>
          <a:lstStyle/>
          <a:p>
            <a:pPr marL="0" indent="0">
              <a:buNone/>
            </a:pPr>
            <a:r>
              <a:rPr lang="nl-NL" b="1" dirty="0"/>
              <a:t>Dit is een uitdagende opdracht. </a:t>
            </a:r>
          </a:p>
          <a:p>
            <a:pPr marL="0" indent="0">
              <a:buNone/>
            </a:pPr>
            <a:endParaRPr lang="nl-NL" sz="1100" dirty="0"/>
          </a:p>
          <a:p>
            <a:r>
              <a:rPr lang="nl-NL" dirty="0"/>
              <a:t>Vanwege de toenemende zorgvraag door vergrijzing en blijvende tekorten aan zorgprofessionals staan de betaalbaarheid en toegankelijkheid van zorg onder druk. </a:t>
            </a:r>
          </a:p>
          <a:p>
            <a:r>
              <a:rPr lang="nl-NL" dirty="0"/>
              <a:t>Om die reden moet de zorg de komende jaren echt anders worden georganiseerd. </a:t>
            </a:r>
          </a:p>
          <a:p>
            <a:r>
              <a:rPr lang="nl-NL" dirty="0"/>
              <a:t>Dit betekent: passende zorg.</a:t>
            </a:r>
          </a:p>
          <a:p>
            <a:endParaRPr lang="nl-NL" dirty="0"/>
          </a:p>
        </p:txBody>
      </p:sp>
      <p:sp>
        <p:nvSpPr>
          <p:cNvPr id="4" name="Tijdelijke aanduiding voor dianummer 3">
            <a:extLst>
              <a:ext uri="{FF2B5EF4-FFF2-40B4-BE49-F238E27FC236}">
                <a16:creationId xmlns:a16="http://schemas.microsoft.com/office/drawing/2014/main" id="{3BE07382-B15F-634D-8898-C80D87C436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pic>
        <p:nvPicPr>
          <p:cNvPr id="6" name="Afbeelding 5" descr="Wordcloud over passende zorg met daarin relevante termen, zoals: zorgvrager centraal, innovatie, noodzakelijk, juiste afwegingen, samenwerking.">
            <a:extLst>
              <a:ext uri="{FF2B5EF4-FFF2-40B4-BE49-F238E27FC236}">
                <a16:creationId xmlns:a16="http://schemas.microsoft.com/office/drawing/2014/main" id="{8BB6DB3E-A505-E64E-A7C9-AD7A3AA578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7746" y="1104614"/>
            <a:ext cx="3886200" cy="4826000"/>
          </a:xfrm>
          <a:prstGeom prst="rect">
            <a:avLst/>
          </a:prstGeom>
        </p:spPr>
      </p:pic>
    </p:spTree>
    <p:extLst>
      <p:ext uri="{BB962C8B-B14F-4D97-AF65-F5344CB8AC3E}">
        <p14:creationId xmlns:p14="http://schemas.microsoft.com/office/powerpoint/2010/main" val="1303111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el 1"/>
          <p:cNvSpPr>
            <a:spLocks noGrp="1"/>
          </p:cNvSpPr>
          <p:nvPr>
            <p:ph type="ctrTitle"/>
          </p:nvPr>
        </p:nvSpPr>
        <p:spPr bwMode="auto">
          <a:xfrm>
            <a:off x="863600" y="527051"/>
            <a:ext cx="10932160" cy="7325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920" tIns="60960" rIns="121920" bIns="60960" numCol="1" anchor="t" anchorCtr="0" compatLnSpc="1">
            <a:prstTxWarp prst="textNoShape">
              <a:avLst/>
            </a:prstTxWarp>
            <a:spAutoFit/>
          </a:bodyPr>
          <a:lstStyle/>
          <a:p>
            <a:r>
              <a:rPr lang="nl-NL" sz="4400" dirty="0">
                <a:latin typeface="Verdana" charset="0"/>
                <a:cs typeface="Verdana" charset="0"/>
              </a:rPr>
              <a:t>Passend behandelplan</a:t>
            </a:r>
            <a:endParaRPr lang="nl-NL" sz="3600" dirty="0">
              <a:latin typeface="Verdana" charset="0"/>
              <a:cs typeface="Verdana" charset="0"/>
            </a:endParaRPr>
          </a:p>
        </p:txBody>
      </p:sp>
      <p:sp>
        <p:nvSpPr>
          <p:cNvPr id="16386" name="Subtitel 2"/>
          <p:cNvSpPr>
            <a:spLocks noGrp="1"/>
          </p:cNvSpPr>
          <p:nvPr>
            <p:ph type="subTitle" idx="1"/>
          </p:nvPr>
        </p:nvSpPr>
        <p:spPr bwMode="auto">
          <a:xfrm>
            <a:off x="912285" y="1919818"/>
            <a:ext cx="10367433" cy="4508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920" tIns="60960" rIns="121920" bIns="60960" numCol="1" anchor="t" anchorCtr="0" compatLnSpc="1">
            <a:prstTxWarp prst="textNoShape">
              <a:avLst/>
            </a:prstTxWarp>
            <a:spAutoFit/>
          </a:bodyPr>
          <a:lstStyle/>
          <a:p>
            <a:r>
              <a:rPr lang="nl-NL" dirty="0">
                <a:latin typeface="Verdana" charset="0"/>
                <a:cs typeface="Verdana" charset="0"/>
              </a:rPr>
              <a:t>Prof. Dr. B.L. van Leeuwen</a:t>
            </a:r>
          </a:p>
        </p:txBody>
      </p:sp>
    </p:spTree>
    <p:extLst>
      <p:ext uri="{BB962C8B-B14F-4D97-AF65-F5344CB8AC3E}">
        <p14:creationId xmlns:p14="http://schemas.microsoft.com/office/powerpoint/2010/main" val="11710221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C8E96AB0-AD82-D340-8FC6-58E1932960AB}"/>
              </a:ext>
            </a:extLst>
          </p:cNvPr>
          <p:cNvSpPr txBox="1">
            <a:spLocks/>
          </p:cNvSpPr>
          <p:nvPr/>
        </p:nvSpPr>
        <p:spPr>
          <a:xfrm>
            <a:off x="1321705" y="564614"/>
            <a:ext cx="5680343" cy="108000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4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nl-NL" sz="2800" b="1" i="0" u="none" strike="noStrike" kern="1200" cap="none" spc="0" normalizeH="0" baseline="0" noProof="0" dirty="0">
                <a:ln>
                  <a:noFill/>
                </a:ln>
                <a:solidFill>
                  <a:srgbClr val="9E145C"/>
                </a:solidFill>
                <a:effectLst/>
                <a:uLnTx/>
                <a:uFillTx/>
                <a:latin typeface="Arial"/>
                <a:ea typeface="+mj-ea"/>
                <a:cs typeface="+mj-cs"/>
              </a:rPr>
              <a:t>Passende zorg is gepast </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nl-NL" sz="2800" b="1" i="0" u="none" strike="noStrike" kern="1200" cap="none" spc="0" normalizeH="0" baseline="0" noProof="0" dirty="0">
                <a:ln>
                  <a:noFill/>
                </a:ln>
                <a:solidFill>
                  <a:srgbClr val="9E145C"/>
                </a:solidFill>
                <a:effectLst/>
                <a:uLnTx/>
                <a:uFillTx/>
                <a:latin typeface="Arial"/>
                <a:ea typeface="+mj-ea"/>
                <a:cs typeface="+mj-cs"/>
              </a:rPr>
              <a:t>gebruik én passende </a:t>
            </a:r>
          </a:p>
          <a:p>
            <a:pPr marL="0" marR="0" lvl="0" indent="0" algn="l" defTabSz="914400" rtl="0" eaLnBrk="1" fontAlgn="auto" latinLnBrk="0" hangingPunct="1">
              <a:lnSpc>
                <a:spcPct val="90000"/>
              </a:lnSpc>
              <a:spcBef>
                <a:spcPct val="0"/>
              </a:spcBef>
              <a:spcAft>
                <a:spcPts val="600"/>
              </a:spcAft>
              <a:buClrTx/>
              <a:buSzTx/>
              <a:buFontTx/>
              <a:buNone/>
              <a:tabLst/>
              <a:defRPr/>
            </a:pPr>
            <a:r>
              <a:rPr kumimoji="0" lang="nl-NL" sz="2800" b="1" i="0" u="none" strike="noStrike" kern="1200" cap="none" spc="0" normalizeH="0" baseline="0" noProof="0" dirty="0">
                <a:ln>
                  <a:noFill/>
                </a:ln>
                <a:solidFill>
                  <a:srgbClr val="9E145C"/>
                </a:solidFill>
                <a:effectLst/>
                <a:uLnTx/>
                <a:uFillTx/>
                <a:latin typeface="Arial"/>
                <a:ea typeface="+mj-ea"/>
                <a:cs typeface="+mj-cs"/>
              </a:rPr>
              <a:t>organisatie van zorg</a:t>
            </a:r>
          </a:p>
        </p:txBody>
      </p:sp>
      <p:sp>
        <p:nvSpPr>
          <p:cNvPr id="4" name="Tijdelijke aanduiding voor tekst 2">
            <a:extLst>
              <a:ext uri="{FF2B5EF4-FFF2-40B4-BE49-F238E27FC236}">
                <a16:creationId xmlns:a16="http://schemas.microsoft.com/office/drawing/2014/main" id="{D783B5CB-5907-4141-9676-8A7E9B68FFB5}"/>
              </a:ext>
            </a:extLst>
          </p:cNvPr>
          <p:cNvSpPr txBox="1">
            <a:spLocks/>
          </p:cNvSpPr>
          <p:nvPr/>
        </p:nvSpPr>
        <p:spPr>
          <a:xfrm>
            <a:off x="1321705" y="1920430"/>
            <a:ext cx="4115496" cy="4068000"/>
          </a:xfrm>
          <a:prstGeom prst="rect">
            <a:avLst/>
          </a:prstGeom>
        </p:spPr>
        <p:txBody>
          <a:bodyPr vert="horz" lIns="0" tIns="0" rIns="0" bIns="0" rtlCol="0">
            <a:normAutofit fontScale="92500" lnSpcReduction="20000"/>
          </a:bodyPr>
          <a:lstStyle>
            <a:lvl1pPr marL="216000" indent="-216000" algn="l" defTabSz="914400" rtl="0" eaLnBrk="1" latinLnBrk="0" hangingPunct="1">
              <a:lnSpc>
                <a:spcPct val="117000"/>
              </a:lnSpc>
              <a:spcBef>
                <a:spcPts val="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000" indent="-180000" algn="l" defTabSz="914400" rtl="0" eaLnBrk="1" latinLnBrk="0" hangingPunct="1">
              <a:lnSpc>
                <a:spcPct val="117000"/>
              </a:lnSpc>
              <a:spcBef>
                <a:spcPts val="0"/>
              </a:spcBef>
              <a:buClr>
                <a:schemeClr val="accent1"/>
              </a:buClr>
              <a:buFont typeface="Arial" panose="020B0604020202020204" pitchFamily="34" charset="0"/>
              <a:buChar char="-"/>
              <a:defRPr sz="1800" kern="1200" baseline="0">
                <a:solidFill>
                  <a:schemeClr val="tx1"/>
                </a:solidFill>
                <a:latin typeface="+mn-lt"/>
                <a:ea typeface="+mn-ea"/>
                <a:cs typeface="+mn-cs"/>
              </a:defRPr>
            </a:lvl2pPr>
            <a:lvl3pPr marL="180000" indent="-180000" algn="l" defTabSz="914400" rtl="0" eaLnBrk="1" latinLnBrk="0" hangingPunct="1">
              <a:lnSpc>
                <a:spcPct val="117000"/>
              </a:lnSpc>
              <a:spcBef>
                <a:spcPts val="2500"/>
              </a:spcBef>
              <a:buClr>
                <a:schemeClr val="accent1"/>
              </a:buClr>
              <a:buFont typeface="Arial" panose="020B0604020202020204" pitchFamily="34" charset="0"/>
              <a:buChar char="•"/>
              <a:defRPr sz="1800" kern="1200" baseline="0">
                <a:solidFill>
                  <a:schemeClr val="tx1"/>
                </a:solidFill>
                <a:latin typeface="+mn-lt"/>
                <a:ea typeface="+mn-ea"/>
                <a:cs typeface="+mn-cs"/>
              </a:defRPr>
            </a:lvl3pPr>
            <a:lvl4pPr marL="0" indent="0" algn="l" defTabSz="914400" rtl="0" eaLnBrk="1" latinLnBrk="0" hangingPunct="1">
              <a:lnSpc>
                <a:spcPct val="117000"/>
              </a:lnSpc>
              <a:spcBef>
                <a:spcPts val="0"/>
              </a:spcBef>
              <a:buFont typeface="Arial" panose="020B0604020202020204" pitchFamily="34" charset="0"/>
              <a:buNone/>
              <a:defRPr sz="1800" b="1" kern="1200">
                <a:solidFill>
                  <a:schemeClr val="tx1"/>
                </a:solidFill>
                <a:latin typeface="+mn-lt"/>
                <a:ea typeface="+mn-ea"/>
                <a:cs typeface="+mn-cs"/>
              </a:defRPr>
            </a:lvl4pPr>
            <a:lvl5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5pPr>
            <a:lvl6pPr marL="18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6pPr>
            <a:lvl7pPr marL="36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7pPr>
            <a:lvl8pPr marL="54000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8pPr>
            <a:lvl9pPr marL="0" indent="0" algn="l" defTabSz="914400" rtl="0" eaLnBrk="1" latinLnBrk="0" hangingPunct="1">
              <a:lnSpc>
                <a:spcPct val="117000"/>
              </a:lnSpc>
              <a:spcBef>
                <a:spcPts val="0"/>
              </a:spcBef>
              <a:buFont typeface="Arial" panose="020B0604020202020204" pitchFamily="34" charset="0"/>
              <a:buNone/>
              <a:defRPr sz="1800" kern="1200">
                <a:solidFill>
                  <a:schemeClr val="tx1"/>
                </a:solidFill>
                <a:latin typeface="+mn-lt"/>
                <a:ea typeface="+mn-ea"/>
                <a:cs typeface="+mn-cs"/>
              </a:defRPr>
            </a:lvl9pPr>
          </a:lstStyle>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endParaRPr kumimoji="0" lang="nl-NL" sz="1900" b="0" i="0" u="none" strike="noStrike" kern="1200" cap="none" spc="0" normalizeH="0" baseline="0" noProof="0" dirty="0">
              <a:ln>
                <a:noFill/>
              </a:ln>
              <a:solidFill>
                <a:srgbClr val="000000"/>
              </a:solidFill>
              <a:effectLst/>
              <a:uLnTx/>
              <a:uFillTx/>
              <a:latin typeface="Arial"/>
              <a:ea typeface="+mn-ea"/>
              <a:cs typeface="+mn-cs"/>
            </a:endParaRPr>
          </a:p>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r>
              <a:rPr kumimoji="0" lang="nl-NL" sz="1900" b="0" i="0" u="none" strike="noStrike" kern="1200" cap="none" spc="0" normalizeH="0" baseline="0" noProof="0" dirty="0">
                <a:ln>
                  <a:noFill/>
                </a:ln>
                <a:solidFill>
                  <a:srgbClr val="000000"/>
                </a:solidFill>
                <a:effectLst/>
                <a:uLnTx/>
                <a:uFillTx/>
                <a:latin typeface="Arial"/>
                <a:ea typeface="+mn-ea"/>
                <a:cs typeface="+mn-cs"/>
              </a:rPr>
              <a:t>Draagt bij aan het functioneren van mensen en de kwaliteit van leven.</a:t>
            </a:r>
          </a:p>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r>
              <a:rPr kumimoji="0" lang="nl-NL" sz="1900" b="0" i="0" u="none" strike="noStrike" kern="1200" cap="none" spc="0" normalizeH="0" baseline="0" noProof="0" dirty="0">
                <a:ln>
                  <a:noFill/>
                </a:ln>
                <a:solidFill>
                  <a:srgbClr val="000000"/>
                </a:solidFill>
                <a:effectLst/>
                <a:uLnTx/>
                <a:uFillTx/>
                <a:latin typeface="Arial"/>
                <a:ea typeface="+mn-ea"/>
                <a:cs typeface="+mn-cs"/>
              </a:rPr>
              <a:t>Komt samen met de patiënt tot stand. Zorgprofessional en patiënt beslissen samen over best passende behandeling.</a:t>
            </a:r>
          </a:p>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r>
              <a:rPr kumimoji="0" lang="nl-NL" sz="1900" b="0" i="0" u="none" strike="noStrike" kern="1200" cap="none" spc="0" normalizeH="0" baseline="0" noProof="0" dirty="0">
                <a:ln>
                  <a:noFill/>
                </a:ln>
                <a:solidFill>
                  <a:srgbClr val="000000"/>
                </a:solidFill>
                <a:effectLst/>
                <a:uLnTx/>
                <a:uFillTx/>
                <a:latin typeface="Arial"/>
                <a:ea typeface="+mn-ea"/>
                <a:cs typeface="+mn-cs"/>
              </a:rPr>
              <a:t>Juiste zorg op de juiste plek. Dichtbij waar het kan, op afstand als het moet bijvoorbeeld door het inzetten van digitale zorg.</a:t>
            </a:r>
          </a:p>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r>
              <a:rPr kumimoji="0" lang="nl-NL" sz="1900" b="0" i="0" u="none" strike="noStrike" kern="1200" cap="none" spc="0" normalizeH="0" baseline="0" noProof="0" dirty="0">
                <a:ln>
                  <a:noFill/>
                </a:ln>
                <a:solidFill>
                  <a:srgbClr val="000000"/>
                </a:solidFill>
                <a:effectLst/>
                <a:uLnTx/>
                <a:uFillTx/>
                <a:latin typeface="Arial"/>
                <a:ea typeface="+mn-ea"/>
                <a:cs typeface="+mn-cs"/>
              </a:rPr>
              <a:t>Gaat niet over ziekte, maar over gezondheid; kijken naar wat iemand nog wél kan. Inzetten op preventie en vernieuwing.</a:t>
            </a:r>
            <a:r>
              <a:rPr kumimoji="0" lang="nl-NL" sz="1500" b="0" i="0" u="none" strike="noStrike" kern="1200" cap="none" spc="0" normalizeH="0" baseline="0" noProof="0" dirty="0">
                <a:ln>
                  <a:noFill/>
                </a:ln>
                <a:solidFill>
                  <a:srgbClr val="000000"/>
                </a:solidFill>
                <a:effectLst/>
                <a:uLnTx/>
                <a:uFillTx/>
                <a:latin typeface="Arial"/>
                <a:ea typeface="+mn-ea"/>
                <a:cs typeface="+mn-cs"/>
              </a:rPr>
              <a:t> </a:t>
            </a:r>
          </a:p>
          <a:p>
            <a:pPr marL="216000" marR="0" lvl="0" indent="-216000" algn="l" defTabSz="914400" rtl="0" eaLnBrk="1" fontAlgn="auto" latinLnBrk="0" hangingPunct="1">
              <a:lnSpc>
                <a:spcPct val="107000"/>
              </a:lnSpc>
              <a:spcBef>
                <a:spcPts val="0"/>
              </a:spcBef>
              <a:spcAft>
                <a:spcPts val="600"/>
              </a:spcAft>
              <a:buClr>
                <a:srgbClr val="9E145C"/>
              </a:buClr>
              <a:buSzTx/>
              <a:buFont typeface="Arial" panose="020B0604020202020204" pitchFamily="34" charset="0"/>
              <a:buChar char="•"/>
              <a:tabLst/>
              <a:defRPr/>
            </a:pPr>
            <a:endParaRPr kumimoji="0" lang="nl-NL"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jdelijke aanduiding voor dianummer 1">
            <a:extLst>
              <a:ext uri="{FF2B5EF4-FFF2-40B4-BE49-F238E27FC236}">
                <a16:creationId xmlns:a16="http://schemas.microsoft.com/office/drawing/2014/main" id="{40AE59C0-B0AE-2941-8DA9-5827627D7C60}"/>
              </a:ext>
            </a:extLst>
          </p:cNvPr>
          <p:cNvSpPr>
            <a:spLocks noGrp="1"/>
          </p:cNvSpPr>
          <p:nvPr>
            <p:ph type="sldNum" sz="quarter" idx="12"/>
          </p:nvPr>
        </p:nvSpPr>
        <p:spPr>
          <a:xfrm>
            <a:off x="11479546" y="6382477"/>
            <a:ext cx="388800" cy="252000"/>
          </a:xfrm>
        </p:spPr>
        <p:txBody>
          <a:bodyPr vert="horz" lIns="0" tIns="0" rIns="0" bIns="0" rtlCol="0" anchor="t">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0</a:t>
            </a:fld>
            <a:endParaRPr kumimoji="0" lang="nl-NL" sz="800" b="0" i="0" u="none" strike="noStrike" kern="1200" cap="none" spc="0" normalizeH="0" baseline="0" noProof="0">
              <a:ln>
                <a:noFill/>
              </a:ln>
              <a:solidFill>
                <a:srgbClr val="28348B"/>
              </a:solidFill>
              <a:effectLst/>
              <a:uLnTx/>
              <a:uFillTx/>
              <a:latin typeface="Arial"/>
              <a:ea typeface="+mn-ea"/>
              <a:cs typeface="+mn-cs"/>
            </a:endParaRPr>
          </a:p>
        </p:txBody>
      </p:sp>
      <p:pic>
        <p:nvPicPr>
          <p:cNvPr id="10" name="Afbeelding 9">
            <a:extLst>
              <a:ext uri="{FF2B5EF4-FFF2-40B4-BE49-F238E27FC236}">
                <a16:creationId xmlns:a16="http://schemas.microsoft.com/office/drawing/2014/main" id="{FF563DD0-025D-7A41-BF47-81768C9826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5706" y="1269136"/>
            <a:ext cx="4525429" cy="4319728"/>
          </a:xfrm>
          <a:prstGeom prst="rect">
            <a:avLst/>
          </a:prstGeom>
        </p:spPr>
      </p:pic>
      <p:pic>
        <p:nvPicPr>
          <p:cNvPr id="5" name="Afbeelding 4"/>
          <p:cNvPicPr>
            <a:picLocks noChangeAspect="1"/>
          </p:cNvPicPr>
          <p:nvPr/>
        </p:nvPicPr>
        <p:blipFill>
          <a:blip r:embed="rId4"/>
          <a:stretch>
            <a:fillRect/>
          </a:stretch>
        </p:blipFill>
        <p:spPr>
          <a:xfrm>
            <a:off x="6647380" y="1"/>
            <a:ext cx="4832166" cy="6858000"/>
          </a:xfrm>
          <a:prstGeom prst="rect">
            <a:avLst/>
          </a:prstGeom>
          <a:ln>
            <a:solidFill>
              <a:schemeClr val="accent1"/>
            </a:solidFill>
          </a:ln>
          <a:effectLst>
            <a:softEdge rad="0"/>
          </a:effectLst>
        </p:spPr>
      </p:pic>
    </p:spTree>
    <p:extLst>
      <p:ext uri="{BB962C8B-B14F-4D97-AF65-F5344CB8AC3E}">
        <p14:creationId xmlns:p14="http://schemas.microsoft.com/office/powerpoint/2010/main" val="38975759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1321706" y="564614"/>
            <a:ext cx="7719552" cy="1080000"/>
          </a:xfrm>
        </p:spPr>
        <p:txBody>
          <a:bodyPr/>
          <a:lstStyle/>
          <a:p>
            <a:r>
              <a:rPr lang="nl-NL" sz="2800" dirty="0"/>
              <a:t>Hoe innovatie bijdraagt aan passende zorg</a:t>
            </a:r>
          </a:p>
        </p:txBody>
      </p:sp>
      <p:sp>
        <p:nvSpPr>
          <p:cNvPr id="9" name="Tijdelijke aanduiding voor tekst 8"/>
          <p:cNvSpPr>
            <a:spLocks noGrp="1"/>
          </p:cNvSpPr>
          <p:nvPr>
            <p:ph type="body" sz="quarter" idx="13"/>
          </p:nvPr>
        </p:nvSpPr>
        <p:spPr>
          <a:xfrm>
            <a:off x="1321705" y="1468367"/>
            <a:ext cx="4627032" cy="4068000"/>
          </a:xfrm>
        </p:spPr>
        <p:txBody>
          <a:bodyPr/>
          <a:lstStyle/>
          <a:p>
            <a:pPr marL="0" indent="0">
              <a:buNone/>
            </a:pPr>
            <a:r>
              <a:rPr lang="nl-NL" dirty="0"/>
              <a:t>Innovatie is van toepassing op alle 4 principes van passende zorg. </a:t>
            </a:r>
          </a:p>
          <a:p>
            <a:pPr marL="0" indent="0">
              <a:buNone/>
            </a:pPr>
            <a:endParaRPr lang="nl-NL" dirty="0"/>
          </a:p>
          <a:p>
            <a:pPr marL="0" indent="0">
              <a:buNone/>
            </a:pPr>
            <a:r>
              <a:rPr lang="nl-NL" dirty="0"/>
              <a:t>Wanneer onze regelgeving zorgvernieuwing niet of onvoldoende faciliteert, passen wij regelgeving aan om passende zorg te stimuleren. </a:t>
            </a:r>
          </a:p>
          <a:p>
            <a:pPr marL="0" indent="0">
              <a:buNone/>
            </a:pPr>
            <a:endParaRPr lang="nl-NL" dirty="0"/>
          </a:p>
          <a:p>
            <a:pPr marL="0" indent="0">
              <a:buNone/>
            </a:pPr>
            <a:endParaRPr lang="nl-NL" dirty="0"/>
          </a:p>
          <a:p>
            <a:endParaRPr lang="nl-NL" dirty="0"/>
          </a:p>
        </p:txBody>
      </p:sp>
      <p:sp>
        <p:nvSpPr>
          <p:cNvPr id="4" name="Tijdelijke aanduiding voor dia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pic>
        <p:nvPicPr>
          <p:cNvPr id="11" name="Afbeelding 10"/>
          <p:cNvPicPr>
            <a:picLocks noChangeAspect="1"/>
          </p:cNvPicPr>
          <p:nvPr/>
        </p:nvPicPr>
        <p:blipFill>
          <a:blip r:embed="rId3"/>
          <a:stretch>
            <a:fillRect/>
          </a:stretch>
        </p:blipFill>
        <p:spPr>
          <a:xfrm>
            <a:off x="6509398" y="1694065"/>
            <a:ext cx="5523334" cy="3616603"/>
          </a:xfrm>
          <a:prstGeom prst="rect">
            <a:avLst/>
          </a:prstGeom>
        </p:spPr>
      </p:pic>
    </p:spTree>
    <p:extLst>
      <p:ext uri="{BB962C8B-B14F-4D97-AF65-F5344CB8AC3E}">
        <p14:creationId xmlns:p14="http://schemas.microsoft.com/office/powerpoint/2010/main" val="1755694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sz="2800" dirty="0"/>
              <a:t>Innovatie in de medisch specialistische zorg</a:t>
            </a:r>
          </a:p>
        </p:txBody>
      </p:sp>
      <p:sp>
        <p:nvSpPr>
          <p:cNvPr id="8" name="Tijdelijke aanduiding voor tekst 7"/>
          <p:cNvSpPr>
            <a:spLocks noGrp="1"/>
          </p:cNvSpPr>
          <p:nvPr>
            <p:ph type="body" sz="quarter" idx="14"/>
          </p:nvPr>
        </p:nvSpPr>
        <p:spPr>
          <a:xfrm>
            <a:off x="1321707" y="1541124"/>
            <a:ext cx="9648000" cy="4344564"/>
          </a:xfrm>
        </p:spPr>
        <p:txBody>
          <a:bodyPr/>
          <a:lstStyle/>
          <a:p>
            <a:pPr marL="0" indent="0">
              <a:buNone/>
            </a:pPr>
            <a:r>
              <a:rPr lang="nl-NL" dirty="0"/>
              <a:t>In onze regelgeving is er al veel ruimte voor innovatie </a:t>
            </a:r>
          </a:p>
          <a:p>
            <a:r>
              <a:rPr lang="nl-NL" dirty="0"/>
              <a:t>Vrije en max-max tarieven</a:t>
            </a:r>
          </a:p>
          <a:p>
            <a:r>
              <a:rPr lang="nl-NL" dirty="0"/>
              <a:t>Ruim omschreven prestatiebeschrijvingen </a:t>
            </a:r>
          </a:p>
          <a:p>
            <a:endParaRPr lang="nl-NL" dirty="0"/>
          </a:p>
          <a:p>
            <a:pPr marL="0" indent="0">
              <a:buNone/>
            </a:pPr>
            <a:r>
              <a:rPr lang="nl-NL" dirty="0"/>
              <a:t>Wanneer innovatieve zorg níet te bekostigen is in onze regelgeving (dbc’s en </a:t>
            </a:r>
            <a:r>
              <a:rPr lang="nl-NL" dirty="0" err="1"/>
              <a:t>ozp’s</a:t>
            </a:r>
            <a:r>
              <a:rPr lang="nl-NL" dirty="0"/>
              <a:t>) </a:t>
            </a:r>
          </a:p>
          <a:p>
            <a:r>
              <a:rPr lang="nl-NL" dirty="0"/>
              <a:t>Facultatieve prestatie (</a:t>
            </a:r>
            <a:r>
              <a:rPr lang="nl-NL" dirty="0" err="1"/>
              <a:t>fp</a:t>
            </a:r>
            <a:r>
              <a:rPr lang="nl-NL" dirty="0"/>
              <a:t>)</a:t>
            </a:r>
          </a:p>
          <a:p>
            <a:r>
              <a:rPr lang="nl-NL" dirty="0"/>
              <a:t>Beleidsregel Innovatie voor kleinschalige experimenten (BR/REG-19158)</a:t>
            </a:r>
          </a:p>
          <a:p>
            <a:pPr marL="0" indent="0">
              <a:buNone/>
            </a:pPr>
            <a:endParaRPr lang="nl-NL" dirty="0"/>
          </a:p>
        </p:txBody>
      </p:sp>
      <p:sp>
        <p:nvSpPr>
          <p:cNvPr id="5" name="Tijdelijke aanduiding voor dia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sp>
        <p:nvSpPr>
          <p:cNvPr id="2" name="Afgeronde rechthoek 1"/>
          <p:cNvSpPr/>
          <p:nvPr/>
        </p:nvSpPr>
        <p:spPr>
          <a:xfrm>
            <a:off x="6103062" y="4122878"/>
            <a:ext cx="4498321" cy="9731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BR Innovatie: tijdelijke betaaltitel, met onderzoekscomponent naar prijs/kwaliteitsverbetering (tussen- en eindevaluati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Uiteindelijk doel is landelijke betaaltitel. </a:t>
            </a:r>
          </a:p>
        </p:txBody>
      </p:sp>
      <p:sp>
        <p:nvSpPr>
          <p:cNvPr id="7" name="Afgeronde rechthoek 6"/>
          <p:cNvSpPr/>
          <p:nvPr/>
        </p:nvSpPr>
        <p:spPr>
          <a:xfrm>
            <a:off x="1463224" y="4122878"/>
            <a:ext cx="4498321" cy="9731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err="1">
                <a:ln>
                  <a:noFill/>
                </a:ln>
                <a:solidFill>
                  <a:srgbClr val="000000"/>
                </a:solidFill>
                <a:effectLst/>
                <a:uLnTx/>
                <a:uFillTx/>
                <a:latin typeface="Arial"/>
                <a:ea typeface="+mn-ea"/>
                <a:cs typeface="+mn-cs"/>
              </a:rPr>
              <a:t>Fp</a:t>
            </a:r>
            <a:r>
              <a:rPr kumimoji="0" lang="nl-NL" sz="1400" b="0" i="0" u="none" strike="noStrike" kern="1200" cap="none" spc="0" normalizeH="0" baseline="0" noProof="0" dirty="0">
                <a:ln>
                  <a:noFill/>
                </a:ln>
                <a:solidFill>
                  <a:srgbClr val="000000"/>
                </a:solidFill>
                <a:effectLst/>
                <a:uLnTx/>
                <a:uFillTx/>
                <a:latin typeface="Arial"/>
                <a:ea typeface="+mn-ea"/>
                <a:cs typeface="+mn-cs"/>
              </a:rPr>
              <a:t>: oplossing voor lokale knelpunten</a:t>
            </a:r>
          </a:p>
        </p:txBody>
      </p:sp>
      <p:sp>
        <p:nvSpPr>
          <p:cNvPr id="9" name="Afgeronde rechthoek 8"/>
          <p:cNvSpPr/>
          <p:nvPr/>
        </p:nvSpPr>
        <p:spPr>
          <a:xfrm>
            <a:off x="1463224" y="5204493"/>
            <a:ext cx="9138159" cy="160454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Bij beide mogelijkheden: </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vragen zorgverzekeraar en zorgaanbieder de prestatie aan </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moet de zorg al bewezen effectief zijn (SW&amp;P, vergoeding uit </a:t>
            </a:r>
            <a:r>
              <a:rPr kumimoji="0" lang="nl-NL" sz="1400" b="0" i="0" u="none" strike="noStrike" kern="1200" cap="none" spc="0" normalizeH="0" baseline="0" noProof="0" dirty="0" err="1">
                <a:ln>
                  <a:noFill/>
                </a:ln>
                <a:solidFill>
                  <a:srgbClr val="000000"/>
                </a:solidFill>
                <a:effectLst/>
                <a:uLnTx/>
                <a:uFillTx/>
                <a:latin typeface="Arial"/>
                <a:ea typeface="+mn-ea"/>
                <a:cs typeface="+mn-cs"/>
              </a:rPr>
              <a:t>Zvw</a:t>
            </a:r>
            <a:r>
              <a:rPr kumimoji="0" lang="nl-NL" sz="1400" b="0" i="0" u="none" strike="noStrike" kern="1200" cap="none" spc="0" normalizeH="0" baseline="0" noProof="0" dirty="0">
                <a:ln>
                  <a:noFill/>
                </a:ln>
                <a:solidFill>
                  <a:srgbClr val="000000"/>
                </a:solidFill>
                <a:effectLst/>
                <a:uLnTx/>
                <a:uFillTx/>
                <a:latin typeface="Arial"/>
                <a:ea typeface="+mn-ea"/>
                <a:cs typeface="+mn-cs"/>
              </a:rPr>
              <a:t>)</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heeft de prestatie een vrij tarief</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is er een minimale toetsing door de NZa</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0000"/>
                </a:solidFill>
                <a:effectLst/>
                <a:uLnTx/>
                <a:uFillTx/>
                <a:latin typeface="Arial"/>
                <a:ea typeface="+mn-ea"/>
                <a:cs typeface="+mn-cs"/>
              </a:rPr>
              <a:t>bestaat de mogelijkheid voor andere zorgaanbieders en zorgverzekeraars om gebruik te maken van de prestatie (ziet er bij beide wel iets anders uit). Dit is dus geen verplichting! </a:t>
            </a:r>
          </a:p>
        </p:txBody>
      </p:sp>
      <p:cxnSp>
        <p:nvCxnSpPr>
          <p:cNvPr id="4" name="Gekromde verbindingslijn 3"/>
          <p:cNvCxnSpPr>
            <a:endCxn id="7" idx="1"/>
          </p:cNvCxnSpPr>
          <p:nvPr/>
        </p:nvCxnSpPr>
        <p:spPr>
          <a:xfrm rot="16200000" flipH="1">
            <a:off x="757302" y="3903507"/>
            <a:ext cx="1270329" cy="141516"/>
          </a:xfrm>
          <a:prstGeom prst="curvedConnector2">
            <a:avLst/>
          </a:prstGeom>
          <a:ln>
            <a:tailEnd type="triangle"/>
          </a:ln>
        </p:spPr>
        <p:style>
          <a:lnRef idx="2">
            <a:schemeClr val="dk1"/>
          </a:lnRef>
          <a:fillRef idx="0">
            <a:schemeClr val="dk1"/>
          </a:fillRef>
          <a:effectRef idx="1">
            <a:schemeClr val="dk1"/>
          </a:effectRef>
          <a:fontRef idx="minor">
            <a:schemeClr val="tx1"/>
          </a:fontRef>
        </p:style>
      </p:cxnSp>
      <p:cxnSp>
        <p:nvCxnSpPr>
          <p:cNvPr id="14" name="Gekromde verbindingslijn 13"/>
          <p:cNvCxnSpPr/>
          <p:nvPr/>
        </p:nvCxnSpPr>
        <p:spPr>
          <a:xfrm rot="16200000" flipH="1">
            <a:off x="8921638" y="3695032"/>
            <a:ext cx="434452" cy="421237"/>
          </a:xfrm>
          <a:prstGeom prst="curvedConnector3">
            <a:avLst>
              <a:gd name="adj1" fmla="val 50000"/>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630799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pic>
        <p:nvPicPr>
          <p:cNvPr id="8" name="Afbeelding 7">
            <a:hlinkClick r:id="rId2"/>
          </p:cNvPr>
          <p:cNvPicPr>
            <a:picLocks noChangeAspect="1"/>
          </p:cNvPicPr>
          <p:nvPr/>
        </p:nvPicPr>
        <p:blipFill>
          <a:blip r:embed="rId3"/>
          <a:stretch>
            <a:fillRect/>
          </a:stretch>
        </p:blipFill>
        <p:spPr>
          <a:xfrm>
            <a:off x="2323573" y="94784"/>
            <a:ext cx="7544853" cy="6668431"/>
          </a:xfrm>
          <a:prstGeom prst="rect">
            <a:avLst/>
          </a:prstGeom>
        </p:spPr>
      </p:pic>
    </p:spTree>
    <p:extLst>
      <p:ext uri="{BB962C8B-B14F-4D97-AF65-F5344CB8AC3E}">
        <p14:creationId xmlns:p14="http://schemas.microsoft.com/office/powerpoint/2010/main" val="39674601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tekst 10"/>
          <p:cNvSpPr>
            <a:spLocks noGrp="1"/>
          </p:cNvSpPr>
          <p:nvPr>
            <p:ph type="body" sz="quarter" idx="13"/>
          </p:nvPr>
        </p:nvSpPr>
        <p:spPr>
          <a:xfrm>
            <a:off x="2397273" y="1573619"/>
            <a:ext cx="7225193" cy="4934858"/>
          </a:xfrm>
        </p:spPr>
        <p:txBody>
          <a:bodyPr/>
          <a:lstStyle/>
          <a:p>
            <a:pPr marL="0" indent="0">
              <a:buNone/>
            </a:pPr>
            <a:endParaRPr lang="nl-NL" dirty="0"/>
          </a:p>
          <a:p>
            <a:pPr marL="0" indent="0">
              <a:buNone/>
            </a:pPr>
            <a:endParaRPr lang="nl-NL" dirty="0"/>
          </a:p>
          <a:p>
            <a:pPr marL="0" indent="0">
              <a:buNone/>
            </a:pPr>
            <a:r>
              <a:rPr lang="nl-NL" dirty="0"/>
              <a:t>www.nza.nl/onderwerpen/innovatie </a:t>
            </a:r>
            <a:r>
              <a:rPr lang="nl-NL" i="1" dirty="0"/>
              <a:t>&gt; zie de wegwijzers</a:t>
            </a:r>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r>
              <a:rPr lang="nl-NL" dirty="0"/>
              <a:t>www.zorgvoorinnoveren.nl</a:t>
            </a:r>
          </a:p>
        </p:txBody>
      </p:sp>
      <p:sp>
        <p:nvSpPr>
          <p:cNvPr id="5" name="Tijdelijke aanduiding voor dia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18802B-E4C7-4B2D-B37A-6B7CC3C134EA}" type="slidenum">
              <a:rPr kumimoji="0" lang="nl-NL" sz="800" b="0" i="0" u="none" strike="noStrike" kern="1200" cap="none" spc="0" normalizeH="0" baseline="0" noProof="0" smtClean="0">
                <a:ln>
                  <a:noFill/>
                </a:ln>
                <a:solidFill>
                  <a:srgbClr val="28348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l-NL" sz="800" b="0" i="0" u="none" strike="noStrike" kern="1200" cap="none" spc="0" normalizeH="0" baseline="0" noProof="0" dirty="0">
              <a:ln>
                <a:noFill/>
              </a:ln>
              <a:solidFill>
                <a:srgbClr val="28348B"/>
              </a:solidFill>
              <a:effectLst/>
              <a:uLnTx/>
              <a:uFillTx/>
              <a:latin typeface="Arial"/>
              <a:ea typeface="+mn-ea"/>
              <a:cs typeface="+mn-cs"/>
            </a:endParaRPr>
          </a:p>
        </p:txBody>
      </p:sp>
      <p:pic>
        <p:nvPicPr>
          <p:cNvPr id="13" name="Afbeelding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5469" y="1793049"/>
            <a:ext cx="1349206" cy="1173434"/>
          </a:xfrm>
          <a:prstGeom prst="rect">
            <a:avLst/>
          </a:prstGeom>
        </p:spPr>
      </p:pic>
      <p:pic>
        <p:nvPicPr>
          <p:cNvPr id="14" name="Afbeelding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17" y="3929699"/>
            <a:ext cx="1492310" cy="706600"/>
          </a:xfrm>
          <a:prstGeom prst="rect">
            <a:avLst/>
          </a:prstGeom>
        </p:spPr>
      </p:pic>
      <p:pic>
        <p:nvPicPr>
          <p:cNvPr id="15" name="Afbeelding 14">
            <a:hlinkClick r:id="rId4"/>
          </p:cNvPr>
          <p:cNvPicPr>
            <a:picLocks noChangeAspect="1"/>
          </p:cNvPicPr>
          <p:nvPr/>
        </p:nvPicPr>
        <p:blipFill>
          <a:blip r:embed="rId5"/>
          <a:stretch>
            <a:fillRect/>
          </a:stretch>
        </p:blipFill>
        <p:spPr>
          <a:xfrm>
            <a:off x="8518759" y="1495918"/>
            <a:ext cx="3155187" cy="1767695"/>
          </a:xfrm>
          <a:prstGeom prst="rect">
            <a:avLst/>
          </a:prstGeom>
        </p:spPr>
      </p:pic>
    </p:spTree>
    <p:extLst>
      <p:ext uri="{BB962C8B-B14F-4D97-AF65-F5344CB8AC3E}">
        <p14:creationId xmlns:p14="http://schemas.microsoft.com/office/powerpoint/2010/main" val="2969755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E6A6EDF2-DBA8-7A9F-528B-18B34B676A61}"/>
              </a:ext>
            </a:extLst>
          </p:cNvPr>
          <p:cNvSpPr>
            <a:spLocks noGrp="1"/>
          </p:cNvSpPr>
          <p:nvPr>
            <p:ph type="title"/>
          </p:nvPr>
        </p:nvSpPr>
        <p:spPr>
          <a:xfrm>
            <a:off x="1676400" y="2720975"/>
            <a:ext cx="10515600" cy="1009651"/>
          </a:xfrm>
        </p:spPr>
        <p:txBody>
          <a:bodyPr anchor="t">
            <a:normAutofit/>
          </a:bodyPr>
          <a:lstStyle/>
          <a:p>
            <a:pPr marL="0" indent="0">
              <a:buNone/>
            </a:pPr>
            <a:r>
              <a:rPr lang="nl-NL" sz="4800" dirty="0"/>
              <a:t>Tijd voor vragen en dialoog</a:t>
            </a:r>
          </a:p>
        </p:txBody>
      </p:sp>
      <p:pic>
        <p:nvPicPr>
          <p:cNvPr id="1026" name="Picture 2" descr="Programma Tijd voor Verbinding">
            <a:extLst>
              <a:ext uri="{FF2B5EF4-FFF2-40B4-BE49-F238E27FC236}">
                <a16:creationId xmlns:a16="http://schemas.microsoft.com/office/drawing/2014/main" id="{89921336-A2FD-9861-1299-4DFABAA4B40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98260" y="4572000"/>
            <a:ext cx="5969915" cy="2286000"/>
          </a:xfrm>
          <a:prstGeom prst="rect">
            <a:avLst/>
          </a:prstGeom>
          <a:solidFill>
            <a:srgbClr val="FFFFFF"/>
          </a:solidFill>
        </p:spPr>
      </p:pic>
    </p:spTree>
    <p:extLst>
      <p:ext uri="{BB962C8B-B14F-4D97-AF65-F5344CB8AC3E}">
        <p14:creationId xmlns:p14="http://schemas.microsoft.com/office/powerpoint/2010/main" val="6065004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p:cNvSpPr txBox="1"/>
          <p:nvPr/>
        </p:nvSpPr>
        <p:spPr>
          <a:xfrm>
            <a:off x="1797299" y="342301"/>
            <a:ext cx="84969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3200" b="1" i="0" u="none" strike="noStrike" kern="1200" cap="none" spc="0" normalizeH="0" baseline="0" noProof="0" dirty="0">
                <a:ln>
                  <a:noFill/>
                </a:ln>
                <a:solidFill>
                  <a:srgbClr val="002060"/>
                </a:solidFill>
                <a:effectLst/>
                <a:uLnTx/>
                <a:uFillTx/>
                <a:latin typeface="Calibri Light" panose="020F0302020204030204"/>
                <a:ea typeface="+mn-ea"/>
                <a:cs typeface="+mn-cs"/>
              </a:rPr>
              <a:t>Veroudering in Europa</a:t>
            </a:r>
          </a:p>
        </p:txBody>
      </p:sp>
      <p:pic>
        <p:nvPicPr>
          <p:cNvPr id="1028" name="Picture 4" descr="Fig. 2. Proportion of population aged 65 years and over in Europe,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4700" y="1196753"/>
            <a:ext cx="5849146" cy="4955009"/>
          </a:xfrm>
          <a:prstGeom prst="rect">
            <a:avLst/>
          </a:prstGeom>
          <a:noFill/>
          <a:ln>
            <a:solidFill>
              <a:srgbClr val="FFC000"/>
            </a:solidFill>
          </a:ln>
          <a:extLst>
            <a:ext uri="{909E8E84-426E-40DD-AFC4-6F175D3DCCD1}">
              <a14:hiddenFill xmlns:a14="http://schemas.microsoft.com/office/drawing/2010/main">
                <a:solidFill>
                  <a:srgbClr val="FFFFFF"/>
                </a:solidFill>
              </a14:hiddenFill>
            </a:ext>
          </a:extLst>
        </p:spPr>
      </p:pic>
      <p:sp>
        <p:nvSpPr>
          <p:cNvPr id="3" name="Rechthoek 2"/>
          <p:cNvSpPr/>
          <p:nvPr/>
        </p:nvSpPr>
        <p:spPr>
          <a:xfrm>
            <a:off x="1797299" y="6480909"/>
            <a:ext cx="7789952"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Time-space differences of population ageing in Europe, Marcela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Káčerová</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Jana </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Ondačková</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2014, </a:t>
            </a:r>
            <a:r>
              <a:rPr kumimoji="0" lang="nl-NL" sz="1100" b="0" i="0" u="none" strike="noStrike" kern="1200" cap="none" spc="0" normalizeH="0" baseline="0" noProof="0" dirty="0" err="1">
                <a:ln>
                  <a:noFill/>
                </a:ln>
                <a:solidFill>
                  <a:prstClr val="black"/>
                </a:solidFill>
                <a:effectLst/>
                <a:uLnTx/>
                <a:uFillTx/>
                <a:latin typeface="Calibri" panose="020F0502020204030204"/>
                <a:ea typeface="+mn-ea"/>
                <a:cs typeface="+mn-cs"/>
              </a:rPr>
              <a:t>Hungarian</a:t>
            </a:r>
            <a:r>
              <a:rPr kumimoji="0" lang="nl-NL"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nl-NL" sz="1100" b="0" i="0" u="none" strike="noStrike" kern="1200" cap="none" spc="0" normalizeH="0" baseline="0" noProof="0" dirty="0" err="1">
                <a:ln>
                  <a:noFill/>
                </a:ln>
                <a:solidFill>
                  <a:prstClr val="black"/>
                </a:solidFill>
                <a:effectLst/>
                <a:uLnTx/>
                <a:uFillTx/>
                <a:latin typeface="Calibri" panose="020F0502020204030204"/>
                <a:ea typeface="+mn-ea"/>
                <a:cs typeface="+mn-cs"/>
              </a:rPr>
              <a:t>geographical</a:t>
            </a:r>
            <a:r>
              <a:rPr kumimoji="0" lang="nl-NL" sz="1100" b="0" i="0" u="none" strike="noStrike" kern="1200" cap="none" spc="0" normalizeH="0" baseline="0" noProof="0" dirty="0">
                <a:ln>
                  <a:noFill/>
                </a:ln>
                <a:solidFill>
                  <a:prstClr val="black"/>
                </a:solidFill>
                <a:effectLst/>
                <a:uLnTx/>
                <a:uFillTx/>
                <a:latin typeface="Calibri" panose="020F0502020204030204"/>
                <a:ea typeface="+mn-ea"/>
                <a:cs typeface="+mn-cs"/>
              </a:rPr>
              <a:t> bulletin</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417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803CA542-CD16-46B6-B580-FCD415FC8593}"/>
              </a:ext>
            </a:extLst>
          </p:cNvPr>
          <p:cNvPicPr>
            <a:picLocks noChangeAspect="1"/>
          </p:cNvPicPr>
          <p:nvPr/>
        </p:nvPicPr>
        <p:blipFill>
          <a:blip r:embed="rId2"/>
          <a:stretch>
            <a:fillRect/>
          </a:stretch>
        </p:blipFill>
        <p:spPr>
          <a:xfrm>
            <a:off x="2565400" y="401354"/>
            <a:ext cx="6602970" cy="5453345"/>
          </a:xfrm>
          <a:prstGeom prst="rect">
            <a:avLst/>
          </a:prstGeom>
        </p:spPr>
      </p:pic>
      <p:pic>
        <p:nvPicPr>
          <p:cNvPr id="4" name="Afbeelding 3">
            <a:extLst>
              <a:ext uri="{FF2B5EF4-FFF2-40B4-BE49-F238E27FC236}">
                <a16:creationId xmlns:a16="http://schemas.microsoft.com/office/drawing/2014/main" id="{DD301190-13F8-8083-4DC0-8B14EFDA456B}"/>
              </a:ext>
            </a:extLst>
          </p:cNvPr>
          <p:cNvPicPr>
            <a:picLocks noChangeAspect="1"/>
          </p:cNvPicPr>
          <p:nvPr/>
        </p:nvPicPr>
        <p:blipFill>
          <a:blip r:embed="rId3"/>
          <a:stretch>
            <a:fillRect/>
          </a:stretch>
        </p:blipFill>
        <p:spPr>
          <a:xfrm>
            <a:off x="1775521" y="5602738"/>
            <a:ext cx="8839966" cy="1036410"/>
          </a:xfrm>
          <a:prstGeom prst="rect">
            <a:avLst/>
          </a:prstGeom>
        </p:spPr>
      </p:pic>
    </p:spTree>
    <p:extLst>
      <p:ext uri="{BB962C8B-B14F-4D97-AF65-F5344CB8AC3E}">
        <p14:creationId xmlns:p14="http://schemas.microsoft.com/office/powerpoint/2010/main" val="3629547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5" name="Picture 2" descr="http://2.bp.blogspot.com/-Iyqkv_VLaQ0/UeK7m8Rdz0I/AAAAAAAAC34/oG0Zha-I34g/s1600/kaartenhuis.png"/>
          <p:cNvPicPr>
            <a:picLocks noChangeAspect="1" noChangeArrowheads="1"/>
          </p:cNvPicPr>
          <p:nvPr/>
        </p:nvPicPr>
        <p:blipFill>
          <a:blip r:embed="rId2" cstate="print"/>
          <a:srcRect/>
          <a:stretch>
            <a:fillRect/>
          </a:stretch>
        </p:blipFill>
        <p:spPr bwMode="auto">
          <a:xfrm>
            <a:off x="3071813" y="332656"/>
            <a:ext cx="5481637" cy="5675313"/>
          </a:xfrm>
          <a:prstGeom prst="rect">
            <a:avLst/>
          </a:prstGeom>
          <a:noFill/>
          <a:ln w="9525">
            <a:noFill/>
            <a:miter lim="800000"/>
            <a:headEnd/>
            <a:tailEnd/>
          </a:ln>
        </p:spPr>
      </p:pic>
      <p:sp>
        <p:nvSpPr>
          <p:cNvPr id="2" name="Titel 1"/>
          <p:cNvSpPr>
            <a:spLocks noGrp="1"/>
          </p:cNvSpPr>
          <p:nvPr>
            <p:ph type="title"/>
          </p:nvPr>
        </p:nvSpPr>
        <p:spPr>
          <a:xfrm>
            <a:off x="1919537" y="332656"/>
            <a:ext cx="3128135" cy="1143000"/>
          </a:xfrm>
        </p:spPr>
        <p:txBody>
          <a:bodyPr>
            <a:normAutofit fontScale="90000"/>
          </a:bodyPr>
          <a:lstStyle/>
          <a:p>
            <a:r>
              <a:rPr lang="nl-NL" dirty="0"/>
              <a:t>Fit?					</a:t>
            </a:r>
          </a:p>
        </p:txBody>
      </p:sp>
      <p:pic>
        <p:nvPicPr>
          <p:cNvPr id="3" name="Afbeelding 2">
            <a:extLst>
              <a:ext uri="{FF2B5EF4-FFF2-40B4-BE49-F238E27FC236}">
                <a16:creationId xmlns:a16="http://schemas.microsoft.com/office/drawing/2014/main" id="{AF768800-821C-4051-87AC-609436C1649D}"/>
              </a:ext>
            </a:extLst>
          </p:cNvPr>
          <p:cNvPicPr>
            <a:picLocks noChangeAspect="1"/>
          </p:cNvPicPr>
          <p:nvPr/>
        </p:nvPicPr>
        <p:blipFill>
          <a:blip r:embed="rId3"/>
          <a:stretch>
            <a:fillRect/>
          </a:stretch>
        </p:blipFill>
        <p:spPr>
          <a:xfrm>
            <a:off x="1847467" y="5692095"/>
            <a:ext cx="8839966" cy="1036410"/>
          </a:xfrm>
          <a:prstGeom prst="rect">
            <a:avLst/>
          </a:prstGeom>
        </p:spPr>
      </p:pic>
    </p:spTree>
    <p:extLst>
      <p:ext uri="{BB962C8B-B14F-4D97-AF65-F5344CB8AC3E}">
        <p14:creationId xmlns:p14="http://schemas.microsoft.com/office/powerpoint/2010/main" val="449156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2249F172-DA24-4B09-AC53-12AAB5C64C87}"/>
              </a:ext>
            </a:extLst>
          </p:cNvPr>
          <p:cNvPicPr>
            <a:picLocks noChangeAspect="1"/>
          </p:cNvPicPr>
          <p:nvPr/>
        </p:nvPicPr>
        <p:blipFill>
          <a:blip r:embed="rId2"/>
          <a:stretch>
            <a:fillRect/>
          </a:stretch>
        </p:blipFill>
        <p:spPr>
          <a:xfrm>
            <a:off x="2045989" y="1983783"/>
            <a:ext cx="8469377" cy="3331404"/>
          </a:xfrm>
          <a:prstGeom prst="rect">
            <a:avLst/>
          </a:prstGeom>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8543" y="1547512"/>
            <a:ext cx="4448603" cy="349909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32711" t="13190" r="34577"/>
          <a:stretch/>
        </p:blipFill>
        <p:spPr bwMode="auto">
          <a:xfrm>
            <a:off x="6530970" y="456985"/>
            <a:ext cx="3210560" cy="568015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6" name="Groep 5">
            <a:extLst>
              <a:ext uri="{FF2B5EF4-FFF2-40B4-BE49-F238E27FC236}">
                <a16:creationId xmlns:a16="http://schemas.microsoft.com/office/drawing/2014/main" id="{D6CF4414-F952-435D-BB37-7C27C4B4C3A1}"/>
              </a:ext>
            </a:extLst>
          </p:cNvPr>
          <p:cNvGrpSpPr/>
          <p:nvPr/>
        </p:nvGrpSpPr>
        <p:grpSpPr>
          <a:xfrm>
            <a:off x="1676634" y="5733257"/>
            <a:ext cx="8838732" cy="1031781"/>
            <a:chOff x="152634" y="5733256"/>
            <a:chExt cx="8838732" cy="1031781"/>
          </a:xfrm>
        </p:grpSpPr>
        <p:pic>
          <p:nvPicPr>
            <p:cNvPr id="7" name="Afbeelding 6">
              <a:extLst>
                <a:ext uri="{FF2B5EF4-FFF2-40B4-BE49-F238E27FC236}">
                  <a16:creationId xmlns:a16="http://schemas.microsoft.com/office/drawing/2014/main" id="{FFE14FDC-385D-4125-91B6-733F3F05057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7530" y="5733256"/>
              <a:ext cx="773836" cy="1031781"/>
            </a:xfrm>
            <a:prstGeom prst="rect">
              <a:avLst/>
            </a:prstGeom>
          </p:spPr>
        </p:pic>
        <p:pic>
          <p:nvPicPr>
            <p:cNvPr id="8" name="Picture 4" descr="http://intranet.umcg.nl/huisstijl/images/Huisstijl/logoos/Logokortnaampluskikker.jpg">
              <a:extLst>
                <a:ext uri="{FF2B5EF4-FFF2-40B4-BE49-F238E27FC236}">
                  <a16:creationId xmlns:a16="http://schemas.microsoft.com/office/drawing/2014/main" id="{B6C14271-2F61-4B2A-8138-93E2F0A53D8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2634" y="5939154"/>
              <a:ext cx="1547664" cy="825883"/>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ep 8">
              <a:extLst>
                <a:ext uri="{FF2B5EF4-FFF2-40B4-BE49-F238E27FC236}">
                  <a16:creationId xmlns:a16="http://schemas.microsoft.com/office/drawing/2014/main" id="{590C0EBD-7666-4AFE-8A82-0CE3262D8C48}"/>
                </a:ext>
              </a:extLst>
            </p:cNvPr>
            <p:cNvGrpSpPr/>
            <p:nvPr/>
          </p:nvGrpSpPr>
          <p:grpSpPr>
            <a:xfrm>
              <a:off x="1723946" y="6306375"/>
              <a:ext cx="6520224" cy="45719"/>
              <a:chOff x="1723946" y="6306375"/>
              <a:chExt cx="6520224" cy="45719"/>
            </a:xfrm>
          </p:grpSpPr>
          <p:sp>
            <p:nvSpPr>
              <p:cNvPr id="10" name="Rechthoek 9">
                <a:extLst>
                  <a:ext uri="{FF2B5EF4-FFF2-40B4-BE49-F238E27FC236}">
                    <a16:creationId xmlns:a16="http://schemas.microsoft.com/office/drawing/2014/main" id="{C0F63C0D-754D-4347-A5DA-C87F7C863243}"/>
                  </a:ext>
                </a:extLst>
              </p:cNvPr>
              <p:cNvSpPr/>
              <p:nvPr/>
            </p:nvSpPr>
            <p:spPr>
              <a:xfrm flipV="1">
                <a:off x="1723946" y="6306375"/>
                <a:ext cx="2991832" cy="45719"/>
              </a:xfrm>
              <a:prstGeom prst="rect">
                <a:avLst/>
              </a:prstGeom>
              <a:solidFill>
                <a:srgbClr val="5D8BB8"/>
              </a:solidFill>
              <a:ln>
                <a:solidFill>
                  <a:srgbClr val="5D8B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 name="Rechte verbindingslijn 10">
                <a:extLst>
                  <a:ext uri="{FF2B5EF4-FFF2-40B4-BE49-F238E27FC236}">
                    <a16:creationId xmlns:a16="http://schemas.microsoft.com/office/drawing/2014/main" id="{9657A6E4-143E-4534-827A-7166D153076F}"/>
                  </a:ext>
                </a:extLst>
              </p:cNvPr>
              <p:cNvCxnSpPr>
                <a:cxnSpLocks/>
              </p:cNvCxnSpPr>
              <p:nvPr/>
            </p:nvCxnSpPr>
            <p:spPr>
              <a:xfrm>
                <a:off x="4715778" y="6320635"/>
                <a:ext cx="3528392" cy="22860"/>
              </a:xfrm>
              <a:prstGeom prst="line">
                <a:avLst/>
              </a:prstGeom>
              <a:ln>
                <a:solidFill>
                  <a:srgbClr val="5D8BB8"/>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94097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9"/>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980" y="5972888"/>
            <a:ext cx="817563" cy="81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1">
            <a:extLst>
              <a:ext uri="{FF2B5EF4-FFF2-40B4-BE49-F238E27FC236}">
                <a16:creationId xmlns:a16="http://schemas.microsoft.com/office/drawing/2014/main" id="{F4BEB23C-797B-455E-B8B3-B0FB9B4087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0726" y="5769773"/>
            <a:ext cx="77152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Afbeelding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8182" y="852458"/>
            <a:ext cx="5853711" cy="5343375"/>
          </a:xfrm>
          <a:prstGeom prst="rect">
            <a:avLst/>
          </a:prstGeom>
        </p:spPr>
      </p:pic>
      <p:sp>
        <p:nvSpPr>
          <p:cNvPr id="4" name="Titel 3"/>
          <p:cNvSpPr>
            <a:spLocks noGrp="1"/>
          </p:cNvSpPr>
          <p:nvPr>
            <p:ph type="title"/>
          </p:nvPr>
        </p:nvSpPr>
        <p:spPr>
          <a:xfrm>
            <a:off x="838200" y="171163"/>
            <a:ext cx="10515600" cy="1325563"/>
          </a:xfrm>
        </p:spPr>
        <p:txBody>
          <a:bodyPr/>
          <a:lstStyle/>
          <a:p>
            <a:pPr algn="l"/>
            <a:r>
              <a:rPr lang="nl-NL" dirty="0">
                <a:solidFill>
                  <a:schemeClr val="accent6">
                    <a:lumMod val="75000"/>
                  </a:schemeClr>
                </a:solidFill>
                <a:effectLst>
                  <a:outerShdw blurRad="38100" dist="38100" dir="2700000" algn="tl">
                    <a:srgbClr val="000000">
                      <a:alpha val="43137"/>
                    </a:srgbClr>
                  </a:outerShdw>
                </a:effectLst>
              </a:rPr>
              <a:t>Passend behandelplan</a:t>
            </a:r>
            <a:endParaRPr lang="nl-NL" dirty="0">
              <a:solidFill>
                <a:schemeClr val="accent6">
                  <a:lumMod val="75000"/>
                </a:schemeClr>
              </a:solidFill>
            </a:endParaRPr>
          </a:p>
        </p:txBody>
      </p:sp>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6394" y="1191438"/>
            <a:ext cx="2614848" cy="1036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17331" y="5901865"/>
            <a:ext cx="1341251" cy="764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Afbeelding 1">
            <a:extLst>
              <a:ext uri="{FF2B5EF4-FFF2-40B4-BE49-F238E27FC236}">
                <a16:creationId xmlns:a16="http://schemas.microsoft.com/office/drawing/2014/main" id="{ECE30A1D-3C84-961A-4289-5FEC3D06B3E1}"/>
              </a:ext>
            </a:extLst>
          </p:cNvPr>
          <p:cNvPicPr>
            <a:picLocks noChangeAspect="1"/>
          </p:cNvPicPr>
          <p:nvPr/>
        </p:nvPicPr>
        <p:blipFill>
          <a:blip r:embed="rId8"/>
          <a:stretch>
            <a:fillRect/>
          </a:stretch>
        </p:blipFill>
        <p:spPr>
          <a:xfrm>
            <a:off x="0" y="2686821"/>
            <a:ext cx="4127350" cy="2109399"/>
          </a:xfrm>
          <a:prstGeom prst="rect">
            <a:avLst/>
          </a:prstGeom>
        </p:spPr>
      </p:pic>
      <p:pic>
        <p:nvPicPr>
          <p:cNvPr id="3" name="Afbeelding 2">
            <a:extLst>
              <a:ext uri="{FF2B5EF4-FFF2-40B4-BE49-F238E27FC236}">
                <a16:creationId xmlns:a16="http://schemas.microsoft.com/office/drawing/2014/main" id="{89E22CCF-CB31-2446-6311-DB7D7CCC9BDB}"/>
              </a:ext>
            </a:extLst>
          </p:cNvPr>
          <p:cNvPicPr>
            <a:picLocks noChangeAspect="1"/>
          </p:cNvPicPr>
          <p:nvPr/>
        </p:nvPicPr>
        <p:blipFill>
          <a:blip r:embed="rId9"/>
          <a:stretch>
            <a:fillRect/>
          </a:stretch>
        </p:blipFill>
        <p:spPr>
          <a:xfrm>
            <a:off x="8146629" y="4391958"/>
            <a:ext cx="4029805" cy="1377815"/>
          </a:xfrm>
          <a:prstGeom prst="rect">
            <a:avLst/>
          </a:prstGeom>
        </p:spPr>
      </p:pic>
    </p:spTree>
    <p:extLst>
      <p:ext uri="{BB962C8B-B14F-4D97-AF65-F5344CB8AC3E}">
        <p14:creationId xmlns:p14="http://schemas.microsoft.com/office/powerpoint/2010/main" val="4073728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EyvDoSSaEAd4T4RB_ACv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jgtScaNSYqwbcohXCcL4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8i1PQ1KzKSnJPtFvELW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YL.OwshjgdlunKwumOb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CMUblCtjVZhFRym0jr2M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EyvDoSSaEAd4T4RB_AC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jgtScaNSYqwbcohXCcL4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8i1PQ1KzKSnJPtFvELWM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YL.OwshjgdlunKwumObd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CMUblCtjVZhFRym0jr2M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EyvDoSSaEAd4T4RB_AC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285tDgf_0vjHWV5KYu3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NyrCIkiszTNnOGcdBqa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n21xLzfJtPiuaC4ZqmI9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jgtScaNSYqwbcohXCcL4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UjI55DyyihFoWP4crTH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8kvFMxJvRCkklT8ziDn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ke2NHSV7TTU1UBkQwbEk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wSafaKz28.Us4sEGCi_6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KvBNv.1iTmCntMUVT9H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QNzMt4f3q2qDhbuT.sO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n8laRdkonEl3_fT94k9s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0Aqoy8inmZdSZXg8v1r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R5_9shbZy3ohWMBWQs2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LNe7r3vMZRBBvFjEZJI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8i1PQ1KzKSnJPtFvELW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8XEhJmCAEyguZ.rM2fC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ybFwp8DdAksFwIvGY4g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MneBiGTKp1vqRI2iCLF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KPG5pld5bKsWPFpB72X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LscUia0L0SU7vPdfdyy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sfyQqEM2D9q_UM3TyQvS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9VKnob4EU17rypnRAgp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cBBe1DGtrd0tQdkH06w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z4WQoLPiE.pUITQp4.7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EuBj9Udfw0PlUS0VLUn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YL.OwshjgdlunKwumOb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b3mE6rZMnmBYAFM.hTX5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W4hwSiKoa3UvIXiEYnY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UV3iM0jUFwBQcl7G3AV2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BPPPlQUQN3uCR4gZl.i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_mjEt_WfrpTMgGZvJU4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qLHtfaeirovpbpuhkYU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SnKDkTo040FS3mToAtl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nMbOkx4CUKY5pbdK24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1MIDH4LQmlbPbhebOs6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CMUblCtjVZhFRym0jr2M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_8HFltl142pn8YJHdTl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FMeGda4rFSYMn.f1rn9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jgtScaNSYqwbcohXCcL4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28i1PQ1KzKSnJPtFvELW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YL.OwshjgdlunKwumObd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CMUblCtjVZhFRym0jr2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EyvDoSSaEAd4T4RB_AC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is geel">
  <a:themeElements>
    <a:clrScheme name="Tijd voor Verbinding">
      <a:dk1>
        <a:srgbClr val="312C28"/>
      </a:dk1>
      <a:lt1>
        <a:sysClr val="window" lastClr="FFFFFF"/>
      </a:lt1>
      <a:dk2>
        <a:srgbClr val="312C28"/>
      </a:dk2>
      <a:lt2>
        <a:srgbClr val="FFFFFF"/>
      </a:lt2>
      <a:accent1>
        <a:srgbClr val="FCC200"/>
      </a:accent1>
      <a:accent2>
        <a:srgbClr val="F1893D"/>
      </a:accent2>
      <a:accent3>
        <a:srgbClr val="FFFFFF"/>
      </a:accent3>
      <a:accent4>
        <a:srgbClr val="FFFFFF"/>
      </a:accent4>
      <a:accent5>
        <a:srgbClr val="FFFFFF"/>
      </a:accent5>
      <a:accent6>
        <a:srgbClr val="FFFFFF"/>
      </a:accent6>
      <a:hlink>
        <a:srgbClr val="FFFFFF"/>
      </a:hlink>
      <a:folHlink>
        <a:srgbClr val="FFFFFF"/>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vV" id="{7765CA62-464A-43D2-9CED-4076537B0540}" vid="{F34698F3-554D-4B74-8E4A-CAEF67F13947}"/>
    </a:ext>
  </a:extLst>
</a:theme>
</file>

<file path=ppt/theme/theme10.xml><?xml version="1.0" encoding="utf-8"?>
<a:theme xmlns:a="http://schemas.openxmlformats.org/drawingml/2006/main" name="11_Zilveren Kruis">
  <a:themeElements>
    <a:clrScheme name="Aangepast 2">
      <a:dk1>
        <a:srgbClr val="000000"/>
      </a:dk1>
      <a:lt1>
        <a:sysClr val="window" lastClr="FFFFFF"/>
      </a:lt1>
      <a:dk2>
        <a:srgbClr val="002857"/>
      </a:dk2>
      <a:lt2>
        <a:srgbClr val="757575"/>
      </a:lt2>
      <a:accent1>
        <a:srgbClr val="0068BD"/>
      </a:accent1>
      <a:accent2>
        <a:srgbClr val="DCEBF3"/>
      </a:accent2>
      <a:accent3>
        <a:srgbClr val="FECFBB"/>
      </a:accent3>
      <a:accent4>
        <a:srgbClr val="E2EEDF"/>
      </a:accent4>
      <a:accent5>
        <a:srgbClr val="FEE9E0"/>
      </a:accent5>
      <a:accent6>
        <a:srgbClr val="F6F3F1"/>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ED37A8"/>
        </a:solid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0730 Kick-offpresentatie MSZ 2021.potx  -  Alleen-lezen" id="{A644379D-06A7-40D3-96F4-EA5EB32E7C2B}" vid="{F786A03E-1A76-46EF-B179-6C8883AA50AD}"/>
    </a:ext>
  </a:extLst>
</a:theme>
</file>

<file path=ppt/theme/theme1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asis oranje">
  <a:themeElements>
    <a:clrScheme name="Tijd voor Verbinding">
      <a:dk1>
        <a:srgbClr val="312C28"/>
      </a:dk1>
      <a:lt1>
        <a:sysClr val="window" lastClr="FFFFFF"/>
      </a:lt1>
      <a:dk2>
        <a:srgbClr val="312C28"/>
      </a:dk2>
      <a:lt2>
        <a:srgbClr val="FFFFFF"/>
      </a:lt2>
      <a:accent1>
        <a:srgbClr val="FCC200"/>
      </a:accent1>
      <a:accent2>
        <a:srgbClr val="F1893D"/>
      </a:accent2>
      <a:accent3>
        <a:srgbClr val="FFFFFF"/>
      </a:accent3>
      <a:accent4>
        <a:srgbClr val="FFFFFF"/>
      </a:accent4>
      <a:accent5>
        <a:srgbClr val="FFFFFF"/>
      </a:accent5>
      <a:accent6>
        <a:srgbClr val="FFFFFF"/>
      </a:accent6>
      <a:hlink>
        <a:srgbClr val="FFFFFF"/>
      </a:hlink>
      <a:folHlink>
        <a:srgbClr val="FFFFFF"/>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vV" id="{7765CA62-464A-43D2-9CED-4076537B0540}" vid="{CE2D9778-941D-47D0-B403-D91C2F4DEF1C}"/>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Zilveren Kruis Achmea ">
  <a:themeElements>
    <a:clrScheme name="Zilveren Kruis - NEW">
      <a:dk1>
        <a:sysClr val="windowText" lastClr="000000"/>
      </a:dk1>
      <a:lt1>
        <a:sysClr val="window" lastClr="FFFFFF"/>
      </a:lt1>
      <a:dk2>
        <a:srgbClr val="002857"/>
      </a:dk2>
      <a:lt2>
        <a:srgbClr val="F6F3F1"/>
      </a:lt2>
      <a:accent1>
        <a:srgbClr val="0068BD"/>
      </a:accent1>
      <a:accent2>
        <a:srgbClr val="FACEBB"/>
      </a:accent2>
      <a:accent3>
        <a:srgbClr val="9FC9E0"/>
      </a:accent3>
      <a:accent4>
        <a:srgbClr val="AEAF4A"/>
      </a:accent4>
      <a:accent5>
        <a:srgbClr val="5C7A47"/>
      </a:accent5>
      <a:accent6>
        <a:srgbClr val="FABA44"/>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Zilveren Kruis">
  <a:themeElements>
    <a:clrScheme name="Aangepast 2">
      <a:dk1>
        <a:srgbClr val="000000"/>
      </a:dk1>
      <a:lt1>
        <a:sysClr val="window" lastClr="FFFFFF"/>
      </a:lt1>
      <a:dk2>
        <a:srgbClr val="002857"/>
      </a:dk2>
      <a:lt2>
        <a:srgbClr val="757575"/>
      </a:lt2>
      <a:accent1>
        <a:srgbClr val="0068BD"/>
      </a:accent1>
      <a:accent2>
        <a:srgbClr val="DCEBF3"/>
      </a:accent2>
      <a:accent3>
        <a:srgbClr val="FECFBB"/>
      </a:accent3>
      <a:accent4>
        <a:srgbClr val="E2EEDF"/>
      </a:accent4>
      <a:accent5>
        <a:srgbClr val="FEE9E0"/>
      </a:accent5>
      <a:accent6>
        <a:srgbClr val="F6F3F1"/>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ED37A8"/>
        </a:solid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0730 Kick-offpresentatie MSZ 2021.potx  -  Alleen-lezen" id="{A644379D-06A7-40D3-96F4-EA5EB32E7C2B}" vid="{F786A03E-1A76-46EF-B179-6C8883AA50AD}"/>
    </a:ext>
  </a:extLst>
</a:theme>
</file>

<file path=ppt/theme/theme6.xml><?xml version="1.0" encoding="utf-8"?>
<a:theme xmlns:a="http://schemas.openxmlformats.org/drawingml/2006/main" name="17_Zilveren Kruis">
  <a:themeElements>
    <a:clrScheme name="Zilveren Kruis - NEW">
      <a:dk1>
        <a:sysClr val="windowText" lastClr="000000"/>
      </a:dk1>
      <a:lt1>
        <a:sysClr val="window" lastClr="FFFFFF"/>
      </a:lt1>
      <a:dk2>
        <a:srgbClr val="002857"/>
      </a:dk2>
      <a:lt2>
        <a:srgbClr val="F6F3F1"/>
      </a:lt2>
      <a:accent1>
        <a:srgbClr val="0068BD"/>
      </a:accent1>
      <a:accent2>
        <a:srgbClr val="FACEBB"/>
      </a:accent2>
      <a:accent3>
        <a:srgbClr val="9FC9E0"/>
      </a:accent3>
      <a:accent4>
        <a:srgbClr val="AEAF4A"/>
      </a:accent4>
      <a:accent5>
        <a:srgbClr val="5C7A47"/>
      </a:accent5>
      <a:accent6>
        <a:srgbClr val="FABA44"/>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0_Zilveren Kruis">
  <a:themeElements>
    <a:clrScheme name="Aangepast 2">
      <a:dk1>
        <a:srgbClr val="000000"/>
      </a:dk1>
      <a:lt1>
        <a:sysClr val="window" lastClr="FFFFFF"/>
      </a:lt1>
      <a:dk2>
        <a:srgbClr val="002857"/>
      </a:dk2>
      <a:lt2>
        <a:srgbClr val="757575"/>
      </a:lt2>
      <a:accent1>
        <a:srgbClr val="0068BD"/>
      </a:accent1>
      <a:accent2>
        <a:srgbClr val="DCEBF3"/>
      </a:accent2>
      <a:accent3>
        <a:srgbClr val="FECFBB"/>
      </a:accent3>
      <a:accent4>
        <a:srgbClr val="E2EEDF"/>
      </a:accent4>
      <a:accent5>
        <a:srgbClr val="FEE9E0"/>
      </a:accent5>
      <a:accent6>
        <a:srgbClr val="F6F3F1"/>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ED37A8"/>
        </a:solid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0730 Kick-offpresentatie MSZ 2021.potx  -  Alleen-lezen" id="{A644379D-06A7-40D3-96F4-EA5EB32E7C2B}" vid="{F786A03E-1A76-46EF-B179-6C8883AA50AD}"/>
    </a:ext>
  </a:extLst>
</a:theme>
</file>

<file path=ppt/theme/theme8.xml><?xml version="1.0" encoding="utf-8"?>
<a:theme xmlns:a="http://schemas.openxmlformats.org/drawingml/2006/main" name="Huisstijl">
  <a:themeElements>
    <a:clrScheme name="Kleuren NZa - PP">
      <a:dk1>
        <a:srgbClr val="000000"/>
      </a:dk1>
      <a:lt1>
        <a:srgbClr val="FFFFFF"/>
      </a:lt1>
      <a:dk2>
        <a:srgbClr val="000000"/>
      </a:dk2>
      <a:lt2>
        <a:srgbClr val="FFFFFF"/>
      </a:lt2>
      <a:accent1>
        <a:srgbClr val="003F5F"/>
      </a:accent1>
      <a:accent2>
        <a:srgbClr val="9E145C"/>
      </a:accent2>
      <a:accent3>
        <a:srgbClr val="591F58"/>
      </a:accent3>
      <a:accent4>
        <a:srgbClr val="004A26"/>
      </a:accent4>
      <a:accent5>
        <a:srgbClr val="A36F13"/>
      </a:accent5>
      <a:accent6>
        <a:srgbClr val="7F2110"/>
      </a:accent6>
      <a:hlink>
        <a:srgbClr val="000000"/>
      </a:hlink>
      <a:folHlink>
        <a:srgbClr val="000000"/>
      </a:folHlink>
    </a:clrScheme>
    <a:fontScheme name="Lettertypen NZa">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w">
      <a:srgbClr val="61ABDF"/>
    </a:custClr>
    <a:custClr name="blauw 1">
      <a:srgbClr val="B7E2FA"/>
    </a:custClr>
    <a:custClr name="blauw 2">
      <a:srgbClr val="90D0F3"/>
    </a:custClr>
    <a:custClr name="blauw 3">
      <a:srgbClr val="3F7C9B"/>
    </a:custClr>
    <a:custClr name="blauw 4">
      <a:srgbClr val="003F5F"/>
    </a:custClr>
    <a:custClr name="roze">
      <a:srgbClr val="F29FC5"/>
    </a:custClr>
    <a:custClr name="roze 1">
      <a:srgbClr val="FAE3EF"/>
    </a:custClr>
    <a:custClr name="roze 2">
      <a:srgbClr val="F6BFD9"/>
    </a:custClr>
    <a:custClr name="roze 3">
      <a:srgbClr val="B15688"/>
    </a:custClr>
    <a:custClr name="roze 4">
      <a:srgbClr val="9E145C"/>
    </a:custClr>
    <a:custClr name="paars">
      <a:srgbClr val="B26BA9"/>
    </a:custClr>
    <a:custClr name="paars 1">
      <a:srgbClr val="EBD6EA"/>
    </a:custClr>
    <a:custClr name="paars 2">
      <a:srgbClr val="C893C2"/>
    </a:custClr>
    <a:custClr name="paars 3">
      <a:srgbClr val="852F81"/>
    </a:custClr>
    <a:custClr name="paars 4">
      <a:srgbClr val="591F58"/>
    </a:custClr>
    <a:custClr name="groen">
      <a:srgbClr val="2BAD70"/>
    </a:custClr>
    <a:custClr name="groen 1">
      <a:srgbClr val="CEE7DC"/>
    </a:custClr>
    <a:custClr name="groen 2">
      <a:srgbClr val="81C5A1"/>
    </a:custClr>
    <a:custClr name="groen 3">
      <a:srgbClr val="0E864A"/>
    </a:custClr>
    <a:custClr name="groen 4">
      <a:srgbClr val="004A26"/>
    </a:custClr>
    <a:custClr name="geel">
      <a:srgbClr val="FFD718"/>
    </a:custClr>
    <a:custClr name="geel 1">
      <a:srgbClr val="FFF5CF"/>
    </a:custClr>
    <a:custClr name="geel 2">
      <a:srgbClr val="FFE98E"/>
    </a:custClr>
    <a:custClr name="geel 3">
      <a:srgbClr val="F8BA34"/>
    </a:custClr>
    <a:custClr name="geel 4">
      <a:srgbClr val="B76F13"/>
    </a:custClr>
    <a:custClr name="oranje">
      <a:srgbClr val="EB5D40"/>
    </a:custClr>
    <a:custClr name="oranje 1">
      <a:srgbClr val="F9DFD1"/>
    </a:custClr>
    <a:custClr name="oranje 2">
      <a:srgbClr val="F08373"/>
    </a:custClr>
    <a:custClr name="oranje 3">
      <a:srgbClr val="BF3418"/>
    </a:custClr>
    <a:custClr name="oranje 4">
      <a:srgbClr val="7F2110"/>
    </a:custClr>
  </a:custClrLst>
  <a:extLst>
    <a:ext uri="{05A4C25C-085E-4340-85A3-A5531E510DB2}">
      <thm15:themeFamily xmlns:thm15="http://schemas.microsoft.com/office/thememl/2012/main" name="Presentatie NZA.potx" id="{3BDE6132-27FF-4175-B242-C07F1E6E0BF4}" vid="{7039E547-F575-4390-BD64-EAB469B96BB2}"/>
    </a:ext>
  </a:extLst>
</a:theme>
</file>

<file path=ppt/theme/theme9.xml><?xml version="1.0" encoding="utf-8"?>
<a:theme xmlns:a="http://schemas.openxmlformats.org/drawingml/2006/main" name="14_Zilveren Kruis">
  <a:themeElements>
    <a:clrScheme name="Aangepast 2">
      <a:dk1>
        <a:srgbClr val="000000"/>
      </a:dk1>
      <a:lt1>
        <a:sysClr val="window" lastClr="FFFFFF"/>
      </a:lt1>
      <a:dk2>
        <a:srgbClr val="002857"/>
      </a:dk2>
      <a:lt2>
        <a:srgbClr val="757575"/>
      </a:lt2>
      <a:accent1>
        <a:srgbClr val="0068BD"/>
      </a:accent1>
      <a:accent2>
        <a:srgbClr val="DCEBF3"/>
      </a:accent2>
      <a:accent3>
        <a:srgbClr val="FECFBB"/>
      </a:accent3>
      <a:accent4>
        <a:srgbClr val="E2EEDF"/>
      </a:accent4>
      <a:accent5>
        <a:srgbClr val="FEE9E0"/>
      </a:accent5>
      <a:accent6>
        <a:srgbClr val="F6F3F1"/>
      </a:accent6>
      <a:hlink>
        <a:srgbClr val="0068BD"/>
      </a:hlink>
      <a:folHlink>
        <a:srgbClr val="0068BD"/>
      </a:folHlink>
    </a:clrScheme>
    <a:fontScheme name="Zilveren Kruis Achmea fon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ED37A8"/>
        </a:solidFill>
      </a:spPr>
      <a:bodyPr wrap="square" rtlCol="0">
        <a:spAutoFit/>
      </a:bodyPr>
      <a:lstStyle>
        <a:defPPr algn="l">
          <a:defRPr dirty="0" smtClean="0"/>
        </a:defPPr>
      </a:lstStyle>
    </a:txDef>
  </a:objectDefaults>
  <a:extraClrSchemeLst/>
  <a:extLst>
    <a:ext uri="{05A4C25C-085E-4340-85A3-A5531E510DB2}">
      <thm15:themeFamily xmlns:thm15="http://schemas.microsoft.com/office/thememl/2012/main" name="200730 Kick-offpresentatie MSZ 2021.potx  -  Alleen-lezen" id="{A644379D-06A7-40D3-96F4-EA5EB32E7C2B}" vid="{F786A03E-1A76-46EF-B179-6C8883AA50A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CFCFFA0E3617141AEB360AB81508546" ma:contentTypeVersion="16" ma:contentTypeDescription="Create a new document." ma:contentTypeScope="" ma:versionID="fcb32749db3d6bd09dcc153e57d1c004">
  <xsd:schema xmlns:xsd="http://www.w3.org/2001/XMLSchema" xmlns:xs="http://www.w3.org/2001/XMLSchema" xmlns:p="http://schemas.microsoft.com/office/2006/metadata/properties" xmlns:ns2="27c2f769-47a8-4b68-86b4-d78551aa356c" xmlns:ns3="2fb51d68-823b-4058-b355-b5fa638549c4" xmlns:ns4="3a65966a-6c18-4f65-af41-c48461925448" targetNamespace="http://schemas.microsoft.com/office/2006/metadata/properties" ma:root="true" ma:fieldsID="e940e97e7c2012107fcaf83a1ea8bf43" ns2:_="" ns3:_="" ns4:_="">
    <xsd:import namespace="27c2f769-47a8-4b68-86b4-d78551aa356c"/>
    <xsd:import namespace="2fb51d68-823b-4058-b355-b5fa638549c4"/>
    <xsd:import namespace="3a65966a-6c18-4f65-af41-c484619254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c2f769-47a8-4b68-86b4-d78551aa356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53940b5-3134-4203-af87-55f89102078d"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b51d68-823b-4058-b355-b5fa638549c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a65966a-6c18-4f65-af41-c48461925448"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c75c7fa3-829c-4275-b6e9-f4520ada7cba}" ma:internalName="TaxCatchAll" ma:showField="CatchAllData" ma:web="2fb51d68-823b-4058-b355-b5fa638549c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F8FA9E-9FF2-4F49-88A5-E55AC9BD6684}">
  <ds:schemaRefs>
    <ds:schemaRef ds:uri="http://schemas.microsoft.com/sharepoint/v3/contenttype/forms"/>
  </ds:schemaRefs>
</ds:datastoreItem>
</file>

<file path=customXml/itemProps2.xml><?xml version="1.0" encoding="utf-8"?>
<ds:datastoreItem xmlns:ds="http://schemas.openxmlformats.org/officeDocument/2006/customXml" ds:itemID="{0A46E19C-7457-41BB-A5DC-39113783D5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c2f769-47a8-4b68-86b4-d78551aa356c"/>
    <ds:schemaRef ds:uri="2fb51d68-823b-4058-b355-b5fa638549c4"/>
    <ds:schemaRef ds:uri="3a65966a-6c18-4f65-af41-c484619254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vV Powerpointsjabloon </Template>
  <TotalTime>66</TotalTime>
  <Words>2727</Words>
  <Application>Microsoft Office PowerPoint</Application>
  <PresentationFormat>Breedbeeld</PresentationFormat>
  <Paragraphs>317</Paragraphs>
  <Slides>45</Slides>
  <Notes>19</Notes>
  <HiddenSlides>0</HiddenSlides>
  <MMClips>0</MMClips>
  <ScaleCrop>false</ScaleCrop>
  <HeadingPairs>
    <vt:vector size="8" baseType="variant">
      <vt:variant>
        <vt:lpstr>Gebruikte lettertypen</vt:lpstr>
      </vt:variant>
      <vt:variant>
        <vt:i4>8</vt:i4>
      </vt:variant>
      <vt:variant>
        <vt:lpstr>Thema</vt:lpstr>
      </vt:variant>
      <vt:variant>
        <vt:i4>10</vt:i4>
      </vt:variant>
      <vt:variant>
        <vt:lpstr>Ingesloten OLE-bronprogramma's</vt:lpstr>
      </vt:variant>
      <vt:variant>
        <vt:i4>1</vt:i4>
      </vt:variant>
      <vt:variant>
        <vt:lpstr>Diatitels</vt:lpstr>
      </vt:variant>
      <vt:variant>
        <vt:i4>45</vt:i4>
      </vt:variant>
    </vt:vector>
  </HeadingPairs>
  <TitlesOfParts>
    <vt:vector size="64" baseType="lpstr">
      <vt:lpstr>Arial</vt:lpstr>
      <vt:lpstr>Calibri</vt:lpstr>
      <vt:lpstr>Calibri Light</vt:lpstr>
      <vt:lpstr>Gill Sans MT</vt:lpstr>
      <vt:lpstr>Segoe UI Light</vt:lpstr>
      <vt:lpstr>Trebuchet MS</vt:lpstr>
      <vt:lpstr>Verdana</vt:lpstr>
      <vt:lpstr>Wingdings</vt:lpstr>
      <vt:lpstr>basis geel</vt:lpstr>
      <vt:lpstr>basis oranje</vt:lpstr>
      <vt:lpstr>Kantoorthema</vt:lpstr>
      <vt:lpstr>Zilveren Kruis Achmea </vt:lpstr>
      <vt:lpstr>13_Zilveren Kruis</vt:lpstr>
      <vt:lpstr>17_Zilveren Kruis</vt:lpstr>
      <vt:lpstr>10_Zilveren Kruis</vt:lpstr>
      <vt:lpstr>Huisstijl</vt:lpstr>
      <vt:lpstr>14_Zilveren Kruis</vt:lpstr>
      <vt:lpstr>11_Zilveren Kruis</vt:lpstr>
      <vt:lpstr>think-cell Slide</vt:lpstr>
      <vt:lpstr>Masterclass 5 Hoe financier ik mijn zorgidee </vt:lpstr>
      <vt:lpstr>PowerPoint-presentatie</vt:lpstr>
      <vt:lpstr>PowerPoint-presentatie</vt:lpstr>
      <vt:lpstr>Passend behandelplan</vt:lpstr>
      <vt:lpstr>PowerPoint-presentatie</vt:lpstr>
      <vt:lpstr>PowerPoint-presentatie</vt:lpstr>
      <vt:lpstr>Fit?     </vt:lpstr>
      <vt:lpstr>PowerPoint-presentatie</vt:lpstr>
      <vt:lpstr>Passend behandelplan</vt:lpstr>
      <vt:lpstr>PowerPoint-presentatie</vt:lpstr>
      <vt:lpstr>PowerPoint-presentatie</vt:lpstr>
      <vt:lpstr>Geen oversterfte bij terughoudendheid</vt:lpstr>
      <vt:lpstr>De waarde </vt:lpstr>
      <vt:lpstr>Kosten</vt:lpstr>
      <vt:lpstr>Hoe verder?</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Zorg dichterbij voor toekomstbestendige zorg</vt:lpstr>
      <vt:lpstr>Toegankelijkheid, kwaliteit en betaalbaarheid staan onder druk in 2030</vt:lpstr>
      <vt:lpstr>Strategie Zilveren Kruis</vt:lpstr>
      <vt:lpstr>Via de kerntransities operationaliseren we JZOJP en maken we de beweging naar een duurzaam zorglandschap</vt:lpstr>
      <vt:lpstr>Digitale zorg vormt een belangrijke rol in innovatie</vt:lpstr>
      <vt:lpstr>Hoe maken we innovatie concreet en toekomstbestendig?</vt:lpstr>
      <vt:lpstr>PowerPoint-presentatie</vt:lpstr>
      <vt:lpstr>Innovatie die bijdraagt aan passende zorg</vt:lpstr>
      <vt:lpstr>Onze organisatie</vt:lpstr>
      <vt:lpstr>De NZa werkt aan toegankelijke  en betaalbare zorg voor alle  inwoners van Nederland</vt:lpstr>
      <vt:lpstr>PowerPoint-presentatie</vt:lpstr>
      <vt:lpstr>Hoe innovatie bijdraagt aan passende zorg</vt:lpstr>
      <vt:lpstr>Innovatie in de medisch specialistische zorg</vt:lpstr>
      <vt:lpstr>PowerPoint-presentatie</vt:lpstr>
      <vt:lpstr>PowerPoint-presentatie</vt:lpstr>
      <vt:lpstr>Tijd voor vragen en dialoo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ob Doorduin</dc:creator>
  <cp:lastModifiedBy>Job Doorduin</cp:lastModifiedBy>
  <cp:revision>1</cp:revision>
  <dcterms:created xsi:type="dcterms:W3CDTF">2021-10-04T11:06:01Z</dcterms:created>
  <dcterms:modified xsi:type="dcterms:W3CDTF">2022-09-28T07:25:42Z</dcterms:modified>
</cp:coreProperties>
</file>